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2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charts/chart7.xml" ContentType="application/vnd.openxmlformats-officedocument.drawingml.chart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charts/chart8.xml" ContentType="application/vnd.openxmlformats-officedocument.drawingml.chart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charts/chart9.xml" ContentType="application/vnd.openxmlformats-officedocument.drawingml.chart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charts/chart10.xml" ContentType="application/vnd.openxmlformats-officedocument.drawingml.chart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charts/chart11.xml" ContentType="application/vnd.openxmlformats-officedocument.drawingml.chart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charts/chart12.xml" ContentType="application/vnd.openxmlformats-officedocument.drawingml.chart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charts/chart13.xml" ContentType="application/vnd.openxmlformats-officedocument.drawingml.chart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charts/chart14.xml" ContentType="application/vnd.openxmlformats-officedocument.drawingml.chart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charts/chart15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3"/>
  </p:notesMasterIdLst>
  <p:sldIdLst>
    <p:sldId id="256" r:id="rId2"/>
    <p:sldId id="257" r:id="rId3"/>
    <p:sldId id="285" r:id="rId4"/>
    <p:sldId id="286" r:id="rId5"/>
    <p:sldId id="279" r:id="rId6"/>
    <p:sldId id="280" r:id="rId7"/>
    <p:sldId id="281" r:id="rId8"/>
    <p:sldId id="282" r:id="rId9"/>
    <p:sldId id="283" r:id="rId10"/>
    <p:sldId id="284" r:id="rId11"/>
    <p:sldId id="288" r:id="rId12"/>
    <p:sldId id="287" r:id="rId13"/>
    <p:sldId id="290" r:id="rId14"/>
    <p:sldId id="295" r:id="rId15"/>
    <p:sldId id="294" r:id="rId16"/>
    <p:sldId id="297" r:id="rId17"/>
    <p:sldId id="298" r:id="rId18"/>
    <p:sldId id="296" r:id="rId19"/>
    <p:sldId id="299" r:id="rId20"/>
    <p:sldId id="262" r:id="rId21"/>
    <p:sldId id="263" r:id="rId22"/>
  </p:sldIdLst>
  <p:sldSz cx="12192000" cy="6858000"/>
  <p:notesSz cx="6858000" cy="9144000"/>
  <p:embeddedFontLst>
    <p:embeddedFont>
      <p:font typeface="Proxima Nova" panose="020B0604020202020204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139" userDrawn="1">
          <p15:clr>
            <a:srgbClr val="A4A3A4"/>
          </p15:clr>
        </p15:guide>
        <p15:guide id="2" pos="1958" userDrawn="1">
          <p15:clr>
            <a:srgbClr val="A4A3A4"/>
          </p15:clr>
        </p15:guide>
      </p15:sldGuideLst>
    </p:ext>
    <p:ext uri="GoogleSlidesCustomDataVersion2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50" roundtripDataSignature="AMtx7mg6fnhCutI2GTcyokpv5tBn+OrzN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B51"/>
    <a:srgbClr val="F093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03" autoAdjust="0"/>
    <p:restoredTop sz="94660"/>
  </p:normalViewPr>
  <p:slideViewPr>
    <p:cSldViewPr snapToGrid="0">
      <p:cViewPr varScale="1">
        <p:scale>
          <a:sx n="55" d="100"/>
          <a:sy n="55" d="100"/>
        </p:scale>
        <p:origin x="108" y="1152"/>
      </p:cViewPr>
      <p:guideLst>
        <p:guide orient="horz" pos="1139"/>
        <p:guide pos="19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50" Type="http://customschemas.google.com/relationships/presentationmetadata" Target="metadata"/><Relationship Id="rId55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4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tuhan Yelseli" userId="S::batuhan.yelseli@fintegral.com.tr::e1126a1f-d490-470b-80e9-57d2ed9dcaf7" providerId="AD" clId="Web-{A92382C0-02AA-E49F-54D1-DEDB00FFF024}"/>
    <pc:docChg chg="modSld">
      <pc:chgData name="Batuhan Yelseli" userId="S::batuhan.yelseli@fintegral.com.tr::e1126a1f-d490-470b-80e9-57d2ed9dcaf7" providerId="AD" clId="Web-{A92382C0-02AA-E49F-54D1-DEDB00FFF024}" dt="2024-12-06T10:01:56.600" v="604" actId="1076"/>
      <pc:docMkLst>
        <pc:docMk/>
      </pc:docMkLst>
      <pc:sldChg chg="modSp">
        <pc:chgData name="Batuhan Yelseli" userId="S::batuhan.yelseli@fintegral.com.tr::e1126a1f-d490-470b-80e9-57d2ed9dcaf7" providerId="AD" clId="Web-{A92382C0-02AA-E49F-54D1-DEDB00FFF024}" dt="2024-12-06T08:29:43.721" v="0" actId="1076"/>
        <pc:sldMkLst>
          <pc:docMk/>
          <pc:sldMk cId="0" sldId="257"/>
        </pc:sldMkLst>
        <pc:cxnChg chg="mod">
          <ac:chgData name="Batuhan Yelseli" userId="S::batuhan.yelseli@fintegral.com.tr::e1126a1f-d490-470b-80e9-57d2ed9dcaf7" providerId="AD" clId="Web-{A92382C0-02AA-E49F-54D1-DEDB00FFF024}" dt="2024-12-06T08:29:43.721" v="0" actId="1076"/>
          <ac:cxnSpMkLst>
            <pc:docMk/>
            <pc:sldMk cId="0" sldId="257"/>
            <ac:cxnSpMk id="11" creationId="{3001EE8E-F5BE-231D-6EA6-DB7BBDB86855}"/>
          </ac:cxnSpMkLst>
        </pc:cxnChg>
      </pc:sldChg>
      <pc:sldChg chg="addSp modSp">
        <pc:chgData name="Batuhan Yelseli" userId="S::batuhan.yelseli@fintegral.com.tr::e1126a1f-d490-470b-80e9-57d2ed9dcaf7" providerId="AD" clId="Web-{A92382C0-02AA-E49F-54D1-DEDB00FFF024}" dt="2024-12-06T08:35:30.903" v="101" actId="20577"/>
        <pc:sldMkLst>
          <pc:docMk/>
          <pc:sldMk cId="1122526701" sldId="268"/>
        </pc:sldMkLst>
        <pc:spChg chg="add mod">
          <ac:chgData name="Batuhan Yelseli" userId="S::batuhan.yelseli@fintegral.com.tr::e1126a1f-d490-470b-80e9-57d2ed9dcaf7" providerId="AD" clId="Web-{A92382C0-02AA-E49F-54D1-DEDB00FFF024}" dt="2024-12-06T08:34:52.542" v="93" actId="20577"/>
          <ac:spMkLst>
            <pc:docMk/>
            <pc:sldMk cId="1122526701" sldId="268"/>
            <ac:spMk id="5" creationId="{99DDF55E-91E3-A350-2EC7-73D9A2314120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5:30.903" v="101" actId="20577"/>
          <ac:spMkLst>
            <pc:docMk/>
            <pc:sldMk cId="1122526701" sldId="268"/>
            <ac:spMk id="6" creationId="{98BE2231-AF47-32B4-4272-64530E7F55A2}"/>
          </ac:spMkLst>
        </pc:spChg>
        <pc:picChg chg="add mod">
          <ac:chgData name="Batuhan Yelseli" userId="S::batuhan.yelseli@fintegral.com.tr::e1126a1f-d490-470b-80e9-57d2ed9dcaf7" providerId="AD" clId="Web-{A92382C0-02AA-E49F-54D1-DEDB00FFF024}" dt="2024-12-06T08:34:08.369" v="81" actId="1076"/>
          <ac:picMkLst>
            <pc:docMk/>
            <pc:sldMk cId="1122526701" sldId="268"/>
            <ac:picMk id="3" creationId="{6BA49D2D-CD86-4AFE-7766-6FAB6BCD9078}"/>
          </ac:picMkLst>
        </pc:picChg>
        <pc:picChg chg="add mod">
          <ac:chgData name="Batuhan Yelseli" userId="S::batuhan.yelseli@fintegral.com.tr::e1126a1f-d490-470b-80e9-57d2ed9dcaf7" providerId="AD" clId="Web-{A92382C0-02AA-E49F-54D1-DEDB00FFF024}" dt="2024-12-06T08:34:02.463" v="79" actId="1076"/>
          <ac:picMkLst>
            <pc:docMk/>
            <pc:sldMk cId="1122526701" sldId="268"/>
            <ac:picMk id="7" creationId="{AC9D47BC-5D0D-371D-08C3-7A9887600E04}"/>
          </ac:picMkLst>
        </pc:picChg>
      </pc:sldChg>
      <pc:sldChg chg="addSp modSp">
        <pc:chgData name="Batuhan Yelseli" userId="S::batuhan.yelseli@fintegral.com.tr::e1126a1f-d490-470b-80e9-57d2ed9dcaf7" providerId="AD" clId="Web-{A92382C0-02AA-E49F-54D1-DEDB00FFF024}" dt="2024-12-06T08:37:12.234" v="109" actId="1076"/>
        <pc:sldMkLst>
          <pc:docMk/>
          <pc:sldMk cId="2878824308" sldId="269"/>
        </pc:sldMkLst>
        <pc:spChg chg="mod">
          <ac:chgData name="Batuhan Yelseli" userId="S::batuhan.yelseli@fintegral.com.tr::e1126a1f-d490-470b-80e9-57d2ed9dcaf7" providerId="AD" clId="Web-{A92382C0-02AA-E49F-54D1-DEDB00FFF024}" dt="2024-12-06T08:37:04.218" v="106" actId="20577"/>
          <ac:spMkLst>
            <pc:docMk/>
            <pc:sldMk cId="2878824308" sldId="269"/>
            <ac:spMk id="6" creationId="{D6C4CAB4-01CD-6207-8740-5ADB279F594B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7:09.202" v="108" actId="1076"/>
          <ac:spMkLst>
            <pc:docMk/>
            <pc:sldMk cId="2878824308" sldId="269"/>
            <ac:spMk id="7" creationId="{D3E8EA87-270D-20D7-027E-F5580FF5C0FB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7:12.234" v="109" actId="1076"/>
          <ac:spMkLst>
            <pc:docMk/>
            <pc:sldMk cId="2878824308" sldId="269"/>
            <ac:spMk id="9" creationId="{3B261800-B3BD-FA5E-63B5-288A81F51A41}"/>
          </ac:spMkLst>
        </pc:spChg>
        <pc:picChg chg="add mod">
          <ac:chgData name="Batuhan Yelseli" userId="S::batuhan.yelseli@fintegral.com.tr::e1126a1f-d490-470b-80e9-57d2ed9dcaf7" providerId="AD" clId="Web-{A92382C0-02AA-E49F-54D1-DEDB00FFF024}" dt="2024-12-06T08:37:06.468" v="107" actId="1076"/>
          <ac:picMkLst>
            <pc:docMk/>
            <pc:sldMk cId="2878824308" sldId="269"/>
            <ac:picMk id="3" creationId="{1240CB1D-D06A-E3E9-9869-7A3E2BEBF55F}"/>
          </ac:picMkLst>
        </pc:picChg>
      </pc:sldChg>
      <pc:sldChg chg="modSp">
        <pc:chgData name="Batuhan Yelseli" userId="S::batuhan.yelseli@fintegral.com.tr::e1126a1f-d490-470b-80e9-57d2ed9dcaf7" providerId="AD" clId="Web-{A92382C0-02AA-E49F-54D1-DEDB00FFF024}" dt="2024-12-06T08:37:53.235" v="125" actId="1076"/>
        <pc:sldMkLst>
          <pc:docMk/>
          <pc:sldMk cId="1541300719" sldId="270"/>
        </pc:sldMkLst>
        <pc:spChg chg="mod">
          <ac:chgData name="Batuhan Yelseli" userId="S::batuhan.yelseli@fintegral.com.tr::e1126a1f-d490-470b-80e9-57d2ed9dcaf7" providerId="AD" clId="Web-{A92382C0-02AA-E49F-54D1-DEDB00FFF024}" dt="2024-12-06T08:37:22.078" v="110" actId="14100"/>
          <ac:spMkLst>
            <pc:docMk/>
            <pc:sldMk cId="1541300719" sldId="270"/>
            <ac:spMk id="4" creationId="{F9CE3DE9-3B1A-25F4-FD4A-AA2A25D9BE48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7:53.235" v="125" actId="1076"/>
          <ac:spMkLst>
            <pc:docMk/>
            <pc:sldMk cId="1541300719" sldId="270"/>
            <ac:spMk id="6" creationId="{20D491AA-92CD-4C9C-CFC7-6E7C4BC70299}"/>
          </ac:spMkLst>
        </pc:spChg>
      </pc:sldChg>
      <pc:sldChg chg="addSp modSp">
        <pc:chgData name="Batuhan Yelseli" userId="S::batuhan.yelseli@fintegral.com.tr::e1126a1f-d490-470b-80e9-57d2ed9dcaf7" providerId="AD" clId="Web-{A92382C0-02AA-E49F-54D1-DEDB00FFF024}" dt="2024-12-06T08:46:33.547" v="351" actId="20577"/>
        <pc:sldMkLst>
          <pc:docMk/>
          <pc:sldMk cId="1540078872" sldId="271"/>
        </pc:sldMkLst>
        <pc:spChg chg="add mod">
          <ac:chgData name="Batuhan Yelseli" userId="S::batuhan.yelseli@fintegral.com.tr::e1126a1f-d490-470b-80e9-57d2ed9dcaf7" providerId="AD" clId="Web-{A92382C0-02AA-E49F-54D1-DEDB00FFF024}" dt="2024-12-06T08:46:33.547" v="351" actId="20577"/>
          <ac:spMkLst>
            <pc:docMk/>
            <pc:sldMk cId="1540078872" sldId="271"/>
            <ac:spMk id="3" creationId="{F58FBC98-769B-6137-BAC2-E6889CA1533A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8:13.579" v="126" actId="1076"/>
          <ac:spMkLst>
            <pc:docMk/>
            <pc:sldMk cId="1540078872" sldId="271"/>
            <ac:spMk id="6" creationId="{EF4D42E7-5A5B-C786-19E2-6C0D5122BE5B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8:17.970" v="127" actId="1076"/>
          <ac:spMkLst>
            <pc:docMk/>
            <pc:sldMk cId="1540078872" sldId="271"/>
            <ac:spMk id="9" creationId="{2F4D2E5F-3390-294E-AE08-7DB3C82659F4}"/>
          </ac:spMkLst>
        </pc:spChg>
      </pc:sldChg>
      <pc:sldChg chg="addSp delSp modSp">
        <pc:chgData name="Batuhan Yelseli" userId="S::batuhan.yelseli@fintegral.com.tr::e1126a1f-d490-470b-80e9-57d2ed9dcaf7" providerId="AD" clId="Web-{A92382C0-02AA-E49F-54D1-DEDB00FFF024}" dt="2024-12-06T08:50:43.757" v="587"/>
        <pc:sldMkLst>
          <pc:docMk/>
          <pc:sldMk cId="3826332343" sldId="272"/>
        </pc:sldMkLst>
        <pc:graphicFrameChg chg="add del mod">
          <ac:chgData name="Batuhan Yelseli" userId="S::batuhan.yelseli@fintegral.com.tr::e1126a1f-d490-470b-80e9-57d2ed9dcaf7" providerId="AD" clId="Web-{A92382C0-02AA-E49F-54D1-DEDB00FFF024}" dt="2024-12-06T08:46:29.140" v="206"/>
          <ac:graphicFrameMkLst>
            <pc:docMk/>
            <pc:sldMk cId="3826332343" sldId="272"/>
            <ac:graphicFrameMk id="3" creationId="{BA1DE34E-2BA7-A523-B928-635475677594}"/>
          </ac:graphicFrameMkLst>
        </pc:graphicFrameChg>
        <pc:graphicFrameChg chg="add del mod modGraphic">
          <ac:chgData name="Batuhan Yelseli" userId="S::batuhan.yelseli@fintegral.com.tr::e1126a1f-d490-470b-80e9-57d2ed9dcaf7" providerId="AD" clId="Web-{A92382C0-02AA-E49F-54D1-DEDB00FFF024}" dt="2024-12-06T08:50:43.757" v="587"/>
          <ac:graphicFrameMkLst>
            <pc:docMk/>
            <pc:sldMk cId="3826332343" sldId="272"/>
            <ac:graphicFrameMk id="11" creationId="{D4E86906-139D-83A2-B5DD-E2BE29B5B7E8}"/>
          </ac:graphicFrameMkLst>
        </pc:graphicFrameChg>
      </pc:sldChg>
      <pc:sldChg chg="modSp">
        <pc:chgData name="Batuhan Yelseli" userId="S::batuhan.yelseli@fintegral.com.tr::e1126a1f-d490-470b-80e9-57d2ed9dcaf7" providerId="AD" clId="Web-{A92382C0-02AA-E49F-54D1-DEDB00FFF024}" dt="2024-12-06T10:01:56.600" v="604" actId="1076"/>
        <pc:sldMkLst>
          <pc:docMk/>
          <pc:sldMk cId="173792906" sldId="282"/>
        </pc:sldMkLst>
        <pc:spChg chg="mod">
          <ac:chgData name="Batuhan Yelseli" userId="S::batuhan.yelseli@fintegral.com.tr::e1126a1f-d490-470b-80e9-57d2ed9dcaf7" providerId="AD" clId="Web-{A92382C0-02AA-E49F-54D1-DEDB00FFF024}" dt="2024-12-06T10:01:37.303" v="600" actId="1076"/>
          <ac:spMkLst>
            <pc:docMk/>
            <pc:sldMk cId="173792906" sldId="282"/>
            <ac:spMk id="17" creationId="{89662DE6-4341-CDF2-B39E-79FEB5FFF5F9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56.600" v="604" actId="1076"/>
          <ac:spMkLst>
            <pc:docMk/>
            <pc:sldMk cId="173792906" sldId="282"/>
            <ac:spMk id="22" creationId="{28D9B5E8-8955-AAD7-B852-46635913F1CF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37.240" v="597" actId="1076"/>
          <ac:spMkLst>
            <pc:docMk/>
            <pc:sldMk cId="173792906" sldId="282"/>
            <ac:spMk id="23" creationId="{30954708-0DAB-0356-2C83-28A99F16B070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37.256" v="598" actId="1076"/>
          <ac:spMkLst>
            <pc:docMk/>
            <pc:sldMk cId="173792906" sldId="282"/>
            <ac:spMk id="24" creationId="{0EE67AC4-53A4-DAAB-AC16-1E206A55B678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37.287" v="599" actId="1076"/>
          <ac:spMkLst>
            <pc:docMk/>
            <pc:sldMk cId="173792906" sldId="282"/>
            <ac:spMk id="26" creationId="{9B7FA586-2C05-8591-D029-3B25481E7444}"/>
          </ac:spMkLst>
        </pc:spChg>
        <pc:picChg chg="mod">
          <ac:chgData name="Batuhan Yelseli" userId="S::batuhan.yelseli@fintegral.com.tr::e1126a1f-d490-470b-80e9-57d2ed9dcaf7" providerId="AD" clId="Web-{A92382C0-02AA-E49F-54D1-DEDB00FFF024}" dt="2024-12-06T10:01:37.334" v="602" actId="1076"/>
          <ac:picMkLst>
            <pc:docMk/>
            <pc:sldMk cId="173792906" sldId="282"/>
            <ac:picMk id="6" creationId="{633FA63A-84EB-AF5C-A666-88D49D6AE4B5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193" v="594" actId="1076"/>
          <ac:picMkLst>
            <pc:docMk/>
            <pc:sldMk cId="173792906" sldId="282"/>
            <ac:picMk id="8" creationId="{8710B19A-9845-1F3B-1FA0-870AB7C8B318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209" v="595" actId="1076"/>
          <ac:picMkLst>
            <pc:docMk/>
            <pc:sldMk cId="173792906" sldId="282"/>
            <ac:picMk id="12" creationId="{8B365F46-BB10-7B4D-767A-ECE0DDBBE5BF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225" v="596" actId="1076"/>
          <ac:picMkLst>
            <pc:docMk/>
            <pc:sldMk cId="173792906" sldId="282"/>
            <ac:picMk id="16" creationId="{00109AB0-C54E-5DFC-B26C-A725305701C9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350" v="603" actId="1076"/>
          <ac:picMkLst>
            <pc:docMk/>
            <pc:sldMk cId="173792906" sldId="282"/>
            <ac:picMk id="21" creationId="{F3B6D292-5F06-DDD6-B10E-E50930B55CCB}"/>
          </ac:picMkLst>
        </pc:picChg>
      </pc:sldChg>
    </pc:docChg>
  </pc:docChgLst>
  <pc:docChgLst>
    <pc:chgData name="Batuhan Yelseli" userId="e1126a1f-d490-470b-80e9-57d2ed9dcaf7" providerId="ADAL" clId="{B5532810-4962-4077-947D-87F9D59BCCE6}"/>
    <pc:docChg chg="undo custSel addSld delSld modSld modMainMaster">
      <pc:chgData name="Batuhan Yelseli" userId="e1126a1f-d490-470b-80e9-57d2ed9dcaf7" providerId="ADAL" clId="{B5532810-4962-4077-947D-87F9D59BCCE6}" dt="2024-12-04T11:19:38.381" v="132"/>
      <pc:docMkLst>
        <pc:docMk/>
      </pc:docMkLst>
      <pc:sldChg chg="addSp delSp modSp mod">
        <pc:chgData name="Batuhan Yelseli" userId="e1126a1f-d490-470b-80e9-57d2ed9dcaf7" providerId="ADAL" clId="{B5532810-4962-4077-947D-87F9D59BCCE6}" dt="2024-12-04T11:19:10.638" v="68"/>
        <pc:sldMkLst>
          <pc:docMk/>
          <pc:sldMk cId="0" sldId="261"/>
        </pc:sldMkLst>
      </pc:sldChg>
      <pc:sldChg chg="new del">
        <pc:chgData name="Batuhan Yelseli" userId="e1126a1f-d490-470b-80e9-57d2ed9dcaf7" providerId="ADAL" clId="{B5532810-4962-4077-947D-87F9D59BCCE6}" dt="2024-12-04T11:19:08.778" v="59" actId="680"/>
        <pc:sldMkLst>
          <pc:docMk/>
          <pc:sldMk cId="1945874810" sldId="290"/>
        </pc:sldMkLst>
      </pc:sldChg>
      <pc:sldChg chg="addSp delSp modSp new mod">
        <pc:chgData name="Batuhan Yelseli" userId="e1126a1f-d490-470b-80e9-57d2ed9dcaf7" providerId="ADAL" clId="{B5532810-4962-4077-947D-87F9D59BCCE6}" dt="2024-12-04T11:19:38.381" v="132"/>
        <pc:sldMkLst>
          <pc:docMk/>
          <pc:sldMk cId="3193571855" sldId="290"/>
        </pc:sldMkLst>
        <pc:spChg chg="mod">
          <ac:chgData name="Batuhan Yelseli" userId="e1126a1f-d490-470b-80e9-57d2ed9dcaf7" providerId="ADAL" clId="{B5532810-4962-4077-947D-87F9D59BCCE6}" dt="2024-12-04T11:19:38.368" v="109" actId="948"/>
          <ac:spMkLst>
            <pc:docMk/>
            <pc:sldMk cId="3193571855" sldId="290"/>
            <ac:spMk id="2" creationId="{6231ADF8-D8A5-CEF5-9CA7-03538B0DD22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4" creationId="{9F825A32-7833-6BAF-CBF3-478088D11CB1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5" creationId="{AB4570C8-B58F-3A08-E966-C1C61B2183DB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6" creationId="{91F0DBAA-FDD0-7DC2-FD19-967F91B0ACAD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7" creationId="{7DF7B0CD-57E2-4259-08A9-961F59D486AD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8" creationId="{2EDD5668-E916-E4EC-8956-ED95FA788DE1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9" creationId="{7FFEBE5F-8FBF-91F7-DFCB-611627BADE67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0" creationId="{008FE103-D2F6-AE43-6A71-DA37069F6EF5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1" creationId="{804BC8A2-D903-66B7-1BEA-53952B948CF1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2" creationId="{6D1EA027-2196-67B9-99A9-35EFFB445A8E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3" creationId="{CDD4F34F-8B1E-DB46-46F1-D64A6ABA9B73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4" creationId="{672275E0-BF61-762B-6F8A-DEB31DA8F0D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5" creationId="{2D887A58-A5E7-87DE-7A3A-478A0F015F7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7" creationId="{047CFC0B-3DC6-CAAE-0FBD-B2C3CC84BACE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9" creationId="{00EA7435-460C-448D-0483-5F0F0029C09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20" creationId="{DABE8333-3AD4-FC21-FEA8-8633F3D45F67}"/>
          </ac:spMkLst>
        </pc:spChg>
        <pc:graphicFrameChg chg="add mod ord modVis">
          <ac:chgData name="Batuhan Yelseli" userId="e1126a1f-d490-470b-80e9-57d2ed9dcaf7" providerId="ADAL" clId="{B5532810-4962-4077-947D-87F9D59BCCE6}" dt="2024-12-04T11:19:38.381" v="132"/>
          <ac:graphicFrameMkLst>
            <pc:docMk/>
            <pc:sldMk cId="3193571855" sldId="290"/>
            <ac:graphicFrameMk id="22" creationId="{E921E7B9-6D29-C4E7-BC34-7F310B85C08D}"/>
          </ac:graphicFrameMkLst>
        </pc:graphicFrameChg>
        <pc:cxnChg chg="add mod">
          <ac:chgData name="Batuhan Yelseli" userId="e1126a1f-d490-470b-80e9-57d2ed9dcaf7" providerId="ADAL" clId="{B5532810-4962-4077-947D-87F9D59BCCE6}" dt="2024-12-04T11:19:30.604" v="70"/>
          <ac:cxnSpMkLst>
            <pc:docMk/>
            <pc:sldMk cId="3193571855" sldId="290"/>
            <ac:cxnSpMk id="3" creationId="{7B854B94-A5AB-3EE2-F538-B7274FF31BD2}"/>
          </ac:cxnSpMkLst>
        </pc:cxnChg>
      </pc:sldChg>
      <pc:sldMasterChg chg="modSldLayout">
        <pc:chgData name="Batuhan Yelseli" userId="e1126a1f-d490-470b-80e9-57d2ed9dcaf7" providerId="ADAL" clId="{B5532810-4962-4077-947D-87F9D59BCCE6}" dt="2024-12-04T11:18:51.144" v="43"/>
        <pc:sldMasterMkLst>
          <pc:docMk/>
          <pc:sldMasterMk cId="0" sldId="2147483648"/>
        </pc:sldMasterMkLst>
        <pc:sldLayoutChg chg="addSp modSp mod">
          <pc:chgData name="Batuhan Yelseli" userId="e1126a1f-d490-470b-80e9-57d2ed9dcaf7" providerId="ADAL" clId="{B5532810-4962-4077-947D-87F9D59BCCE6}" dt="2024-12-04T11:18:51.144" v="43"/>
          <pc:sldLayoutMkLst>
            <pc:docMk/>
            <pc:sldMasterMk cId="0" sldId="2147483648"/>
            <pc:sldLayoutMk cId="0" sldId="2147483652"/>
          </pc:sldLayoutMkLst>
          <pc:spChg chg="mod">
            <ac:chgData name="Batuhan Yelseli" userId="e1126a1f-d490-470b-80e9-57d2ed9dcaf7" providerId="ADAL" clId="{B5532810-4962-4077-947D-87F9D59BCCE6}" dt="2024-12-04T11:18:50.626" v="41" actId="1035"/>
            <ac:spMkLst>
              <pc:docMk/>
              <pc:sldMasterMk cId="0" sldId="2147483648"/>
              <pc:sldLayoutMk cId="0" sldId="2147483652"/>
              <ac:spMk id="23" creationId="{00000000-0000-0000-0000-000000000000}"/>
            </ac:spMkLst>
          </pc:spChg>
          <pc:graphicFrameChg chg="add mod ord modVis">
            <ac:chgData name="Batuhan Yelseli" userId="e1126a1f-d490-470b-80e9-57d2ed9dcaf7" providerId="ADAL" clId="{B5532810-4962-4077-947D-87F9D59BCCE6}" dt="2024-12-04T11:18:51.144" v="43"/>
            <ac:graphicFrameMkLst>
              <pc:docMk/>
              <pc:sldMasterMk cId="0" sldId="2147483648"/>
              <pc:sldLayoutMk cId="0" sldId="2147483652"/>
              <ac:graphicFrameMk id="2" creationId="{64780306-8FDB-37DB-CC83-A9D3E550B99E}"/>
            </ac:graphicFrameMkLst>
          </pc:graphicFrameChg>
        </pc:sldLayoutChg>
      </pc:sldMasterChg>
    </pc:docChg>
  </pc:docChgLst>
  <pc:docChgLst>
    <pc:chgData name="Oğuz Öztekin" userId="33c0df0f-d5fe-4bda-8f43-141ad7af67e3" providerId="ADAL" clId="{48B824AD-1B2A-47A8-8D92-6FE6E622A650}"/>
    <pc:docChg chg="undo redo custSel addSld delSld modSld sldOrd">
      <pc:chgData name="Oğuz Öztekin" userId="33c0df0f-d5fe-4bda-8f43-141ad7af67e3" providerId="ADAL" clId="{48B824AD-1B2A-47A8-8D92-6FE6E622A650}" dt="2024-12-16T18:58:52.037" v="225591"/>
      <pc:docMkLst>
        <pc:docMk/>
      </pc:docMkLst>
      <pc:sldChg chg="addSp delSp modSp mod">
        <pc:chgData name="Oğuz Öztekin" userId="33c0df0f-d5fe-4bda-8f43-141ad7af67e3" providerId="ADAL" clId="{48B824AD-1B2A-47A8-8D92-6FE6E622A650}" dt="2024-12-16T15:50:44.433" v="53453" actId="20577"/>
        <pc:sldMkLst>
          <pc:docMk/>
          <pc:sldMk cId="0" sldId="256"/>
        </pc:sldMkLst>
        <pc:spChg chg="add del mod modVis">
          <ac:chgData name="Oğuz Öztekin" userId="33c0df0f-d5fe-4bda-8f43-141ad7af67e3" providerId="ADAL" clId="{48B824AD-1B2A-47A8-8D92-6FE6E622A650}" dt="2024-12-16T15:50:11.340" v="53200"/>
          <ac:spMkLst>
            <pc:docMk/>
            <pc:sldMk cId="0" sldId="256"/>
            <ac:spMk id="2" creationId="{F7BA65D3-8ECD-047A-BE37-0206A33BA10B}"/>
          </ac:spMkLst>
        </pc:spChg>
        <pc:spChg chg="mod">
          <ac:chgData name="Oğuz Öztekin" userId="33c0df0f-d5fe-4bda-8f43-141ad7af67e3" providerId="ADAL" clId="{48B824AD-1B2A-47A8-8D92-6FE6E622A650}" dt="2024-12-16T15:50:28.358" v="53400" actId="948"/>
          <ac:spMkLst>
            <pc:docMk/>
            <pc:sldMk cId="0" sldId="256"/>
            <ac:spMk id="3" creationId="{A2D668ED-59D5-E382-7A19-33ECD1C9928F}"/>
          </ac:spMkLst>
        </pc:spChg>
        <pc:spChg chg="add del mod modVis">
          <ac:chgData name="Oğuz Öztekin" userId="33c0df0f-d5fe-4bda-8f43-141ad7af67e3" providerId="ADAL" clId="{48B824AD-1B2A-47A8-8D92-6FE6E622A650}" dt="2024-12-16T15:50:12.797" v="53225"/>
          <ac:spMkLst>
            <pc:docMk/>
            <pc:sldMk cId="0" sldId="256"/>
            <ac:spMk id="5" creationId="{619D8DE8-605E-B631-3BDE-22F981F0E56F}"/>
          </ac:spMkLst>
        </pc:spChg>
        <pc:spChg chg="add del mod modVis">
          <ac:chgData name="Oğuz Öztekin" userId="33c0df0f-d5fe-4bda-8f43-141ad7af67e3" providerId="ADAL" clId="{48B824AD-1B2A-47A8-8D92-6FE6E622A650}" dt="2024-12-16T15:50:15.280" v="53257"/>
          <ac:spMkLst>
            <pc:docMk/>
            <pc:sldMk cId="0" sldId="256"/>
            <ac:spMk id="6" creationId="{FC2017A2-4D4E-2FD5-7B62-F35DB41C475C}"/>
          </ac:spMkLst>
        </pc:spChg>
        <pc:spChg chg="add del mod modVis">
          <ac:chgData name="Oğuz Öztekin" userId="33c0df0f-d5fe-4bda-8f43-141ad7af67e3" providerId="ADAL" clId="{48B824AD-1B2A-47A8-8D92-6FE6E622A650}" dt="2024-12-16T15:50:16.368" v="53282"/>
          <ac:spMkLst>
            <pc:docMk/>
            <pc:sldMk cId="0" sldId="256"/>
            <ac:spMk id="7" creationId="{A4329526-FB80-608D-DED9-3335E7D892F9}"/>
          </ac:spMkLst>
        </pc:spChg>
        <pc:spChg chg="add del mod modVis">
          <ac:chgData name="Oğuz Öztekin" userId="33c0df0f-d5fe-4bda-8f43-141ad7af67e3" providerId="ADAL" clId="{48B824AD-1B2A-47A8-8D92-6FE6E622A650}" dt="2024-12-16T15:50:19.124" v="53316"/>
          <ac:spMkLst>
            <pc:docMk/>
            <pc:sldMk cId="0" sldId="256"/>
            <ac:spMk id="8" creationId="{407A31CF-8661-EFC7-CB9A-9274D92860B4}"/>
          </ac:spMkLst>
        </pc:spChg>
        <pc:spChg chg="add del mod modVis">
          <ac:chgData name="Oğuz Öztekin" userId="33c0df0f-d5fe-4bda-8f43-141ad7af67e3" providerId="ADAL" clId="{48B824AD-1B2A-47A8-8D92-6FE6E622A650}" dt="2024-12-16T15:50:20.103" v="53342"/>
          <ac:spMkLst>
            <pc:docMk/>
            <pc:sldMk cId="0" sldId="256"/>
            <ac:spMk id="9" creationId="{2D77A536-878D-ECA9-3FEB-B4A65C89FBA5}"/>
          </ac:spMkLst>
        </pc:spChg>
        <pc:spChg chg="add del mod modVis">
          <ac:chgData name="Oğuz Öztekin" userId="33c0df0f-d5fe-4bda-8f43-141ad7af67e3" providerId="ADAL" clId="{48B824AD-1B2A-47A8-8D92-6FE6E622A650}" dt="2024-12-16T15:50:22.610" v="53368"/>
          <ac:spMkLst>
            <pc:docMk/>
            <pc:sldMk cId="0" sldId="256"/>
            <ac:spMk id="10" creationId="{273C6BC9-C6C0-8272-815C-70FE2FCEC47C}"/>
          </ac:spMkLst>
        </pc:spChg>
        <pc:spChg chg="add del mod modVis">
          <ac:chgData name="Oğuz Öztekin" userId="33c0df0f-d5fe-4bda-8f43-141ad7af67e3" providerId="ADAL" clId="{48B824AD-1B2A-47A8-8D92-6FE6E622A650}" dt="2024-12-16T15:50:28.374" v="53421"/>
          <ac:spMkLst>
            <pc:docMk/>
            <pc:sldMk cId="0" sldId="256"/>
            <ac:spMk id="11" creationId="{42899FC0-5A48-0FF8-4FB3-49EF3AB149FD}"/>
          </ac:spMkLst>
        </pc:spChg>
        <pc:spChg chg="mod">
          <ac:chgData name="Oğuz Öztekin" userId="33c0df0f-d5fe-4bda-8f43-141ad7af67e3" providerId="ADAL" clId="{48B824AD-1B2A-47A8-8D92-6FE6E622A650}" dt="2024-12-16T15:50:44.433" v="53453" actId="20577"/>
          <ac:spMkLst>
            <pc:docMk/>
            <pc:sldMk cId="0" sldId="256"/>
            <ac:spMk id="39" creationId="{00000000-0000-0000-0000-000000000000}"/>
          </ac:spMkLst>
        </pc:spChg>
        <pc:graphicFrameChg chg="mod">
          <ac:chgData name="Oğuz Öztekin" userId="33c0df0f-d5fe-4bda-8f43-141ad7af67e3" providerId="ADAL" clId="{48B824AD-1B2A-47A8-8D92-6FE6E622A650}" dt="2024-12-16T15:50:28.374" v="53423"/>
          <ac:graphicFrameMkLst>
            <pc:docMk/>
            <pc:sldMk cId="0" sldId="256"/>
            <ac:graphicFrameMk id="4" creationId="{30F026E1-D27D-3777-9BB5-CD07A2ED5EBB}"/>
          </ac:graphicFrameMkLst>
        </pc:graphicFrameChg>
      </pc:sldChg>
      <pc:sldChg chg="del">
        <pc:chgData name="Oğuz Öztekin" userId="33c0df0f-d5fe-4bda-8f43-141ad7af67e3" providerId="ADAL" clId="{48B824AD-1B2A-47A8-8D92-6FE6E622A650}" dt="2024-12-16T11:06:08.814" v="44525" actId="47"/>
        <pc:sldMkLst>
          <pc:docMk/>
          <pc:sldMk cId="0" sldId="258"/>
        </pc:sldMkLst>
      </pc:sldChg>
      <pc:sldChg chg="del">
        <pc:chgData name="Oğuz Öztekin" userId="33c0df0f-d5fe-4bda-8f43-141ad7af67e3" providerId="ADAL" clId="{48B824AD-1B2A-47A8-8D92-6FE6E622A650}" dt="2024-12-16T09:07:14.023" v="0" actId="2696"/>
        <pc:sldMkLst>
          <pc:docMk/>
          <pc:sldMk cId="0" sldId="259"/>
        </pc:sldMkLst>
      </pc:sldChg>
      <pc:sldChg chg="del">
        <pc:chgData name="Oğuz Öztekin" userId="33c0df0f-d5fe-4bda-8f43-141ad7af67e3" providerId="ADAL" clId="{48B824AD-1B2A-47A8-8D92-6FE6E622A650}" dt="2024-12-16T11:06:10.011" v="44526" actId="47"/>
        <pc:sldMkLst>
          <pc:docMk/>
          <pc:sldMk cId="0" sldId="260"/>
        </pc:sldMkLst>
      </pc:sldChg>
      <pc:sldChg chg="del">
        <pc:chgData name="Oğuz Öztekin" userId="33c0df0f-d5fe-4bda-8f43-141ad7af67e3" providerId="ADAL" clId="{48B824AD-1B2A-47A8-8D92-6FE6E622A650}" dt="2024-12-16T09:07:17.621" v="2" actId="2696"/>
        <pc:sldMkLst>
          <pc:docMk/>
          <pc:sldMk cId="1507332737" sldId="264"/>
        </pc:sldMkLst>
      </pc:sldChg>
      <pc:sldChg chg="del">
        <pc:chgData name="Oğuz Öztekin" userId="33c0df0f-d5fe-4bda-8f43-141ad7af67e3" providerId="ADAL" clId="{48B824AD-1B2A-47A8-8D92-6FE6E622A650}" dt="2024-12-16T09:07:18.507" v="3" actId="2696"/>
        <pc:sldMkLst>
          <pc:docMk/>
          <pc:sldMk cId="3866243125" sldId="265"/>
        </pc:sldMkLst>
      </pc:sldChg>
      <pc:sldChg chg="del">
        <pc:chgData name="Oğuz Öztekin" userId="33c0df0f-d5fe-4bda-8f43-141ad7af67e3" providerId="ADAL" clId="{48B824AD-1B2A-47A8-8D92-6FE6E622A650}" dt="2024-12-16T09:07:32.335" v="17" actId="2696"/>
        <pc:sldMkLst>
          <pc:docMk/>
          <pc:sldMk cId="181281364" sldId="266"/>
        </pc:sldMkLst>
      </pc:sldChg>
      <pc:sldChg chg="del">
        <pc:chgData name="Oğuz Öztekin" userId="33c0df0f-d5fe-4bda-8f43-141ad7af67e3" providerId="ADAL" clId="{48B824AD-1B2A-47A8-8D92-6FE6E622A650}" dt="2024-12-16T09:07:33.713" v="22" actId="2696"/>
        <pc:sldMkLst>
          <pc:docMk/>
          <pc:sldMk cId="82166624" sldId="267"/>
        </pc:sldMkLst>
      </pc:sldChg>
      <pc:sldChg chg="del">
        <pc:chgData name="Oğuz Öztekin" userId="33c0df0f-d5fe-4bda-8f43-141ad7af67e3" providerId="ADAL" clId="{48B824AD-1B2A-47A8-8D92-6FE6E622A650}" dt="2024-12-16T09:07:33.992" v="23" actId="2696"/>
        <pc:sldMkLst>
          <pc:docMk/>
          <pc:sldMk cId="1122526701" sldId="268"/>
        </pc:sldMkLst>
      </pc:sldChg>
      <pc:sldChg chg="del">
        <pc:chgData name="Oğuz Öztekin" userId="33c0df0f-d5fe-4bda-8f43-141ad7af67e3" providerId="ADAL" clId="{48B824AD-1B2A-47A8-8D92-6FE6E622A650}" dt="2024-12-16T09:07:34.287" v="24" actId="2696"/>
        <pc:sldMkLst>
          <pc:docMk/>
          <pc:sldMk cId="2878824308" sldId="269"/>
        </pc:sldMkLst>
      </pc:sldChg>
      <pc:sldChg chg="del">
        <pc:chgData name="Oğuz Öztekin" userId="33c0df0f-d5fe-4bda-8f43-141ad7af67e3" providerId="ADAL" clId="{48B824AD-1B2A-47A8-8D92-6FE6E622A650}" dt="2024-12-16T09:07:34.551" v="25" actId="2696"/>
        <pc:sldMkLst>
          <pc:docMk/>
          <pc:sldMk cId="1541300719" sldId="270"/>
        </pc:sldMkLst>
      </pc:sldChg>
      <pc:sldChg chg="del">
        <pc:chgData name="Oğuz Öztekin" userId="33c0df0f-d5fe-4bda-8f43-141ad7af67e3" providerId="ADAL" clId="{48B824AD-1B2A-47A8-8D92-6FE6E622A650}" dt="2024-12-16T09:07:34.815" v="26" actId="2696"/>
        <pc:sldMkLst>
          <pc:docMk/>
          <pc:sldMk cId="1540078872" sldId="271"/>
        </pc:sldMkLst>
      </pc:sldChg>
      <pc:sldChg chg="del">
        <pc:chgData name="Oğuz Öztekin" userId="33c0df0f-d5fe-4bda-8f43-141ad7af67e3" providerId="ADAL" clId="{48B824AD-1B2A-47A8-8D92-6FE6E622A650}" dt="2024-12-16T09:07:35.087" v="27" actId="2696"/>
        <pc:sldMkLst>
          <pc:docMk/>
          <pc:sldMk cId="3826332343" sldId="272"/>
        </pc:sldMkLst>
      </pc:sldChg>
      <pc:sldChg chg="del">
        <pc:chgData name="Oğuz Öztekin" userId="33c0df0f-d5fe-4bda-8f43-141ad7af67e3" providerId="ADAL" clId="{48B824AD-1B2A-47A8-8D92-6FE6E622A650}" dt="2024-12-16T09:07:35.324" v="28" actId="2696"/>
        <pc:sldMkLst>
          <pc:docMk/>
          <pc:sldMk cId="3259337092" sldId="273"/>
        </pc:sldMkLst>
      </pc:sldChg>
      <pc:sldChg chg="del">
        <pc:chgData name="Oğuz Öztekin" userId="33c0df0f-d5fe-4bda-8f43-141ad7af67e3" providerId="ADAL" clId="{48B824AD-1B2A-47A8-8D92-6FE6E622A650}" dt="2024-12-16T09:07:35.591" v="29" actId="2696"/>
        <pc:sldMkLst>
          <pc:docMk/>
          <pc:sldMk cId="733251670" sldId="274"/>
        </pc:sldMkLst>
      </pc:sldChg>
      <pc:sldChg chg="del">
        <pc:chgData name="Oğuz Öztekin" userId="33c0df0f-d5fe-4bda-8f43-141ad7af67e3" providerId="ADAL" clId="{48B824AD-1B2A-47A8-8D92-6FE6E622A650}" dt="2024-12-16T09:07:35.914" v="30" actId="2696"/>
        <pc:sldMkLst>
          <pc:docMk/>
          <pc:sldMk cId="2383931753" sldId="275"/>
        </pc:sldMkLst>
      </pc:sldChg>
      <pc:sldChg chg="del">
        <pc:chgData name="Oğuz Öztekin" userId="33c0df0f-d5fe-4bda-8f43-141ad7af67e3" providerId="ADAL" clId="{48B824AD-1B2A-47A8-8D92-6FE6E622A650}" dt="2024-12-16T09:07:36.293" v="31" actId="2696"/>
        <pc:sldMkLst>
          <pc:docMk/>
          <pc:sldMk cId="1692785580" sldId="276"/>
        </pc:sldMkLst>
      </pc:sldChg>
      <pc:sldChg chg="del">
        <pc:chgData name="Oğuz Öztekin" userId="33c0df0f-d5fe-4bda-8f43-141ad7af67e3" providerId="ADAL" clId="{48B824AD-1B2A-47A8-8D92-6FE6E622A650}" dt="2024-12-16T09:07:36.594" v="32" actId="2696"/>
        <pc:sldMkLst>
          <pc:docMk/>
          <pc:sldMk cId="965457765" sldId="277"/>
        </pc:sldMkLst>
      </pc:sldChg>
      <pc:sldChg chg="del">
        <pc:chgData name="Oğuz Öztekin" userId="33c0df0f-d5fe-4bda-8f43-141ad7af67e3" providerId="ADAL" clId="{48B824AD-1B2A-47A8-8D92-6FE6E622A650}" dt="2024-12-16T09:07:36.988" v="33" actId="2696"/>
        <pc:sldMkLst>
          <pc:docMk/>
          <pc:sldMk cId="2403856464" sldId="278"/>
        </pc:sldMkLst>
      </pc:sldChg>
      <pc:sldChg chg="addSp delSp modSp mod ord">
        <pc:chgData name="Oğuz Öztekin" userId="33c0df0f-d5fe-4bda-8f43-141ad7af67e3" providerId="ADAL" clId="{48B824AD-1B2A-47A8-8D92-6FE6E622A650}" dt="2024-12-16T16:27:50.621" v="104133"/>
        <pc:sldMkLst>
          <pc:docMk/>
          <pc:sldMk cId="865606007" sldId="279"/>
        </pc:sldMkLst>
        <pc:spChg chg="mod ord">
          <ac:chgData name="Oğuz Öztekin" userId="33c0df0f-d5fe-4bda-8f43-141ad7af67e3" providerId="ADAL" clId="{48B824AD-1B2A-47A8-8D92-6FE6E622A650}" dt="2024-12-16T16:27:50.615" v="104130" actId="948"/>
          <ac:spMkLst>
            <pc:docMk/>
            <pc:sldMk cId="865606007" sldId="279"/>
            <ac:spMk id="2" creationId="{00877133-0E9A-69CF-2FAE-FB2A3737F156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4" creationId="{38DD05A3-C124-C8C0-11A3-CB08A7634708}"/>
          </ac:spMkLst>
        </pc:spChg>
        <pc:spChg chg="add del mod modVis">
          <ac:chgData name="Oğuz Öztekin" userId="33c0df0f-d5fe-4bda-8f43-141ad7af67e3" providerId="ADAL" clId="{48B824AD-1B2A-47A8-8D92-6FE6E622A650}" dt="2024-12-16T16:03:10.737" v="71011"/>
          <ac:spMkLst>
            <pc:docMk/>
            <pc:sldMk cId="865606007" sldId="279"/>
            <ac:spMk id="4" creationId="{BB6E4A0D-F2D3-E11F-4586-C7F39AB18642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5" creationId="{F8FC18A7-339E-CF43-32CE-6439B283735C}"/>
          </ac:spMkLst>
        </pc:spChg>
        <pc:spChg chg="add del mod modVis">
          <ac:chgData name="Oğuz Öztekin" userId="33c0df0f-d5fe-4bda-8f43-141ad7af67e3" providerId="ADAL" clId="{48B824AD-1B2A-47A8-8D92-6FE6E622A650}" dt="2024-12-16T16:03:13.493" v="71135"/>
          <ac:spMkLst>
            <pc:docMk/>
            <pc:sldMk cId="865606007" sldId="279"/>
            <ac:spMk id="6" creationId="{0A46002A-FD9A-C4B9-6548-F8036490F2B1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7" creationId="{C3CD908B-1EBE-8449-BDAC-2F31AD5F7C2B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8" creationId="{475EAD81-B98B-7764-BB29-4F275B1F24CF}"/>
          </ac:spMkLst>
        </pc:spChg>
        <pc:spChg chg="add del mod modVis">
          <ac:chgData name="Oğuz Öztekin" userId="33c0df0f-d5fe-4bda-8f43-141ad7af67e3" providerId="ADAL" clId="{48B824AD-1B2A-47A8-8D92-6FE6E622A650}" dt="2024-12-16T16:03:17.279" v="71255"/>
          <ac:spMkLst>
            <pc:docMk/>
            <pc:sldMk cId="865606007" sldId="279"/>
            <ac:spMk id="8" creationId="{D679288A-CE91-42B6-1B23-F1D0DF694BC0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9" creationId="{7DCA9FB9-2D5C-1AEF-41C2-D76AC174D328}"/>
          </ac:spMkLst>
        </pc:spChg>
        <pc:spChg chg="add del mod modVis">
          <ac:chgData name="Oğuz Öztekin" userId="33c0df0f-d5fe-4bda-8f43-141ad7af67e3" providerId="ADAL" clId="{48B824AD-1B2A-47A8-8D92-6FE6E622A650}" dt="2024-12-16T16:03:20.538" v="71370"/>
          <ac:spMkLst>
            <pc:docMk/>
            <pc:sldMk cId="865606007" sldId="279"/>
            <ac:spMk id="10" creationId="{7371F588-25FF-F838-C5DA-F1928A6948F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0" creationId="{F3FCB77A-55C7-18DD-2B15-ADF2F52F8B32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1" creationId="{D09CF111-B296-39B0-492D-E1DC04BF1883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2" creationId="{67BFD08D-46FA-E268-AE56-3044B0843339}"/>
          </ac:spMkLst>
        </pc:spChg>
        <pc:spChg chg="add del mod modVis">
          <ac:chgData name="Oğuz Öztekin" userId="33c0df0f-d5fe-4bda-8f43-141ad7af67e3" providerId="ADAL" clId="{48B824AD-1B2A-47A8-8D92-6FE6E622A650}" dt="2024-12-16T16:03:21.569" v="71487"/>
          <ac:spMkLst>
            <pc:docMk/>
            <pc:sldMk cId="865606007" sldId="279"/>
            <ac:spMk id="12" creationId="{DB6CDDE6-DEBB-F160-D767-8788D78CFC04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3" creationId="{F3A6F51C-2676-F2F5-2953-7EDBDA13FA94}"/>
          </ac:spMkLst>
        </pc:spChg>
        <pc:spChg chg="add del mod modVis">
          <ac:chgData name="Oğuz Öztekin" userId="33c0df0f-d5fe-4bda-8f43-141ad7af67e3" providerId="ADAL" clId="{48B824AD-1B2A-47A8-8D92-6FE6E622A650}" dt="2024-12-16T16:03:23.448" v="71603"/>
          <ac:spMkLst>
            <pc:docMk/>
            <pc:sldMk cId="865606007" sldId="279"/>
            <ac:spMk id="14" creationId="{2A444F42-02AC-B219-07D3-D64DD58B6E98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4" creationId="{75B81D1A-9A87-4938-9C9B-5BAA38CDCDD5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5" creationId="{27792BD1-7571-A669-6211-E3FA6DD43B51}"/>
          </ac:spMkLst>
        </pc:spChg>
        <pc:spChg chg="add del mod modVis">
          <ac:chgData name="Oğuz Öztekin" userId="33c0df0f-d5fe-4bda-8f43-141ad7af67e3" providerId="ADAL" clId="{48B824AD-1B2A-47A8-8D92-6FE6E622A650}" dt="2024-12-16T16:03:26.193" v="71724"/>
          <ac:spMkLst>
            <pc:docMk/>
            <pc:sldMk cId="865606007" sldId="279"/>
            <ac:spMk id="16" creationId="{11CF182A-495A-2ABD-0431-FCDE4DCE5335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6" creationId="{4AA8E4AE-8D6B-16DE-3429-CCF836499737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7" creationId="{700AEB80-7F5A-8BA4-8EF5-967C5ED57B49}"/>
          </ac:spMkLst>
        </pc:spChg>
        <pc:spChg chg="add del mod modVis">
          <ac:chgData name="Oğuz Öztekin" userId="33c0df0f-d5fe-4bda-8f43-141ad7af67e3" providerId="ADAL" clId="{48B824AD-1B2A-47A8-8D92-6FE6E622A650}" dt="2024-12-16T16:03:26.903" v="71841"/>
          <ac:spMkLst>
            <pc:docMk/>
            <pc:sldMk cId="865606007" sldId="279"/>
            <ac:spMk id="18" creationId="{A0C8D706-A5C7-A6B7-FF65-0E15CDA5AD18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8" creationId="{B5090CB9-9480-DDB7-3B61-54E103459FBE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9" creationId="{8E517B92-4C3F-827A-13F9-E04394549920}"/>
          </ac:spMkLst>
        </pc:spChg>
        <pc:spChg chg="add del mod modVis">
          <ac:chgData name="Oğuz Öztekin" userId="33c0df0f-d5fe-4bda-8f43-141ad7af67e3" providerId="ADAL" clId="{48B824AD-1B2A-47A8-8D92-6FE6E622A650}" dt="2024-12-16T16:03:28.435" v="71961"/>
          <ac:spMkLst>
            <pc:docMk/>
            <pc:sldMk cId="865606007" sldId="279"/>
            <ac:spMk id="20" creationId="{369EA25E-97D7-0CC1-ECD9-8132E824BE65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0" creationId="{90487A92-EFC4-A902-93DA-92B011FFBEF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1" creationId="{74856E13-CCD5-B892-9C54-21AF36E911FF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2" creationId="{23D614E9-B997-DD2C-0E1B-F82C1F5137B6}"/>
          </ac:spMkLst>
        </pc:spChg>
        <pc:spChg chg="add del mod modVis">
          <ac:chgData name="Oğuz Öztekin" userId="33c0df0f-d5fe-4bda-8f43-141ad7af67e3" providerId="ADAL" clId="{48B824AD-1B2A-47A8-8D92-6FE6E622A650}" dt="2024-12-16T16:03:29.610" v="72081"/>
          <ac:spMkLst>
            <pc:docMk/>
            <pc:sldMk cId="865606007" sldId="279"/>
            <ac:spMk id="22" creationId="{7F8B75AD-236C-FBEF-8F93-24E0FC6A76F7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3" creationId="{AEF6D0C5-7AF0-CB53-E62D-DF08589F8494}"/>
          </ac:spMkLst>
        </pc:spChg>
        <pc:spChg chg="add del mod modVis">
          <ac:chgData name="Oğuz Öztekin" userId="33c0df0f-d5fe-4bda-8f43-141ad7af67e3" providerId="ADAL" clId="{48B824AD-1B2A-47A8-8D92-6FE6E622A650}" dt="2024-12-16T16:03:32.745" v="72203"/>
          <ac:spMkLst>
            <pc:docMk/>
            <pc:sldMk cId="865606007" sldId="279"/>
            <ac:spMk id="24" creationId="{55516CE5-E30B-336F-9369-554BF8791A65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4" creationId="{EDB33F95-73F1-8A61-F817-81F7C8C9773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5" creationId="{15CB74E9-D3DD-F893-A57B-A8385AE093D5}"/>
          </ac:spMkLst>
        </pc:spChg>
        <pc:spChg chg="add del mod modVis">
          <ac:chgData name="Oğuz Öztekin" userId="33c0df0f-d5fe-4bda-8f43-141ad7af67e3" providerId="ADAL" clId="{48B824AD-1B2A-47A8-8D92-6FE6E622A650}" dt="2024-12-16T16:03:33.712" v="72321"/>
          <ac:spMkLst>
            <pc:docMk/>
            <pc:sldMk cId="865606007" sldId="279"/>
            <ac:spMk id="26" creationId="{E7420559-0C47-A582-5FAB-2909D10D1B42}"/>
          </ac:spMkLst>
        </pc:spChg>
        <pc:spChg chg="add del mod modVis">
          <ac:chgData name="Oğuz Öztekin" userId="33c0df0f-d5fe-4bda-8f43-141ad7af67e3" providerId="ADAL" clId="{48B824AD-1B2A-47A8-8D92-6FE6E622A650}" dt="2024-12-16T16:03:34.537" v="72436"/>
          <ac:spMkLst>
            <pc:docMk/>
            <pc:sldMk cId="865606007" sldId="279"/>
            <ac:spMk id="28" creationId="{69B2B74A-58C7-99DD-0357-1773B08D07A4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30" creationId="{354B0E8F-6DDE-388E-5679-131E85BE6F68}"/>
          </ac:spMkLst>
        </pc:spChg>
        <pc:spChg chg="add del mod modVis">
          <ac:chgData name="Oğuz Öztekin" userId="33c0df0f-d5fe-4bda-8f43-141ad7af67e3" providerId="ADAL" clId="{48B824AD-1B2A-47A8-8D92-6FE6E622A650}" dt="2024-12-16T16:03:37.597" v="72560"/>
          <ac:spMkLst>
            <pc:docMk/>
            <pc:sldMk cId="865606007" sldId="279"/>
            <ac:spMk id="30" creationId="{E4ECF8E1-498D-B94D-C5DE-45BB9426ED98}"/>
          </ac:spMkLst>
        </pc:spChg>
        <pc:spChg chg="add del mod modVis">
          <ac:chgData name="Oğuz Öztekin" userId="33c0df0f-d5fe-4bda-8f43-141ad7af67e3" providerId="ADAL" clId="{48B824AD-1B2A-47A8-8D92-6FE6E622A650}" dt="2024-12-16T09:08:04.218" v="630"/>
          <ac:spMkLst>
            <pc:docMk/>
            <pc:sldMk cId="865606007" sldId="279"/>
            <ac:spMk id="31" creationId="{6752CA3A-19EB-74FE-6764-9C6577220BC7}"/>
          </ac:spMkLst>
        </pc:spChg>
        <pc:spChg chg="add del mod modVis">
          <ac:chgData name="Oğuz Öztekin" userId="33c0df0f-d5fe-4bda-8f43-141ad7af67e3" providerId="ADAL" clId="{48B824AD-1B2A-47A8-8D92-6FE6E622A650}" dt="2024-12-16T16:04:18.857" v="73416"/>
          <ac:spMkLst>
            <pc:docMk/>
            <pc:sldMk cId="865606007" sldId="279"/>
            <ac:spMk id="32" creationId="{B76863A9-EF73-445C-46DA-BB4DC970C890}"/>
          </ac:spMkLst>
        </pc:spChg>
        <pc:spChg chg="add del mod">
          <ac:chgData name="Oğuz Öztekin" userId="33c0df0f-d5fe-4bda-8f43-141ad7af67e3" providerId="ADAL" clId="{48B824AD-1B2A-47A8-8D92-6FE6E622A650}" dt="2024-12-16T09:17:24.772" v="17922"/>
          <ac:spMkLst>
            <pc:docMk/>
            <pc:sldMk cId="865606007" sldId="279"/>
            <ac:spMk id="32" creationId="{DD5D3F8E-4D94-3F77-70C3-5020CCD7DC8A}"/>
          </ac:spMkLst>
        </pc:spChg>
        <pc:spChg chg="add del mod">
          <ac:chgData name="Oğuz Öztekin" userId="33c0df0f-d5fe-4bda-8f43-141ad7af67e3" providerId="ADAL" clId="{48B824AD-1B2A-47A8-8D92-6FE6E622A650}" dt="2024-12-16T09:10:20.101" v="5788"/>
          <ac:spMkLst>
            <pc:docMk/>
            <pc:sldMk cId="865606007" sldId="279"/>
            <ac:spMk id="33" creationId="{D3D8896E-BC8D-CA86-CD58-FDD884C3D5D2}"/>
          </ac:spMkLst>
        </pc:spChg>
        <pc:spChg chg="add del mod">
          <ac:chgData name="Oğuz Öztekin" userId="33c0df0f-d5fe-4bda-8f43-141ad7af67e3" providerId="ADAL" clId="{48B824AD-1B2A-47A8-8D92-6FE6E622A650}" dt="2024-12-16T09:10:20.102" v="5790"/>
          <ac:spMkLst>
            <pc:docMk/>
            <pc:sldMk cId="865606007" sldId="279"/>
            <ac:spMk id="34" creationId="{B89552BA-23FC-5598-8131-269CAB2EA3CC}"/>
          </ac:spMkLst>
        </pc:spChg>
        <pc:spChg chg="add del mod modVis">
          <ac:chgData name="Oğuz Öztekin" userId="33c0df0f-d5fe-4bda-8f43-141ad7af67e3" providerId="ADAL" clId="{48B824AD-1B2A-47A8-8D92-6FE6E622A650}" dt="2024-12-16T16:04:22.201" v="73545"/>
          <ac:spMkLst>
            <pc:docMk/>
            <pc:sldMk cId="865606007" sldId="279"/>
            <ac:spMk id="34" creationId="{FA9737C4-AD38-E6D1-21FC-BAF2724D0D56}"/>
          </ac:spMkLst>
        </pc:spChg>
        <pc:spChg chg="add mod">
          <ac:chgData name="Oğuz Öztekin" userId="33c0df0f-d5fe-4bda-8f43-141ad7af67e3" providerId="ADAL" clId="{48B824AD-1B2A-47A8-8D92-6FE6E622A650}" dt="2024-12-16T16:27:50.008" v="104082"/>
          <ac:spMkLst>
            <pc:docMk/>
            <pc:sldMk cId="865606007" sldId="279"/>
            <ac:spMk id="35" creationId="{038E9C82-A4B7-58C3-6687-FB2E7EEE99E6}"/>
          </ac:spMkLst>
        </pc:spChg>
        <pc:spChg chg="add mod">
          <ac:chgData name="Oğuz Öztekin" userId="33c0df0f-d5fe-4bda-8f43-141ad7af67e3" providerId="ADAL" clId="{48B824AD-1B2A-47A8-8D92-6FE6E622A650}" dt="2024-12-16T16:27:50.009" v="104085"/>
          <ac:spMkLst>
            <pc:docMk/>
            <pc:sldMk cId="865606007" sldId="279"/>
            <ac:spMk id="36" creationId="{528F6AA9-AA56-B794-383C-E99BF71D8300}"/>
          </ac:spMkLst>
        </pc:spChg>
        <pc:spChg chg="add mod">
          <ac:chgData name="Oğuz Öztekin" userId="33c0df0f-d5fe-4bda-8f43-141ad7af67e3" providerId="ADAL" clId="{48B824AD-1B2A-47A8-8D92-6FE6E622A650}" dt="2024-12-16T16:27:50.009" v="104087"/>
          <ac:spMkLst>
            <pc:docMk/>
            <pc:sldMk cId="865606007" sldId="279"/>
            <ac:spMk id="37" creationId="{041B9E9C-7822-E12A-791F-057DBA376E81}"/>
          </ac:spMkLst>
        </pc:spChg>
        <pc:spChg chg="add del mod">
          <ac:chgData name="Oğuz Öztekin" userId="33c0df0f-d5fe-4bda-8f43-141ad7af67e3" providerId="ADAL" clId="{48B824AD-1B2A-47A8-8D92-6FE6E622A650}" dt="2024-12-16T09:10:13.628" v="5228"/>
          <ac:spMkLst>
            <pc:docMk/>
            <pc:sldMk cId="865606007" sldId="279"/>
            <ac:spMk id="38" creationId="{248E70F8-2E33-BFAF-B699-F299E2C3B50A}"/>
          </ac:spMkLst>
        </pc:spChg>
        <pc:spChg chg="add del mod modVis">
          <ac:chgData name="Oğuz Öztekin" userId="33c0df0f-d5fe-4bda-8f43-141ad7af67e3" providerId="ADAL" clId="{48B824AD-1B2A-47A8-8D92-6FE6E622A650}" dt="2024-12-16T16:04:23.448" v="73665"/>
          <ac:spMkLst>
            <pc:docMk/>
            <pc:sldMk cId="865606007" sldId="279"/>
            <ac:spMk id="39" creationId="{2C6E0CE7-EEA1-CC7E-337A-6760445B32AA}"/>
          </ac:spMkLst>
        </pc:spChg>
        <pc:spChg chg="add del mod">
          <ac:chgData name="Oğuz Öztekin" userId="33c0df0f-d5fe-4bda-8f43-141ad7af67e3" providerId="ADAL" clId="{48B824AD-1B2A-47A8-8D92-6FE6E622A650}" dt="2024-12-16T09:10:20.103" v="5791"/>
          <ac:spMkLst>
            <pc:docMk/>
            <pc:sldMk cId="865606007" sldId="279"/>
            <ac:spMk id="39" creationId="{CCD8BCD9-D740-BE77-18CD-B5BD57DBA273}"/>
          </ac:spMkLst>
        </pc:spChg>
        <pc:spChg chg="add del mod">
          <ac:chgData name="Oğuz Öztekin" userId="33c0df0f-d5fe-4bda-8f43-141ad7af67e3" providerId="ADAL" clId="{48B824AD-1B2A-47A8-8D92-6FE6E622A650}" dt="2024-12-16T09:10:15.498" v="5424"/>
          <ac:spMkLst>
            <pc:docMk/>
            <pc:sldMk cId="865606007" sldId="279"/>
            <ac:spMk id="40" creationId="{93A3971E-9691-AAE1-3E6A-3662E85234BF}"/>
          </ac:spMkLst>
        </pc:spChg>
        <pc:spChg chg="add del mod modVis">
          <ac:chgData name="Oğuz Öztekin" userId="33c0df0f-d5fe-4bda-8f43-141ad7af67e3" providerId="ADAL" clId="{48B824AD-1B2A-47A8-8D92-6FE6E622A650}" dt="2024-12-16T16:04:24.177" v="73780"/>
          <ac:spMkLst>
            <pc:docMk/>
            <pc:sldMk cId="865606007" sldId="279"/>
            <ac:spMk id="41" creationId="{441D9599-9E3C-2F3C-1BD6-B006888AA0F4}"/>
          </ac:spMkLst>
        </pc:spChg>
        <pc:spChg chg="add del mod">
          <ac:chgData name="Oğuz Öztekin" userId="33c0df0f-d5fe-4bda-8f43-141ad7af67e3" providerId="ADAL" clId="{48B824AD-1B2A-47A8-8D92-6FE6E622A650}" dt="2024-12-16T09:10:20.099" v="5787"/>
          <ac:spMkLst>
            <pc:docMk/>
            <pc:sldMk cId="865606007" sldId="279"/>
            <ac:spMk id="43" creationId="{8EE605C1-396E-6E17-9752-389C6A6700A7}"/>
          </ac:spMkLst>
        </pc:spChg>
        <pc:spChg chg="add del mod modVis">
          <ac:chgData name="Oğuz Öztekin" userId="33c0df0f-d5fe-4bda-8f43-141ad7af67e3" providerId="ADAL" clId="{48B824AD-1B2A-47A8-8D92-6FE6E622A650}" dt="2024-12-16T16:04:24.766" v="73895"/>
          <ac:spMkLst>
            <pc:docMk/>
            <pc:sldMk cId="865606007" sldId="279"/>
            <ac:spMk id="43" creationId="{F80356E8-704C-5D4D-AECE-8376EE9F6FDF}"/>
          </ac:spMkLst>
        </pc:spChg>
        <pc:spChg chg="add del mod">
          <ac:chgData name="Oğuz Öztekin" userId="33c0df0f-d5fe-4bda-8f43-141ad7af67e3" providerId="ADAL" clId="{48B824AD-1B2A-47A8-8D92-6FE6E622A650}" dt="2024-12-16T09:10:20.101" v="5789"/>
          <ac:spMkLst>
            <pc:docMk/>
            <pc:sldMk cId="865606007" sldId="279"/>
            <ac:spMk id="44" creationId="{4CCB52D7-83CE-4153-8BAD-79A72D0CE59C}"/>
          </ac:spMkLst>
        </pc:spChg>
        <pc:spChg chg="add del mod modVis">
          <ac:chgData name="Oğuz Öztekin" userId="33c0df0f-d5fe-4bda-8f43-141ad7af67e3" providerId="ADAL" clId="{48B824AD-1B2A-47A8-8D92-6FE6E622A650}" dt="2024-12-16T16:04:26.679" v="74015"/>
          <ac:spMkLst>
            <pc:docMk/>
            <pc:sldMk cId="865606007" sldId="279"/>
            <ac:spMk id="45" creationId="{3C8828C6-C963-7DA3-432F-D4ADD37FC417}"/>
          </ac:spMkLst>
        </pc:spChg>
        <pc:spChg chg="add del mod">
          <ac:chgData name="Oğuz Öztekin" userId="33c0df0f-d5fe-4bda-8f43-141ad7af67e3" providerId="ADAL" clId="{48B824AD-1B2A-47A8-8D92-6FE6E622A650}" dt="2024-12-16T09:09:18.009" v="3489"/>
          <ac:spMkLst>
            <pc:docMk/>
            <pc:sldMk cId="865606007" sldId="279"/>
            <ac:spMk id="45" creationId="{B30AD573-7A26-23A7-4674-0AF991B9F9B0}"/>
          </ac:spMkLst>
        </pc:spChg>
        <pc:spChg chg="add del mod">
          <ac:chgData name="Oğuz Öztekin" userId="33c0df0f-d5fe-4bda-8f43-141ad7af67e3" providerId="ADAL" clId="{48B824AD-1B2A-47A8-8D92-6FE6E622A650}" dt="2024-12-16T09:09:18.009" v="3491"/>
          <ac:spMkLst>
            <pc:docMk/>
            <pc:sldMk cId="865606007" sldId="279"/>
            <ac:spMk id="46" creationId="{C01CF7EA-D62E-C5B8-7F87-907A723883AA}"/>
          </ac:spMkLst>
        </pc:spChg>
        <pc:spChg chg="add del mod">
          <ac:chgData name="Oğuz Öztekin" userId="33c0df0f-d5fe-4bda-8f43-141ad7af67e3" providerId="ADAL" clId="{48B824AD-1B2A-47A8-8D92-6FE6E622A650}" dt="2024-12-16T09:09:18.011" v="3493"/>
          <ac:spMkLst>
            <pc:docMk/>
            <pc:sldMk cId="865606007" sldId="279"/>
            <ac:spMk id="47" creationId="{4F8B535A-3AC5-DB29-AAA1-AB6653B44AB6}"/>
          </ac:spMkLst>
        </pc:spChg>
        <pc:spChg chg="add del mod modVis">
          <ac:chgData name="Oğuz Öztekin" userId="33c0df0f-d5fe-4bda-8f43-141ad7af67e3" providerId="ADAL" clId="{48B824AD-1B2A-47A8-8D92-6FE6E622A650}" dt="2024-12-16T16:04:27.656" v="74130"/>
          <ac:spMkLst>
            <pc:docMk/>
            <pc:sldMk cId="865606007" sldId="279"/>
            <ac:spMk id="47" creationId="{8F51A426-8442-B451-CE00-D5E8AC21BB71}"/>
          </ac:spMkLst>
        </pc:spChg>
        <pc:spChg chg="add del mod">
          <ac:chgData name="Oğuz Öztekin" userId="33c0df0f-d5fe-4bda-8f43-141ad7af67e3" providerId="ADAL" clId="{48B824AD-1B2A-47A8-8D92-6FE6E622A650}" dt="2024-12-16T09:09:18.012" v="3495"/>
          <ac:spMkLst>
            <pc:docMk/>
            <pc:sldMk cId="865606007" sldId="279"/>
            <ac:spMk id="48" creationId="{B315AFAC-0F49-456E-11E7-2F7D0921D3EE}"/>
          </ac:spMkLst>
        </pc:spChg>
        <pc:spChg chg="add del mod modVis">
          <ac:chgData name="Oğuz Öztekin" userId="33c0df0f-d5fe-4bda-8f43-141ad7af67e3" providerId="ADAL" clId="{48B824AD-1B2A-47A8-8D92-6FE6E622A650}" dt="2024-12-16T16:04:30.223" v="74247"/>
          <ac:spMkLst>
            <pc:docMk/>
            <pc:sldMk cId="865606007" sldId="279"/>
            <ac:spMk id="49" creationId="{50F048B7-D403-79D2-DDD5-C7C606642511}"/>
          </ac:spMkLst>
        </pc:spChg>
        <pc:spChg chg="add del mod">
          <ac:chgData name="Oğuz Öztekin" userId="33c0df0f-d5fe-4bda-8f43-141ad7af67e3" providerId="ADAL" clId="{48B824AD-1B2A-47A8-8D92-6FE6E622A650}" dt="2024-12-16T09:09:18.012" v="3497"/>
          <ac:spMkLst>
            <pc:docMk/>
            <pc:sldMk cId="865606007" sldId="279"/>
            <ac:spMk id="49" creationId="{AD9682AD-478F-AF30-FEDF-B7AC69062E41}"/>
          </ac:spMkLst>
        </pc:spChg>
        <pc:spChg chg="add del mod">
          <ac:chgData name="Oğuz Öztekin" userId="33c0df0f-d5fe-4bda-8f43-141ad7af67e3" providerId="ADAL" clId="{48B824AD-1B2A-47A8-8D92-6FE6E622A650}" dt="2024-12-16T09:09:18.013" v="3499"/>
          <ac:spMkLst>
            <pc:docMk/>
            <pc:sldMk cId="865606007" sldId="279"/>
            <ac:spMk id="50" creationId="{D957C0D5-829B-2BC5-C137-C8120DF5168E}"/>
          </ac:spMkLst>
        </pc:spChg>
        <pc:spChg chg="add del mod modVis">
          <ac:chgData name="Oğuz Öztekin" userId="33c0df0f-d5fe-4bda-8f43-141ad7af67e3" providerId="ADAL" clId="{48B824AD-1B2A-47A8-8D92-6FE6E622A650}" dt="2024-12-16T16:04:31.033" v="74362"/>
          <ac:spMkLst>
            <pc:docMk/>
            <pc:sldMk cId="865606007" sldId="279"/>
            <ac:spMk id="51" creationId="{065A377A-BDB8-67E3-9D96-242FBC450FE6}"/>
          </ac:spMkLst>
        </pc:spChg>
        <pc:spChg chg="add del mod">
          <ac:chgData name="Oğuz Öztekin" userId="33c0df0f-d5fe-4bda-8f43-141ad7af67e3" providerId="ADAL" clId="{48B824AD-1B2A-47A8-8D92-6FE6E622A650}" dt="2024-12-16T09:09:18.014" v="3501"/>
          <ac:spMkLst>
            <pc:docMk/>
            <pc:sldMk cId="865606007" sldId="279"/>
            <ac:spMk id="51" creationId="{8D507D0F-B0D3-20CC-28B9-9D411E95C456}"/>
          </ac:spMkLst>
        </pc:spChg>
        <pc:spChg chg="add del mod">
          <ac:chgData name="Oğuz Öztekin" userId="33c0df0f-d5fe-4bda-8f43-141ad7af67e3" providerId="ADAL" clId="{48B824AD-1B2A-47A8-8D92-6FE6E622A650}" dt="2024-12-16T09:09:18.015" v="3503"/>
          <ac:spMkLst>
            <pc:docMk/>
            <pc:sldMk cId="865606007" sldId="279"/>
            <ac:spMk id="52" creationId="{1825A75C-6D57-3B39-FF7A-F0762866C901}"/>
          </ac:spMkLst>
        </pc:spChg>
        <pc:spChg chg="add del mod">
          <ac:chgData name="Oğuz Öztekin" userId="33c0df0f-d5fe-4bda-8f43-141ad7af67e3" providerId="ADAL" clId="{48B824AD-1B2A-47A8-8D92-6FE6E622A650}" dt="2024-12-16T09:09:18.015" v="3505"/>
          <ac:spMkLst>
            <pc:docMk/>
            <pc:sldMk cId="865606007" sldId="279"/>
            <ac:spMk id="53" creationId="{26F3059F-02B7-38D5-9066-3E432C882CF0}"/>
          </ac:spMkLst>
        </pc:spChg>
        <pc:spChg chg="add del mod modVis">
          <ac:chgData name="Oğuz Öztekin" userId="33c0df0f-d5fe-4bda-8f43-141ad7af67e3" providerId="ADAL" clId="{48B824AD-1B2A-47A8-8D92-6FE6E622A650}" dt="2024-12-16T16:04:31.641" v="74477"/>
          <ac:spMkLst>
            <pc:docMk/>
            <pc:sldMk cId="865606007" sldId="279"/>
            <ac:spMk id="53" creationId="{F70CC7DB-67EC-24E8-2B62-9ED62C657012}"/>
          </ac:spMkLst>
        </pc:spChg>
        <pc:spChg chg="add del mod">
          <ac:chgData name="Oğuz Öztekin" userId="33c0df0f-d5fe-4bda-8f43-141ad7af67e3" providerId="ADAL" clId="{48B824AD-1B2A-47A8-8D92-6FE6E622A650}" dt="2024-12-16T09:09:18.016" v="3507"/>
          <ac:spMkLst>
            <pc:docMk/>
            <pc:sldMk cId="865606007" sldId="279"/>
            <ac:spMk id="54" creationId="{C7000466-0F1B-3A2B-7D35-120679B59DFE}"/>
          </ac:spMkLst>
        </pc:spChg>
        <pc:spChg chg="add del mod modVis">
          <ac:chgData name="Oğuz Öztekin" userId="33c0df0f-d5fe-4bda-8f43-141ad7af67e3" providerId="ADAL" clId="{48B824AD-1B2A-47A8-8D92-6FE6E622A650}" dt="2024-12-16T16:04:32.496" v="74594"/>
          <ac:spMkLst>
            <pc:docMk/>
            <pc:sldMk cId="865606007" sldId="279"/>
            <ac:spMk id="55" creationId="{110150AD-980A-F783-80B7-6D53FCFB9CED}"/>
          </ac:spMkLst>
        </pc:spChg>
        <pc:spChg chg="add del mod">
          <ac:chgData name="Oğuz Öztekin" userId="33c0df0f-d5fe-4bda-8f43-141ad7af67e3" providerId="ADAL" clId="{48B824AD-1B2A-47A8-8D92-6FE6E622A650}" dt="2024-12-16T09:09:18.017" v="3509"/>
          <ac:spMkLst>
            <pc:docMk/>
            <pc:sldMk cId="865606007" sldId="279"/>
            <ac:spMk id="55" creationId="{2952FFB1-DC94-ACE8-F3B0-A9CB6A35C0AE}"/>
          </ac:spMkLst>
        </pc:spChg>
        <pc:spChg chg="add del mod">
          <ac:chgData name="Oğuz Öztekin" userId="33c0df0f-d5fe-4bda-8f43-141ad7af67e3" providerId="ADAL" clId="{48B824AD-1B2A-47A8-8D92-6FE6E622A650}" dt="2024-12-16T09:09:18.017" v="3511"/>
          <ac:spMkLst>
            <pc:docMk/>
            <pc:sldMk cId="865606007" sldId="279"/>
            <ac:spMk id="56" creationId="{1F3B398F-AE42-65D6-9039-3F3665953A3B}"/>
          </ac:spMkLst>
        </pc:spChg>
        <pc:spChg chg="add del mod modVis">
          <ac:chgData name="Oğuz Öztekin" userId="33c0df0f-d5fe-4bda-8f43-141ad7af67e3" providerId="ADAL" clId="{48B824AD-1B2A-47A8-8D92-6FE6E622A650}" dt="2024-12-16T16:04:34.103" v="74714"/>
          <ac:spMkLst>
            <pc:docMk/>
            <pc:sldMk cId="865606007" sldId="279"/>
            <ac:spMk id="57" creationId="{44D18F97-5A26-21D2-7D39-BCB0D405D66C}"/>
          </ac:spMkLst>
        </pc:spChg>
        <pc:spChg chg="add del mod">
          <ac:chgData name="Oğuz Öztekin" userId="33c0df0f-d5fe-4bda-8f43-141ad7af67e3" providerId="ADAL" clId="{48B824AD-1B2A-47A8-8D92-6FE6E622A650}" dt="2024-12-16T09:09:18.018" v="3513"/>
          <ac:spMkLst>
            <pc:docMk/>
            <pc:sldMk cId="865606007" sldId="279"/>
            <ac:spMk id="57" creationId="{6E563BB5-36F0-1769-997F-20A0C6E2E314}"/>
          </ac:spMkLst>
        </pc:spChg>
        <pc:spChg chg="add del mod">
          <ac:chgData name="Oğuz Öztekin" userId="33c0df0f-d5fe-4bda-8f43-141ad7af67e3" providerId="ADAL" clId="{48B824AD-1B2A-47A8-8D92-6FE6E622A650}" dt="2024-12-16T09:09:18.020" v="3515"/>
          <ac:spMkLst>
            <pc:docMk/>
            <pc:sldMk cId="865606007" sldId="279"/>
            <ac:spMk id="58" creationId="{D345C14A-3904-D3D9-A1CC-EA7CABE09F5E}"/>
          </ac:spMkLst>
        </pc:spChg>
        <pc:spChg chg="add del mod modVis">
          <ac:chgData name="Oğuz Öztekin" userId="33c0df0f-d5fe-4bda-8f43-141ad7af67e3" providerId="ADAL" clId="{48B824AD-1B2A-47A8-8D92-6FE6E622A650}" dt="2024-12-16T16:04:34.777" v="74829"/>
          <ac:spMkLst>
            <pc:docMk/>
            <pc:sldMk cId="865606007" sldId="279"/>
            <ac:spMk id="59" creationId="{0B303110-0A9C-5637-58D6-3EA32AB2A1E0}"/>
          </ac:spMkLst>
        </pc:spChg>
        <pc:spChg chg="add del mod">
          <ac:chgData name="Oğuz Öztekin" userId="33c0df0f-d5fe-4bda-8f43-141ad7af67e3" providerId="ADAL" clId="{48B824AD-1B2A-47A8-8D92-6FE6E622A650}" dt="2024-12-16T09:09:18.020" v="3517"/>
          <ac:spMkLst>
            <pc:docMk/>
            <pc:sldMk cId="865606007" sldId="279"/>
            <ac:spMk id="59" creationId="{AC9CD06C-3F8A-5802-4D52-AE642F62348D}"/>
          </ac:spMkLst>
        </pc:spChg>
        <pc:spChg chg="add del mod modVis">
          <ac:chgData name="Oğuz Öztekin" userId="33c0df0f-d5fe-4bda-8f43-141ad7af67e3" providerId="ADAL" clId="{48B824AD-1B2A-47A8-8D92-6FE6E622A650}" dt="2024-12-16T09:08:47.264" v="1658"/>
          <ac:spMkLst>
            <pc:docMk/>
            <pc:sldMk cId="865606007" sldId="279"/>
            <ac:spMk id="60" creationId="{89433828-6FED-F955-7708-2EDE850162D0}"/>
          </ac:spMkLst>
        </pc:spChg>
        <pc:spChg chg="add del mod">
          <ac:chgData name="Oğuz Öztekin" userId="33c0df0f-d5fe-4bda-8f43-141ad7af67e3" providerId="ADAL" clId="{48B824AD-1B2A-47A8-8D92-6FE6E622A650}" dt="2024-12-16T09:09:18.108" v="3613"/>
          <ac:spMkLst>
            <pc:docMk/>
            <pc:sldMk cId="865606007" sldId="279"/>
            <ac:spMk id="61" creationId="{139F6D4A-759C-C90E-CB91-320901E84303}"/>
          </ac:spMkLst>
        </pc:spChg>
        <pc:spChg chg="add del mod modVis">
          <ac:chgData name="Oğuz Öztekin" userId="33c0df0f-d5fe-4bda-8f43-141ad7af67e3" providerId="ADAL" clId="{48B824AD-1B2A-47A8-8D92-6FE6E622A650}" dt="2024-12-16T16:04:35.480" v="74946"/>
          <ac:spMkLst>
            <pc:docMk/>
            <pc:sldMk cId="865606007" sldId="279"/>
            <ac:spMk id="61" creationId="{44D525DC-91EF-82CA-2D7A-135A68BC7E84}"/>
          </ac:spMkLst>
        </pc:spChg>
        <pc:spChg chg="add del mod">
          <ac:chgData name="Oğuz Öztekin" userId="33c0df0f-d5fe-4bda-8f43-141ad7af67e3" providerId="ADAL" clId="{48B824AD-1B2A-47A8-8D92-6FE6E622A650}" dt="2024-12-16T09:09:18.107" v="3610"/>
          <ac:spMkLst>
            <pc:docMk/>
            <pc:sldMk cId="865606007" sldId="279"/>
            <ac:spMk id="62" creationId="{194157B3-8B5F-6D53-26EF-C60FADE8DA38}"/>
          </ac:spMkLst>
        </pc:spChg>
        <pc:spChg chg="add del mod modVis">
          <ac:chgData name="Oğuz Öztekin" userId="33c0df0f-d5fe-4bda-8f43-141ad7af67e3" providerId="ADAL" clId="{48B824AD-1B2A-47A8-8D92-6FE6E622A650}" dt="2024-12-16T16:04:36.196" v="75061"/>
          <ac:spMkLst>
            <pc:docMk/>
            <pc:sldMk cId="865606007" sldId="279"/>
            <ac:spMk id="63" creationId="{5C4B1DEA-466D-C0C2-0154-325807EF3E5F}"/>
          </ac:spMkLst>
        </pc:spChg>
        <pc:spChg chg="add del mod ord">
          <ac:chgData name="Oğuz Öztekin" userId="33c0df0f-d5fe-4bda-8f43-141ad7af67e3" providerId="ADAL" clId="{48B824AD-1B2A-47A8-8D92-6FE6E622A650}" dt="2024-12-16T09:09:18.004" v="3473"/>
          <ac:spMkLst>
            <pc:docMk/>
            <pc:sldMk cId="865606007" sldId="279"/>
            <ac:spMk id="63" creationId="{DB0C8183-A036-C3AE-EABD-0457A12C5038}"/>
          </ac:spMkLst>
        </pc:spChg>
        <pc:spChg chg="add del mod ord">
          <ac:chgData name="Oğuz Öztekin" userId="33c0df0f-d5fe-4bda-8f43-141ad7af67e3" providerId="ADAL" clId="{48B824AD-1B2A-47A8-8D92-6FE6E622A650}" dt="2024-12-16T09:09:18.113" v="3625"/>
          <ac:spMkLst>
            <pc:docMk/>
            <pc:sldMk cId="865606007" sldId="279"/>
            <ac:spMk id="64" creationId="{6BA96DC5-3930-535B-1166-329BCCFC15F3}"/>
          </ac:spMkLst>
        </pc:spChg>
        <pc:spChg chg="add del mod modVis">
          <ac:chgData name="Oğuz Öztekin" userId="33c0df0f-d5fe-4bda-8f43-141ad7af67e3" providerId="ADAL" clId="{48B824AD-1B2A-47A8-8D92-6FE6E622A650}" dt="2024-12-16T16:04:38.064" v="75182"/>
          <ac:spMkLst>
            <pc:docMk/>
            <pc:sldMk cId="865606007" sldId="279"/>
            <ac:spMk id="65" creationId="{5639FD0A-7621-644D-0A3C-1631AC2AC106}"/>
          </ac:spMkLst>
        </pc:spChg>
        <pc:spChg chg="add del mod ord">
          <ac:chgData name="Oğuz Öztekin" userId="33c0df0f-d5fe-4bda-8f43-141ad7af67e3" providerId="ADAL" clId="{48B824AD-1B2A-47A8-8D92-6FE6E622A650}" dt="2024-12-16T09:08:56.718" v="2560"/>
          <ac:spMkLst>
            <pc:docMk/>
            <pc:sldMk cId="865606007" sldId="279"/>
            <ac:spMk id="65" creationId="{CD402796-FEF5-95C3-1039-10C6A78F9ED8}"/>
          </ac:spMkLst>
        </pc:spChg>
        <pc:spChg chg="add del mod ord">
          <ac:chgData name="Oğuz Öztekin" userId="33c0df0f-d5fe-4bda-8f43-141ad7af67e3" providerId="ADAL" clId="{48B824AD-1B2A-47A8-8D92-6FE6E622A650}" dt="2024-12-16T09:09:18.117" v="3633"/>
          <ac:spMkLst>
            <pc:docMk/>
            <pc:sldMk cId="865606007" sldId="279"/>
            <ac:spMk id="66" creationId="{47ADA53B-CBEC-9154-59CA-619F9D5496FF}"/>
          </ac:spMkLst>
        </pc:spChg>
        <pc:spChg chg="add del mod modVis">
          <ac:chgData name="Oğuz Öztekin" userId="33c0df0f-d5fe-4bda-8f43-141ad7af67e3" providerId="ADAL" clId="{48B824AD-1B2A-47A8-8D92-6FE6E622A650}" dt="2024-12-16T16:04:45.092" v="75318"/>
          <ac:spMkLst>
            <pc:docMk/>
            <pc:sldMk cId="865606007" sldId="279"/>
            <ac:spMk id="67" creationId="{4CB88961-BC6F-7456-0829-7EC7D70CF9CE}"/>
          </ac:spMkLst>
        </pc:spChg>
        <pc:spChg chg="add del mod ord">
          <ac:chgData name="Oğuz Öztekin" userId="33c0df0f-d5fe-4bda-8f43-141ad7af67e3" providerId="ADAL" clId="{48B824AD-1B2A-47A8-8D92-6FE6E622A650}" dt="2024-12-16T09:08:56.750" v="2625"/>
          <ac:spMkLst>
            <pc:docMk/>
            <pc:sldMk cId="865606007" sldId="279"/>
            <ac:spMk id="67" creationId="{FC7E7AC2-574D-F53A-A32F-0C27AF0914D4}"/>
          </ac:spMkLst>
        </pc:spChg>
        <pc:spChg chg="add del mod modVis">
          <ac:chgData name="Oğuz Öztekin" userId="33c0df0f-d5fe-4bda-8f43-141ad7af67e3" providerId="ADAL" clId="{48B824AD-1B2A-47A8-8D92-6FE6E622A650}" dt="2024-12-16T16:04:46.732" v="75440"/>
          <ac:spMkLst>
            <pc:docMk/>
            <pc:sldMk cId="865606007" sldId="279"/>
            <ac:spMk id="70" creationId="{15318045-6EB0-F6F8-EDCF-B7A9B6F3473E}"/>
          </ac:spMkLst>
        </pc:spChg>
        <pc:spChg chg="add del mod">
          <ac:chgData name="Oğuz Öztekin" userId="33c0df0f-d5fe-4bda-8f43-141ad7af67e3" providerId="ADAL" clId="{48B824AD-1B2A-47A8-8D92-6FE6E622A650}" dt="2024-12-16T09:09:18.008" v="3488"/>
          <ac:spMkLst>
            <pc:docMk/>
            <pc:sldMk cId="865606007" sldId="279"/>
            <ac:spMk id="71" creationId="{F94AE483-A91B-CDF8-54B2-C3B2BD24A0AC}"/>
          </ac:spMkLst>
        </pc:spChg>
        <pc:spChg chg="add del mod">
          <ac:chgData name="Oğuz Öztekin" userId="33c0df0f-d5fe-4bda-8f43-141ad7af67e3" providerId="ADAL" clId="{48B824AD-1B2A-47A8-8D92-6FE6E622A650}" dt="2024-12-16T09:09:18.009" v="3490"/>
          <ac:spMkLst>
            <pc:docMk/>
            <pc:sldMk cId="865606007" sldId="279"/>
            <ac:spMk id="72" creationId="{ABE4EF2D-208F-D8C4-4280-FA7C584914A2}"/>
          </ac:spMkLst>
        </pc:spChg>
        <pc:spChg chg="add del mod modVis">
          <ac:chgData name="Oğuz Öztekin" userId="33c0df0f-d5fe-4bda-8f43-141ad7af67e3" providerId="ADAL" clId="{48B824AD-1B2A-47A8-8D92-6FE6E622A650}" dt="2024-12-16T16:04:50.623" v="75563"/>
          <ac:spMkLst>
            <pc:docMk/>
            <pc:sldMk cId="865606007" sldId="279"/>
            <ac:spMk id="72" creationId="{D0B05C37-0942-6187-C6A7-3478B24F617E}"/>
          </ac:spMkLst>
        </pc:spChg>
        <pc:spChg chg="add del mod">
          <ac:chgData name="Oğuz Öztekin" userId="33c0df0f-d5fe-4bda-8f43-141ad7af67e3" providerId="ADAL" clId="{48B824AD-1B2A-47A8-8D92-6FE6E622A650}" dt="2024-12-16T09:09:18.010" v="3492"/>
          <ac:spMkLst>
            <pc:docMk/>
            <pc:sldMk cId="865606007" sldId="279"/>
            <ac:spMk id="73" creationId="{AA14FFBB-9D1C-9B50-F86C-A894BCB64036}"/>
          </ac:spMkLst>
        </pc:spChg>
        <pc:spChg chg="add del mod">
          <ac:chgData name="Oğuz Öztekin" userId="33c0df0f-d5fe-4bda-8f43-141ad7af67e3" providerId="ADAL" clId="{48B824AD-1B2A-47A8-8D92-6FE6E622A650}" dt="2024-12-16T09:09:18.011" v="3494"/>
          <ac:spMkLst>
            <pc:docMk/>
            <pc:sldMk cId="865606007" sldId="279"/>
            <ac:spMk id="74" creationId="{2C7AC821-B139-ABCC-18E4-2BBE7AF420F2}"/>
          </ac:spMkLst>
        </pc:spChg>
        <pc:spChg chg="add del mod modVis">
          <ac:chgData name="Oğuz Öztekin" userId="33c0df0f-d5fe-4bda-8f43-141ad7af67e3" providerId="ADAL" clId="{48B824AD-1B2A-47A8-8D92-6FE6E622A650}" dt="2024-12-16T16:04:52.393" v="75684"/>
          <ac:spMkLst>
            <pc:docMk/>
            <pc:sldMk cId="865606007" sldId="279"/>
            <ac:spMk id="74" creationId="{E9C1445D-7FEE-5CF8-EB96-88D58446525B}"/>
          </ac:spMkLst>
        </pc:spChg>
        <pc:spChg chg="add del mod">
          <ac:chgData name="Oğuz Öztekin" userId="33c0df0f-d5fe-4bda-8f43-141ad7af67e3" providerId="ADAL" clId="{48B824AD-1B2A-47A8-8D92-6FE6E622A650}" dt="2024-12-16T09:09:18.012" v="3496"/>
          <ac:spMkLst>
            <pc:docMk/>
            <pc:sldMk cId="865606007" sldId="279"/>
            <ac:spMk id="75" creationId="{EF5A4382-707C-E21E-0A93-B1EB3F138C29}"/>
          </ac:spMkLst>
        </pc:spChg>
        <pc:spChg chg="add del mod">
          <ac:chgData name="Oğuz Öztekin" userId="33c0df0f-d5fe-4bda-8f43-141ad7af67e3" providerId="ADAL" clId="{48B824AD-1B2A-47A8-8D92-6FE6E622A650}" dt="2024-12-16T09:09:18.013" v="3498"/>
          <ac:spMkLst>
            <pc:docMk/>
            <pc:sldMk cId="865606007" sldId="279"/>
            <ac:spMk id="76" creationId="{42E08713-AEC1-E52C-DC1A-D410B03CB958}"/>
          </ac:spMkLst>
        </pc:spChg>
        <pc:spChg chg="add del mod modVis">
          <ac:chgData name="Oğuz Öztekin" userId="33c0df0f-d5fe-4bda-8f43-141ad7af67e3" providerId="ADAL" clId="{48B824AD-1B2A-47A8-8D92-6FE6E622A650}" dt="2024-12-16T16:04:59.112" v="75904"/>
          <ac:spMkLst>
            <pc:docMk/>
            <pc:sldMk cId="865606007" sldId="279"/>
            <ac:spMk id="76" creationId="{ED4D5DA4-2F57-F66C-6349-F1EFB1E603E5}"/>
          </ac:spMkLst>
        </pc:spChg>
        <pc:spChg chg="add del mod">
          <ac:chgData name="Oğuz Öztekin" userId="33c0df0f-d5fe-4bda-8f43-141ad7af67e3" providerId="ADAL" clId="{48B824AD-1B2A-47A8-8D92-6FE6E622A650}" dt="2024-12-16T09:09:18.014" v="3500"/>
          <ac:spMkLst>
            <pc:docMk/>
            <pc:sldMk cId="865606007" sldId="279"/>
            <ac:spMk id="77" creationId="{A27F2544-C424-2405-C66A-B1BAFBA502CE}"/>
          </ac:spMkLst>
        </pc:spChg>
        <pc:spChg chg="add del mod modVis">
          <ac:chgData name="Oğuz Öztekin" userId="33c0df0f-d5fe-4bda-8f43-141ad7af67e3" providerId="ADAL" clId="{48B824AD-1B2A-47A8-8D92-6FE6E622A650}" dt="2024-12-16T16:05:04.687" v="76310"/>
          <ac:spMkLst>
            <pc:docMk/>
            <pc:sldMk cId="865606007" sldId="279"/>
            <ac:spMk id="78" creationId="{0AB04C43-8C0A-CF8E-4393-6CBCAA56A5C5}"/>
          </ac:spMkLst>
        </pc:spChg>
        <pc:spChg chg="add del mod">
          <ac:chgData name="Oğuz Öztekin" userId="33c0df0f-d5fe-4bda-8f43-141ad7af67e3" providerId="ADAL" clId="{48B824AD-1B2A-47A8-8D92-6FE6E622A650}" dt="2024-12-16T09:09:18.014" v="3502"/>
          <ac:spMkLst>
            <pc:docMk/>
            <pc:sldMk cId="865606007" sldId="279"/>
            <ac:spMk id="78" creationId="{2314102B-F0FF-DDB5-365F-7992F17207BF}"/>
          </ac:spMkLst>
        </pc:spChg>
        <pc:spChg chg="add del mod">
          <ac:chgData name="Oğuz Öztekin" userId="33c0df0f-d5fe-4bda-8f43-141ad7af67e3" providerId="ADAL" clId="{48B824AD-1B2A-47A8-8D92-6FE6E622A650}" dt="2024-12-16T09:09:18.015" v="3504"/>
          <ac:spMkLst>
            <pc:docMk/>
            <pc:sldMk cId="865606007" sldId="279"/>
            <ac:spMk id="79" creationId="{1F5C31F2-E62B-1989-3494-3C9D83247EC0}"/>
          </ac:spMkLst>
        </pc:spChg>
        <pc:spChg chg="add del mod modVis">
          <ac:chgData name="Oğuz Öztekin" userId="33c0df0f-d5fe-4bda-8f43-141ad7af67e3" providerId="ADAL" clId="{48B824AD-1B2A-47A8-8D92-6FE6E622A650}" dt="2024-12-16T16:05:09.290" v="76716"/>
          <ac:spMkLst>
            <pc:docMk/>
            <pc:sldMk cId="865606007" sldId="279"/>
            <ac:spMk id="80" creationId="{0C3EEB5E-8C0C-6D12-035D-F93EB30504BA}"/>
          </ac:spMkLst>
        </pc:spChg>
        <pc:spChg chg="add del mod">
          <ac:chgData name="Oğuz Öztekin" userId="33c0df0f-d5fe-4bda-8f43-141ad7af67e3" providerId="ADAL" clId="{48B824AD-1B2A-47A8-8D92-6FE6E622A650}" dt="2024-12-16T09:09:18.016" v="3506"/>
          <ac:spMkLst>
            <pc:docMk/>
            <pc:sldMk cId="865606007" sldId="279"/>
            <ac:spMk id="80" creationId="{38840041-FF86-5483-ADBF-274E7FDA7248}"/>
          </ac:spMkLst>
        </pc:spChg>
        <pc:spChg chg="add del mod">
          <ac:chgData name="Oğuz Öztekin" userId="33c0df0f-d5fe-4bda-8f43-141ad7af67e3" providerId="ADAL" clId="{48B824AD-1B2A-47A8-8D92-6FE6E622A650}" dt="2024-12-16T09:09:18.016" v="3508"/>
          <ac:spMkLst>
            <pc:docMk/>
            <pc:sldMk cId="865606007" sldId="279"/>
            <ac:spMk id="81" creationId="{0FEB78A9-35BB-11A2-C629-27060BBC8DD1}"/>
          </ac:spMkLst>
        </pc:spChg>
        <pc:spChg chg="add del mod">
          <ac:chgData name="Oğuz Öztekin" userId="33c0df0f-d5fe-4bda-8f43-141ad7af67e3" providerId="ADAL" clId="{48B824AD-1B2A-47A8-8D92-6FE6E622A650}" dt="2024-12-16T09:09:18.017" v="3510"/>
          <ac:spMkLst>
            <pc:docMk/>
            <pc:sldMk cId="865606007" sldId="279"/>
            <ac:spMk id="82" creationId="{AAB924CB-4268-AAB4-2E14-EB7FB1C4797D}"/>
          </ac:spMkLst>
        </pc:spChg>
        <pc:spChg chg="add del mod modVis">
          <ac:chgData name="Oğuz Öztekin" userId="33c0df0f-d5fe-4bda-8f43-141ad7af67e3" providerId="ADAL" clId="{48B824AD-1B2A-47A8-8D92-6FE6E622A650}" dt="2024-12-16T16:05:30.998" v="76928"/>
          <ac:spMkLst>
            <pc:docMk/>
            <pc:sldMk cId="865606007" sldId="279"/>
            <ac:spMk id="82" creationId="{F2686970-E3C2-8F2B-FF39-143F2F802C16}"/>
          </ac:spMkLst>
        </pc:spChg>
        <pc:spChg chg="add del mod">
          <ac:chgData name="Oğuz Öztekin" userId="33c0df0f-d5fe-4bda-8f43-141ad7af67e3" providerId="ADAL" clId="{48B824AD-1B2A-47A8-8D92-6FE6E622A650}" dt="2024-12-16T09:09:18.018" v="3512"/>
          <ac:spMkLst>
            <pc:docMk/>
            <pc:sldMk cId="865606007" sldId="279"/>
            <ac:spMk id="83" creationId="{4ED87781-409E-5F4C-2F16-8D89EB74E523}"/>
          </ac:spMkLst>
        </pc:spChg>
        <pc:spChg chg="add del mod modVis">
          <ac:chgData name="Oğuz Öztekin" userId="33c0df0f-d5fe-4bda-8f43-141ad7af67e3" providerId="ADAL" clId="{48B824AD-1B2A-47A8-8D92-6FE6E622A650}" dt="2024-12-16T16:05:44.401" v="76965"/>
          <ac:spMkLst>
            <pc:docMk/>
            <pc:sldMk cId="865606007" sldId="279"/>
            <ac:spMk id="84" creationId="{77777531-8E5A-8C9C-2811-95607192F02C}"/>
          </ac:spMkLst>
        </pc:spChg>
        <pc:spChg chg="add del mod">
          <ac:chgData name="Oğuz Öztekin" userId="33c0df0f-d5fe-4bda-8f43-141ad7af67e3" providerId="ADAL" clId="{48B824AD-1B2A-47A8-8D92-6FE6E622A650}" dt="2024-12-16T09:09:18.019" v="3514"/>
          <ac:spMkLst>
            <pc:docMk/>
            <pc:sldMk cId="865606007" sldId="279"/>
            <ac:spMk id="84" creationId="{EAC0E722-84E5-B546-5037-05C3B28D6866}"/>
          </ac:spMkLst>
        </pc:spChg>
        <pc:spChg chg="add del mod">
          <ac:chgData name="Oğuz Öztekin" userId="33c0df0f-d5fe-4bda-8f43-141ad7af67e3" providerId="ADAL" clId="{48B824AD-1B2A-47A8-8D92-6FE6E622A650}" dt="2024-12-16T09:09:18.020" v="3516"/>
          <ac:spMkLst>
            <pc:docMk/>
            <pc:sldMk cId="865606007" sldId="279"/>
            <ac:spMk id="85" creationId="{9478DE83-696D-6337-5162-090011359BE7}"/>
          </ac:spMkLst>
        </pc:spChg>
        <pc:spChg chg="add del mod modVis">
          <ac:chgData name="Oğuz Öztekin" userId="33c0df0f-d5fe-4bda-8f43-141ad7af67e3" providerId="ADAL" clId="{48B824AD-1B2A-47A8-8D92-6FE6E622A650}" dt="2024-12-16T16:05:46.603" v="76997"/>
          <ac:spMkLst>
            <pc:docMk/>
            <pc:sldMk cId="865606007" sldId="279"/>
            <ac:spMk id="85" creationId="{ACF1E303-4B8B-36F5-1ED1-01DA37522048}"/>
          </ac:spMkLst>
        </pc:spChg>
        <pc:spChg chg="add mod">
          <ac:chgData name="Oğuz Öztekin" userId="33c0df0f-d5fe-4bda-8f43-141ad7af67e3" providerId="ADAL" clId="{48B824AD-1B2A-47A8-8D92-6FE6E622A650}" dt="2024-12-16T16:27:50.011" v="104091"/>
          <ac:spMkLst>
            <pc:docMk/>
            <pc:sldMk cId="865606007" sldId="279"/>
            <ac:spMk id="86" creationId="{D0FCB533-6088-11FE-3394-86A1EE694C8E}"/>
          </ac:spMkLst>
        </pc:spChg>
        <pc:spChg chg="add mod">
          <ac:chgData name="Oğuz Öztekin" userId="33c0df0f-d5fe-4bda-8f43-141ad7af67e3" providerId="ADAL" clId="{48B824AD-1B2A-47A8-8D92-6FE6E622A650}" dt="2024-12-16T16:27:50.002" v="104061"/>
          <ac:spMkLst>
            <pc:docMk/>
            <pc:sldMk cId="865606007" sldId="279"/>
            <ac:spMk id="87" creationId="{4E76B921-8BA0-08DC-EC1C-A5A428D172E4}"/>
          </ac:spMkLst>
        </pc:spChg>
        <pc:spChg chg="add mod">
          <ac:chgData name="Oğuz Öztekin" userId="33c0df0f-d5fe-4bda-8f43-141ad7af67e3" providerId="ADAL" clId="{48B824AD-1B2A-47A8-8D92-6FE6E622A650}" dt="2024-12-16T16:27:50.003" v="104064"/>
          <ac:spMkLst>
            <pc:docMk/>
            <pc:sldMk cId="865606007" sldId="279"/>
            <ac:spMk id="88" creationId="{89451C56-0E80-70A0-4A24-7A1C59B4BABA}"/>
          </ac:spMkLst>
        </pc:spChg>
        <pc:spChg chg="add mod">
          <ac:chgData name="Oğuz Öztekin" userId="33c0df0f-d5fe-4bda-8f43-141ad7af67e3" providerId="ADAL" clId="{48B824AD-1B2A-47A8-8D92-6FE6E622A650}" dt="2024-12-16T16:27:50.004" v="104067"/>
          <ac:spMkLst>
            <pc:docMk/>
            <pc:sldMk cId="865606007" sldId="279"/>
            <ac:spMk id="89" creationId="{46C5B14F-F66C-575B-4B6B-F1CFFBF3CD5B}"/>
          </ac:spMkLst>
        </pc:spChg>
        <pc:spChg chg="add mod">
          <ac:chgData name="Oğuz Öztekin" userId="33c0df0f-d5fe-4bda-8f43-141ad7af67e3" providerId="ADAL" clId="{48B824AD-1B2A-47A8-8D92-6FE6E622A650}" dt="2024-12-16T16:27:50.005" v="104070"/>
          <ac:spMkLst>
            <pc:docMk/>
            <pc:sldMk cId="865606007" sldId="279"/>
            <ac:spMk id="90" creationId="{1E532F6A-44D2-41C8-48E8-77B62F230E8F}"/>
          </ac:spMkLst>
        </pc:spChg>
        <pc:spChg chg="add mod">
          <ac:chgData name="Oğuz Öztekin" userId="33c0df0f-d5fe-4bda-8f43-141ad7af67e3" providerId="ADAL" clId="{48B824AD-1B2A-47A8-8D92-6FE6E622A650}" dt="2024-12-16T16:27:50.006" v="104073"/>
          <ac:spMkLst>
            <pc:docMk/>
            <pc:sldMk cId="865606007" sldId="279"/>
            <ac:spMk id="91" creationId="{B8845E64-9530-3F5D-C78C-9077E9F465FC}"/>
          </ac:spMkLst>
        </pc:spChg>
        <pc:spChg chg="add mod">
          <ac:chgData name="Oğuz Öztekin" userId="33c0df0f-d5fe-4bda-8f43-141ad7af67e3" providerId="ADAL" clId="{48B824AD-1B2A-47A8-8D92-6FE6E622A650}" dt="2024-12-16T16:27:50.006" v="104076"/>
          <ac:spMkLst>
            <pc:docMk/>
            <pc:sldMk cId="865606007" sldId="279"/>
            <ac:spMk id="92" creationId="{0F383885-2383-3CDD-8753-28134366C8DB}"/>
          </ac:spMkLst>
        </pc:spChg>
        <pc:spChg chg="add del mod modVis">
          <ac:chgData name="Oğuz Öztekin" userId="33c0df0f-d5fe-4bda-8f43-141ad7af67e3" providerId="ADAL" clId="{48B824AD-1B2A-47A8-8D92-6FE6E622A650}" dt="2024-12-16T16:05:49.273" v="77028"/>
          <ac:spMkLst>
            <pc:docMk/>
            <pc:sldMk cId="865606007" sldId="279"/>
            <ac:spMk id="93" creationId="{4F5C2568-7241-8191-A909-0CC2189AE33B}"/>
          </ac:spMkLst>
        </pc:spChg>
        <pc:spChg chg="add del mod">
          <ac:chgData name="Oğuz Öztekin" userId="33c0df0f-d5fe-4bda-8f43-141ad7af67e3" providerId="ADAL" clId="{48B824AD-1B2A-47A8-8D92-6FE6E622A650}" dt="2024-12-16T09:09:06.116" v="2941"/>
          <ac:spMkLst>
            <pc:docMk/>
            <pc:sldMk cId="865606007" sldId="279"/>
            <ac:spMk id="93" creationId="{A0B36119-612D-4E70-9A2C-C36D02D7AB31}"/>
          </ac:spMkLst>
        </pc:spChg>
        <pc:spChg chg="add del mod">
          <ac:chgData name="Oğuz Öztekin" userId="33c0df0f-d5fe-4bda-8f43-141ad7af67e3" providerId="ADAL" clId="{48B824AD-1B2A-47A8-8D92-6FE6E622A650}" dt="2024-12-16T09:09:06.117" v="2942"/>
          <ac:spMkLst>
            <pc:docMk/>
            <pc:sldMk cId="865606007" sldId="279"/>
            <ac:spMk id="94" creationId="{396A22CD-2CC4-02AB-3324-BA11B6533093}"/>
          </ac:spMkLst>
        </pc:spChg>
        <pc:spChg chg="add del mod modVis">
          <ac:chgData name="Oğuz Öztekin" userId="33c0df0f-d5fe-4bda-8f43-141ad7af67e3" providerId="ADAL" clId="{48B824AD-1B2A-47A8-8D92-6FE6E622A650}" dt="2024-12-16T16:05:58.872" v="77148"/>
          <ac:spMkLst>
            <pc:docMk/>
            <pc:sldMk cId="865606007" sldId="279"/>
            <ac:spMk id="94" creationId="{9194E8D0-D6C9-61AA-8C57-88778E51ACA8}"/>
          </ac:spMkLst>
        </pc:spChg>
        <pc:spChg chg="add del mod">
          <ac:chgData name="Oğuz Öztekin" userId="33c0df0f-d5fe-4bda-8f43-141ad7af67e3" providerId="ADAL" clId="{48B824AD-1B2A-47A8-8D92-6FE6E622A650}" dt="2024-12-16T09:09:06.118" v="2945"/>
          <ac:spMkLst>
            <pc:docMk/>
            <pc:sldMk cId="865606007" sldId="279"/>
            <ac:spMk id="95" creationId="{A2B8CA88-EF2D-7A78-8821-65558D6E513B}"/>
          </ac:spMkLst>
        </pc:spChg>
        <pc:spChg chg="add del mod">
          <ac:chgData name="Oğuz Öztekin" userId="33c0df0f-d5fe-4bda-8f43-141ad7af67e3" providerId="ADAL" clId="{48B824AD-1B2A-47A8-8D92-6FE6E622A650}" dt="2024-12-16T09:08:56.780" v="2689"/>
          <ac:spMkLst>
            <pc:docMk/>
            <pc:sldMk cId="865606007" sldId="279"/>
            <ac:spMk id="96" creationId="{0EEAADBD-CA0A-2FB5-A943-A83E92F0EB4C}"/>
          </ac:spMkLst>
        </pc:spChg>
        <pc:spChg chg="add del mod">
          <ac:chgData name="Oğuz Öztekin" userId="33c0df0f-d5fe-4bda-8f43-141ad7af67e3" providerId="ADAL" clId="{48B824AD-1B2A-47A8-8D92-6FE6E622A650}" dt="2024-12-16T09:08:56.790" v="2708"/>
          <ac:spMkLst>
            <pc:docMk/>
            <pc:sldMk cId="865606007" sldId="279"/>
            <ac:spMk id="97" creationId="{90317880-550A-B267-18D0-E634B6F4B562}"/>
          </ac:spMkLst>
        </pc:spChg>
        <pc:spChg chg="add del mod">
          <ac:chgData name="Oğuz Öztekin" userId="33c0df0f-d5fe-4bda-8f43-141ad7af67e3" providerId="ADAL" clId="{48B824AD-1B2A-47A8-8D92-6FE6E622A650}" dt="2024-12-16T09:08:56.792" v="2713"/>
          <ac:spMkLst>
            <pc:docMk/>
            <pc:sldMk cId="865606007" sldId="279"/>
            <ac:spMk id="98" creationId="{E8D6F0D2-865B-D370-3593-0F0637463103}"/>
          </ac:spMkLst>
        </pc:spChg>
        <pc:spChg chg="add del mod">
          <ac:chgData name="Oğuz Öztekin" userId="33c0df0f-d5fe-4bda-8f43-141ad7af67e3" providerId="ADAL" clId="{48B824AD-1B2A-47A8-8D92-6FE6E622A650}" dt="2024-12-16T09:08:56.795" v="2718"/>
          <ac:spMkLst>
            <pc:docMk/>
            <pc:sldMk cId="865606007" sldId="279"/>
            <ac:spMk id="99" creationId="{6DA41782-3513-E10B-79C2-F3C086A92263}"/>
          </ac:spMkLst>
        </pc:spChg>
        <pc:spChg chg="add del mod">
          <ac:chgData name="Oğuz Öztekin" userId="33c0df0f-d5fe-4bda-8f43-141ad7af67e3" providerId="ADAL" clId="{48B824AD-1B2A-47A8-8D92-6FE6E622A650}" dt="2024-12-16T09:08:56.804" v="2737"/>
          <ac:spMkLst>
            <pc:docMk/>
            <pc:sldMk cId="865606007" sldId="279"/>
            <ac:spMk id="100" creationId="{59776D1D-22F2-3C29-41B9-9188A15AD36E}"/>
          </ac:spMkLst>
        </pc:spChg>
        <pc:spChg chg="add del mod">
          <ac:chgData name="Oğuz Öztekin" userId="33c0df0f-d5fe-4bda-8f43-141ad7af67e3" providerId="ADAL" clId="{48B824AD-1B2A-47A8-8D92-6FE6E622A650}" dt="2024-12-16T09:08:56.806" v="2742"/>
          <ac:spMkLst>
            <pc:docMk/>
            <pc:sldMk cId="865606007" sldId="279"/>
            <ac:spMk id="101" creationId="{50274E4C-DA1A-61A4-4F32-7C3472320E1E}"/>
          </ac:spMkLst>
        </pc:spChg>
        <pc:spChg chg="add del mod">
          <ac:chgData name="Oğuz Öztekin" userId="33c0df0f-d5fe-4bda-8f43-141ad7af67e3" providerId="ADAL" clId="{48B824AD-1B2A-47A8-8D92-6FE6E622A650}" dt="2024-12-16T09:08:56.808" v="2747"/>
          <ac:spMkLst>
            <pc:docMk/>
            <pc:sldMk cId="865606007" sldId="279"/>
            <ac:spMk id="102" creationId="{7C7099A0-4F2B-96D5-B40A-088E0334F3E1}"/>
          </ac:spMkLst>
        </pc:spChg>
        <pc:spChg chg="add del mod">
          <ac:chgData name="Oğuz Öztekin" userId="33c0df0f-d5fe-4bda-8f43-141ad7af67e3" providerId="ADAL" clId="{48B824AD-1B2A-47A8-8D92-6FE6E622A650}" dt="2024-12-16T09:08:56.817" v="2766"/>
          <ac:spMkLst>
            <pc:docMk/>
            <pc:sldMk cId="865606007" sldId="279"/>
            <ac:spMk id="103" creationId="{A2BC3D39-3DF8-FA3B-3D8F-B65BD6273E85}"/>
          </ac:spMkLst>
        </pc:spChg>
        <pc:spChg chg="add del mod">
          <ac:chgData name="Oğuz Öztekin" userId="33c0df0f-d5fe-4bda-8f43-141ad7af67e3" providerId="ADAL" clId="{48B824AD-1B2A-47A8-8D92-6FE6E622A650}" dt="2024-12-16T09:08:56.820" v="2771"/>
          <ac:spMkLst>
            <pc:docMk/>
            <pc:sldMk cId="865606007" sldId="279"/>
            <ac:spMk id="104" creationId="{0C9FD4B9-5396-6DDF-0E9F-0EC36FE716CB}"/>
          </ac:spMkLst>
        </pc:spChg>
        <pc:spChg chg="add del mod">
          <ac:chgData name="Oğuz Öztekin" userId="33c0df0f-d5fe-4bda-8f43-141ad7af67e3" providerId="ADAL" clId="{48B824AD-1B2A-47A8-8D92-6FE6E622A650}" dt="2024-12-16T09:08:56.822" v="2776"/>
          <ac:spMkLst>
            <pc:docMk/>
            <pc:sldMk cId="865606007" sldId="279"/>
            <ac:spMk id="105" creationId="{3BFAE1F2-3EC7-8E44-B644-619066250AD5}"/>
          </ac:spMkLst>
        </pc:spChg>
        <pc:spChg chg="add del mod modVis">
          <ac:chgData name="Oğuz Öztekin" userId="33c0df0f-d5fe-4bda-8f43-141ad7af67e3" providerId="ADAL" clId="{48B824AD-1B2A-47A8-8D92-6FE6E622A650}" dt="2024-12-16T09:08:56.910" v="2938"/>
          <ac:spMkLst>
            <pc:docMk/>
            <pc:sldMk cId="865606007" sldId="279"/>
            <ac:spMk id="106" creationId="{DBCA0BB9-046D-2A97-2E34-B36FE4C5D2D6}"/>
          </ac:spMkLst>
        </pc:spChg>
        <pc:spChg chg="add del mod ord">
          <ac:chgData name="Oğuz Öztekin" userId="33c0df0f-d5fe-4bda-8f43-141ad7af67e3" providerId="ADAL" clId="{48B824AD-1B2A-47A8-8D92-6FE6E622A650}" dt="2024-12-16T09:09:18.003" v="3469"/>
          <ac:spMkLst>
            <pc:docMk/>
            <pc:sldMk cId="865606007" sldId="279"/>
            <ac:spMk id="107" creationId="{C1D34926-005C-D940-00DB-374228F409C9}"/>
          </ac:spMkLst>
        </pc:spChg>
        <pc:spChg chg="add del mod ord">
          <ac:chgData name="Oğuz Öztekin" userId="33c0df0f-d5fe-4bda-8f43-141ad7af67e3" providerId="ADAL" clId="{48B824AD-1B2A-47A8-8D92-6FE6E622A650}" dt="2024-12-16T09:09:18.004" v="3471"/>
          <ac:spMkLst>
            <pc:docMk/>
            <pc:sldMk cId="865606007" sldId="279"/>
            <ac:spMk id="108" creationId="{63407FE9-4A30-45C9-4D1B-E6E2FAD9DD81}"/>
          </ac:spMkLst>
        </pc:spChg>
        <pc:spChg chg="add del mod ord">
          <ac:chgData name="Oğuz Öztekin" userId="33c0df0f-d5fe-4bda-8f43-141ad7af67e3" providerId="ADAL" clId="{48B824AD-1B2A-47A8-8D92-6FE6E622A650}" dt="2024-12-16T09:09:18.005" v="3475"/>
          <ac:spMkLst>
            <pc:docMk/>
            <pc:sldMk cId="865606007" sldId="279"/>
            <ac:spMk id="109" creationId="{2D9CC1F3-B633-CF74-2C50-C1B780C57F23}"/>
          </ac:spMkLst>
        </pc:spChg>
        <pc:spChg chg="add del mod ord">
          <ac:chgData name="Oğuz Öztekin" userId="33c0df0f-d5fe-4bda-8f43-141ad7af67e3" providerId="ADAL" clId="{48B824AD-1B2A-47A8-8D92-6FE6E622A650}" dt="2024-12-16T09:09:18.005" v="3477"/>
          <ac:spMkLst>
            <pc:docMk/>
            <pc:sldMk cId="865606007" sldId="279"/>
            <ac:spMk id="110" creationId="{4C5DEC53-A0A5-F307-CA15-5B0DCF5F1004}"/>
          </ac:spMkLst>
        </pc:spChg>
        <pc:spChg chg="add del mod ord">
          <ac:chgData name="Oğuz Öztekin" userId="33c0df0f-d5fe-4bda-8f43-141ad7af67e3" providerId="ADAL" clId="{48B824AD-1B2A-47A8-8D92-6FE6E622A650}" dt="2024-12-16T09:09:18.006" v="3479"/>
          <ac:spMkLst>
            <pc:docMk/>
            <pc:sldMk cId="865606007" sldId="279"/>
            <ac:spMk id="111" creationId="{83C28FFD-6DFA-E73F-58D7-EF9B754ED7FA}"/>
          </ac:spMkLst>
        </pc:spChg>
        <pc:spChg chg="add del mod ord">
          <ac:chgData name="Oğuz Öztekin" userId="33c0df0f-d5fe-4bda-8f43-141ad7af67e3" providerId="ADAL" clId="{48B824AD-1B2A-47A8-8D92-6FE6E622A650}" dt="2024-12-16T09:09:18.006" v="3481"/>
          <ac:spMkLst>
            <pc:docMk/>
            <pc:sldMk cId="865606007" sldId="279"/>
            <ac:spMk id="112" creationId="{89EE0815-5F8C-68CD-42AE-3B1861D06422}"/>
          </ac:spMkLst>
        </pc:spChg>
        <pc:spChg chg="add del mod ord">
          <ac:chgData name="Oğuz Öztekin" userId="33c0df0f-d5fe-4bda-8f43-141ad7af67e3" providerId="ADAL" clId="{48B824AD-1B2A-47A8-8D92-6FE6E622A650}" dt="2024-12-16T09:09:18.007" v="3483"/>
          <ac:spMkLst>
            <pc:docMk/>
            <pc:sldMk cId="865606007" sldId="279"/>
            <ac:spMk id="113" creationId="{E85A4160-5971-FBB7-566C-102C8C3107E0}"/>
          </ac:spMkLst>
        </pc:spChg>
        <pc:spChg chg="add del mod ord">
          <ac:chgData name="Oğuz Öztekin" userId="33c0df0f-d5fe-4bda-8f43-141ad7af67e3" providerId="ADAL" clId="{48B824AD-1B2A-47A8-8D92-6FE6E622A650}" dt="2024-12-16T09:09:18.007" v="3485"/>
          <ac:spMkLst>
            <pc:docMk/>
            <pc:sldMk cId="865606007" sldId="279"/>
            <ac:spMk id="114" creationId="{C6C563F6-8862-6B18-C4C8-D68DCCD5918D}"/>
          </ac:spMkLst>
        </pc:spChg>
        <pc:spChg chg="add del mod ord">
          <ac:chgData name="Oğuz Öztekin" userId="33c0df0f-d5fe-4bda-8f43-141ad7af67e3" providerId="ADAL" clId="{48B824AD-1B2A-47A8-8D92-6FE6E622A650}" dt="2024-12-16T09:09:18.008" v="3487"/>
          <ac:spMkLst>
            <pc:docMk/>
            <pc:sldMk cId="865606007" sldId="279"/>
            <ac:spMk id="115" creationId="{C4411C2B-0A55-9424-EB74-0643438AC656}"/>
          </ac:spMkLst>
        </pc:spChg>
        <pc:spChg chg="add del mod modVis">
          <ac:chgData name="Oğuz Öztekin" userId="33c0df0f-d5fe-4bda-8f43-141ad7af67e3" providerId="ADAL" clId="{48B824AD-1B2A-47A8-8D92-6FE6E622A650}" dt="2024-12-16T09:09:06.509" v="3465"/>
          <ac:spMkLst>
            <pc:docMk/>
            <pc:sldMk cId="865606007" sldId="279"/>
            <ac:spMk id="128" creationId="{252C1011-10BF-32AC-81D2-9FFF20EE1B55}"/>
          </ac:spMkLst>
        </pc:spChg>
        <pc:spChg chg="add del mod modVis">
          <ac:chgData name="Oğuz Öztekin" userId="33c0df0f-d5fe-4bda-8f43-141ad7af67e3" providerId="ADAL" clId="{48B824AD-1B2A-47A8-8D92-6FE6E622A650}" dt="2024-12-16T09:09:18.159" v="3704"/>
          <ac:spMkLst>
            <pc:docMk/>
            <pc:sldMk cId="865606007" sldId="279"/>
            <ac:spMk id="130" creationId="{379C7889-7102-8C6D-984D-E4CE838787AE}"/>
          </ac:spMkLst>
        </pc:spChg>
        <pc:spChg chg="add del mod modVis">
          <ac:chgData name="Oğuz Öztekin" userId="33c0df0f-d5fe-4bda-8f43-141ad7af67e3" providerId="ADAL" clId="{48B824AD-1B2A-47A8-8D92-6FE6E622A650}" dt="2024-12-16T09:09:37.280" v="3825"/>
          <ac:spMkLst>
            <pc:docMk/>
            <pc:sldMk cId="865606007" sldId="279"/>
            <ac:spMk id="132" creationId="{0403AD3B-028A-DF34-AEDF-7AAFF3206DB7}"/>
          </ac:spMkLst>
        </pc:spChg>
        <pc:spChg chg="add del mod">
          <ac:chgData name="Oğuz Öztekin" userId="33c0df0f-d5fe-4bda-8f43-141ad7af67e3" providerId="ADAL" clId="{48B824AD-1B2A-47A8-8D92-6FE6E622A650}" dt="2024-12-16T09:10:17.958" v="5637"/>
          <ac:spMkLst>
            <pc:docMk/>
            <pc:sldMk cId="865606007" sldId="279"/>
            <ac:spMk id="134" creationId="{C8E2BACD-6EC3-DFB8-432B-906FBB597538}"/>
          </ac:spMkLst>
        </pc:spChg>
        <pc:spChg chg="add del mod">
          <ac:chgData name="Oğuz Öztekin" userId="33c0df0f-d5fe-4bda-8f43-141ad7af67e3" providerId="ADAL" clId="{48B824AD-1B2A-47A8-8D92-6FE6E622A650}" dt="2024-12-16T09:10:17.960" v="5640"/>
          <ac:spMkLst>
            <pc:docMk/>
            <pc:sldMk cId="865606007" sldId="279"/>
            <ac:spMk id="135" creationId="{25464700-07AD-DADF-DBAD-548290485229}"/>
          </ac:spMkLst>
        </pc:spChg>
        <pc:spChg chg="add del mod">
          <ac:chgData name="Oğuz Öztekin" userId="33c0df0f-d5fe-4bda-8f43-141ad7af67e3" providerId="ADAL" clId="{48B824AD-1B2A-47A8-8D92-6FE6E622A650}" dt="2024-12-16T09:10:17.962" v="5643"/>
          <ac:spMkLst>
            <pc:docMk/>
            <pc:sldMk cId="865606007" sldId="279"/>
            <ac:spMk id="136" creationId="{2718E8B6-049B-A746-5977-DB9409DB6823}"/>
          </ac:spMkLst>
        </pc:spChg>
        <pc:spChg chg="add del mod">
          <ac:chgData name="Oğuz Öztekin" userId="33c0df0f-d5fe-4bda-8f43-141ad7af67e3" providerId="ADAL" clId="{48B824AD-1B2A-47A8-8D92-6FE6E622A650}" dt="2024-12-16T09:10:17.963" v="5646"/>
          <ac:spMkLst>
            <pc:docMk/>
            <pc:sldMk cId="865606007" sldId="279"/>
            <ac:spMk id="137" creationId="{7FF0BFC4-02C5-1676-0EB2-55735E2E0BEF}"/>
          </ac:spMkLst>
        </pc:spChg>
        <pc:spChg chg="add del mod">
          <ac:chgData name="Oğuz Öztekin" userId="33c0df0f-d5fe-4bda-8f43-141ad7af67e3" providerId="ADAL" clId="{48B824AD-1B2A-47A8-8D92-6FE6E622A650}" dt="2024-12-16T09:10:17.965" v="5649"/>
          <ac:spMkLst>
            <pc:docMk/>
            <pc:sldMk cId="865606007" sldId="279"/>
            <ac:spMk id="138" creationId="{747E3264-62F6-DB08-EFEB-3CAC027158C4}"/>
          </ac:spMkLst>
        </pc:spChg>
        <pc:spChg chg="add del mod">
          <ac:chgData name="Oğuz Öztekin" userId="33c0df0f-d5fe-4bda-8f43-141ad7af67e3" providerId="ADAL" clId="{48B824AD-1B2A-47A8-8D92-6FE6E622A650}" dt="2024-12-16T09:10:17.967" v="5652"/>
          <ac:spMkLst>
            <pc:docMk/>
            <pc:sldMk cId="865606007" sldId="279"/>
            <ac:spMk id="139" creationId="{ACEEF6DE-88A8-1B9D-375F-5ED6046F8458}"/>
          </ac:spMkLst>
        </pc:spChg>
        <pc:spChg chg="add del mod">
          <ac:chgData name="Oğuz Öztekin" userId="33c0df0f-d5fe-4bda-8f43-141ad7af67e3" providerId="ADAL" clId="{48B824AD-1B2A-47A8-8D92-6FE6E622A650}" dt="2024-12-16T09:10:17.968" v="5655"/>
          <ac:spMkLst>
            <pc:docMk/>
            <pc:sldMk cId="865606007" sldId="279"/>
            <ac:spMk id="140" creationId="{E7093019-A2E7-160C-AA27-0392BB17FE66}"/>
          </ac:spMkLst>
        </pc:spChg>
        <pc:spChg chg="add del mod modVis">
          <ac:chgData name="Oğuz Öztekin" userId="33c0df0f-d5fe-4bda-8f43-141ad7af67e3" providerId="ADAL" clId="{48B824AD-1B2A-47A8-8D92-6FE6E622A650}" dt="2024-12-16T09:09:45.178" v="4291"/>
          <ac:spMkLst>
            <pc:docMk/>
            <pc:sldMk cId="865606007" sldId="279"/>
            <ac:spMk id="141" creationId="{47E806E7-140C-22B4-146F-956FFA28C69E}"/>
          </ac:spMkLst>
        </pc:spChg>
        <pc:spChg chg="add del mod ord">
          <ac:chgData name="Oğuz Öztekin" userId="33c0df0f-d5fe-4bda-8f43-141ad7af67e3" providerId="ADAL" clId="{48B824AD-1B2A-47A8-8D92-6FE6E622A650}" dt="2024-12-16T09:10:15.467" v="5398"/>
          <ac:spMkLst>
            <pc:docMk/>
            <pc:sldMk cId="865606007" sldId="279"/>
            <ac:spMk id="142" creationId="{4CBB4C38-B9BF-BFFF-0335-4C596EFABED2}"/>
          </ac:spMkLst>
        </pc:spChg>
        <pc:spChg chg="add del mod">
          <ac:chgData name="Oğuz Öztekin" userId="33c0df0f-d5fe-4bda-8f43-141ad7af67e3" providerId="ADAL" clId="{48B824AD-1B2A-47A8-8D92-6FE6E622A650}" dt="2024-12-16T09:10:17.958" v="5636"/>
          <ac:spMkLst>
            <pc:docMk/>
            <pc:sldMk cId="865606007" sldId="279"/>
            <ac:spMk id="144" creationId="{00D96561-CB9E-741F-2BF5-3E59CA19C627}"/>
          </ac:spMkLst>
        </pc:spChg>
        <pc:spChg chg="add del mod">
          <ac:chgData name="Oğuz Öztekin" userId="33c0df0f-d5fe-4bda-8f43-141ad7af67e3" providerId="ADAL" clId="{48B824AD-1B2A-47A8-8D92-6FE6E622A650}" dt="2024-12-16T09:10:17.960" v="5639"/>
          <ac:spMkLst>
            <pc:docMk/>
            <pc:sldMk cId="865606007" sldId="279"/>
            <ac:spMk id="145" creationId="{93414964-4C5D-135B-026B-3104A42541B9}"/>
          </ac:spMkLst>
        </pc:spChg>
        <pc:spChg chg="add del mod">
          <ac:chgData name="Oğuz Öztekin" userId="33c0df0f-d5fe-4bda-8f43-141ad7af67e3" providerId="ADAL" clId="{48B824AD-1B2A-47A8-8D92-6FE6E622A650}" dt="2024-12-16T09:10:17.961" v="5642"/>
          <ac:spMkLst>
            <pc:docMk/>
            <pc:sldMk cId="865606007" sldId="279"/>
            <ac:spMk id="146" creationId="{0D2A77C9-906C-986E-081F-9657E598890F}"/>
          </ac:spMkLst>
        </pc:spChg>
        <pc:spChg chg="add del mod">
          <ac:chgData name="Oğuz Öztekin" userId="33c0df0f-d5fe-4bda-8f43-141ad7af67e3" providerId="ADAL" clId="{48B824AD-1B2A-47A8-8D92-6FE6E622A650}" dt="2024-12-16T09:10:17.963" v="5645"/>
          <ac:spMkLst>
            <pc:docMk/>
            <pc:sldMk cId="865606007" sldId="279"/>
            <ac:spMk id="147" creationId="{B495C91A-6094-C340-77C1-47682C5E99AD}"/>
          </ac:spMkLst>
        </pc:spChg>
        <pc:spChg chg="add del mod">
          <ac:chgData name="Oğuz Öztekin" userId="33c0df0f-d5fe-4bda-8f43-141ad7af67e3" providerId="ADAL" clId="{48B824AD-1B2A-47A8-8D92-6FE6E622A650}" dt="2024-12-16T09:10:17.965" v="5648"/>
          <ac:spMkLst>
            <pc:docMk/>
            <pc:sldMk cId="865606007" sldId="279"/>
            <ac:spMk id="148" creationId="{D6E8BCCA-5E73-C54D-DC58-588EEE291790}"/>
          </ac:spMkLst>
        </pc:spChg>
        <pc:spChg chg="add del mod">
          <ac:chgData name="Oğuz Öztekin" userId="33c0df0f-d5fe-4bda-8f43-141ad7af67e3" providerId="ADAL" clId="{48B824AD-1B2A-47A8-8D92-6FE6E622A650}" dt="2024-12-16T09:10:17.966" v="5651"/>
          <ac:spMkLst>
            <pc:docMk/>
            <pc:sldMk cId="865606007" sldId="279"/>
            <ac:spMk id="149" creationId="{4334328C-9D1F-9E06-A5BC-BC0B70F14520}"/>
          </ac:spMkLst>
        </pc:spChg>
        <pc:spChg chg="add del mod">
          <ac:chgData name="Oğuz Öztekin" userId="33c0df0f-d5fe-4bda-8f43-141ad7af67e3" providerId="ADAL" clId="{48B824AD-1B2A-47A8-8D92-6FE6E622A650}" dt="2024-12-16T09:10:17.968" v="5654"/>
          <ac:spMkLst>
            <pc:docMk/>
            <pc:sldMk cId="865606007" sldId="279"/>
            <ac:spMk id="150" creationId="{D5165FAD-ECA9-1CAA-C737-2683BB0B7382}"/>
          </ac:spMkLst>
        </pc:spChg>
        <pc:spChg chg="add del mod">
          <ac:chgData name="Oğuz Öztekin" userId="33c0df0f-d5fe-4bda-8f43-141ad7af67e3" providerId="ADAL" clId="{48B824AD-1B2A-47A8-8D92-6FE6E622A650}" dt="2024-12-16T09:10:17.970" v="5658"/>
          <ac:spMkLst>
            <pc:docMk/>
            <pc:sldMk cId="865606007" sldId="279"/>
            <ac:spMk id="151" creationId="{F742688A-F7DF-A0F6-D969-84F41559FE5C}"/>
          </ac:spMkLst>
        </pc:spChg>
        <pc:spChg chg="add del mod">
          <ac:chgData name="Oğuz Öztekin" userId="33c0df0f-d5fe-4bda-8f43-141ad7af67e3" providerId="ADAL" clId="{48B824AD-1B2A-47A8-8D92-6FE6E622A650}" dt="2024-12-16T09:10:17.971" v="5661"/>
          <ac:spMkLst>
            <pc:docMk/>
            <pc:sldMk cId="865606007" sldId="279"/>
            <ac:spMk id="152" creationId="{7E6640FC-5170-B0A2-F003-0F02F50087E5}"/>
          </ac:spMkLst>
        </pc:spChg>
        <pc:spChg chg="add del mod">
          <ac:chgData name="Oğuz Öztekin" userId="33c0df0f-d5fe-4bda-8f43-141ad7af67e3" providerId="ADAL" clId="{48B824AD-1B2A-47A8-8D92-6FE6E622A650}" dt="2024-12-16T09:10:17.973" v="5664"/>
          <ac:spMkLst>
            <pc:docMk/>
            <pc:sldMk cId="865606007" sldId="279"/>
            <ac:spMk id="153" creationId="{112CE0CC-A6BC-3AB7-CD6B-4A4E197E6E5C}"/>
          </ac:spMkLst>
        </pc:spChg>
        <pc:spChg chg="add del mod">
          <ac:chgData name="Oğuz Öztekin" userId="33c0df0f-d5fe-4bda-8f43-141ad7af67e3" providerId="ADAL" clId="{48B824AD-1B2A-47A8-8D92-6FE6E622A650}" dt="2024-12-16T09:10:17.974" v="5667"/>
          <ac:spMkLst>
            <pc:docMk/>
            <pc:sldMk cId="865606007" sldId="279"/>
            <ac:spMk id="154" creationId="{17CC0339-1A9B-A26A-341F-513D442FFCA3}"/>
          </ac:spMkLst>
        </pc:spChg>
        <pc:spChg chg="add del mod">
          <ac:chgData name="Oğuz Öztekin" userId="33c0df0f-d5fe-4bda-8f43-141ad7af67e3" providerId="ADAL" clId="{48B824AD-1B2A-47A8-8D92-6FE6E622A650}" dt="2024-12-16T09:10:17.976" v="5670"/>
          <ac:spMkLst>
            <pc:docMk/>
            <pc:sldMk cId="865606007" sldId="279"/>
            <ac:spMk id="155" creationId="{9076746C-DD66-D3DB-7F96-466430B606BE}"/>
          </ac:spMkLst>
        </pc:spChg>
        <pc:spChg chg="add del mod">
          <ac:chgData name="Oğuz Öztekin" userId="33c0df0f-d5fe-4bda-8f43-141ad7af67e3" providerId="ADAL" clId="{48B824AD-1B2A-47A8-8D92-6FE6E622A650}" dt="2024-12-16T09:10:17.977" v="5673"/>
          <ac:spMkLst>
            <pc:docMk/>
            <pc:sldMk cId="865606007" sldId="279"/>
            <ac:spMk id="156" creationId="{B7AEDFE0-002B-9AED-3E06-95E1872710BF}"/>
          </ac:spMkLst>
        </pc:spChg>
        <pc:spChg chg="add del mod">
          <ac:chgData name="Oğuz Öztekin" userId="33c0df0f-d5fe-4bda-8f43-141ad7af67e3" providerId="ADAL" clId="{48B824AD-1B2A-47A8-8D92-6FE6E622A650}" dt="2024-12-16T09:10:17.980" v="5676"/>
          <ac:spMkLst>
            <pc:docMk/>
            <pc:sldMk cId="865606007" sldId="279"/>
            <ac:spMk id="157" creationId="{5F147A80-E4D4-D579-03B5-BC2F574FDB2C}"/>
          </ac:spMkLst>
        </pc:spChg>
        <pc:spChg chg="add del mod">
          <ac:chgData name="Oğuz Öztekin" userId="33c0df0f-d5fe-4bda-8f43-141ad7af67e3" providerId="ADAL" clId="{48B824AD-1B2A-47A8-8D92-6FE6E622A650}" dt="2024-12-16T09:10:17.981" v="5679"/>
          <ac:spMkLst>
            <pc:docMk/>
            <pc:sldMk cId="865606007" sldId="279"/>
            <ac:spMk id="158" creationId="{86F39C22-04DB-1AC8-B453-F287A56C205A}"/>
          </ac:spMkLst>
        </pc:spChg>
        <pc:spChg chg="add del mod">
          <ac:chgData name="Oğuz Öztekin" userId="33c0df0f-d5fe-4bda-8f43-141ad7af67e3" providerId="ADAL" clId="{48B824AD-1B2A-47A8-8D92-6FE6E622A650}" dt="2024-12-16T09:10:17.983" v="5682"/>
          <ac:spMkLst>
            <pc:docMk/>
            <pc:sldMk cId="865606007" sldId="279"/>
            <ac:spMk id="159" creationId="{A5BB7CF3-B4A2-B4F1-BEBC-03FBE5CA182B}"/>
          </ac:spMkLst>
        </pc:spChg>
        <pc:spChg chg="add del mod">
          <ac:chgData name="Oğuz Öztekin" userId="33c0df0f-d5fe-4bda-8f43-141ad7af67e3" providerId="ADAL" clId="{48B824AD-1B2A-47A8-8D92-6FE6E622A650}" dt="2024-12-16T09:10:17.984" v="5685"/>
          <ac:spMkLst>
            <pc:docMk/>
            <pc:sldMk cId="865606007" sldId="279"/>
            <ac:spMk id="160" creationId="{A02C5C12-9B91-2ADD-F989-20959A556FD9}"/>
          </ac:spMkLst>
        </pc:spChg>
        <pc:spChg chg="add del mod modVis">
          <ac:chgData name="Oğuz Öztekin" userId="33c0df0f-d5fe-4bda-8f43-141ad7af67e3" providerId="ADAL" clId="{48B824AD-1B2A-47A8-8D92-6FE6E622A650}" dt="2024-12-16T16:07:26.392" v="79245"/>
          <ac:spMkLst>
            <pc:docMk/>
            <pc:sldMk cId="865606007" sldId="279"/>
            <ac:spMk id="160" creationId="{B0784FCC-8410-6E3B-2418-8E7B854C6D26}"/>
          </ac:spMkLst>
        </pc:spChg>
        <pc:spChg chg="add del mod">
          <ac:chgData name="Oğuz Öztekin" userId="33c0df0f-d5fe-4bda-8f43-141ad7af67e3" providerId="ADAL" clId="{48B824AD-1B2A-47A8-8D92-6FE6E622A650}" dt="2024-12-16T09:10:17.986" v="5688"/>
          <ac:spMkLst>
            <pc:docMk/>
            <pc:sldMk cId="865606007" sldId="279"/>
            <ac:spMk id="161" creationId="{A3F651A5-4E74-B0F0-2118-0973722BB781}"/>
          </ac:spMkLst>
        </pc:spChg>
        <pc:spChg chg="add del mod modVis">
          <ac:chgData name="Oğuz Öztekin" userId="33c0df0f-d5fe-4bda-8f43-141ad7af67e3" providerId="ADAL" clId="{48B824AD-1B2A-47A8-8D92-6FE6E622A650}" dt="2024-12-16T16:07:26.999" v="79367"/>
          <ac:spMkLst>
            <pc:docMk/>
            <pc:sldMk cId="865606007" sldId="279"/>
            <ac:spMk id="162" creationId="{4F720D58-4EB7-9288-B3E9-E75E9987F117}"/>
          </ac:spMkLst>
        </pc:spChg>
        <pc:spChg chg="add del mod">
          <ac:chgData name="Oğuz Öztekin" userId="33c0df0f-d5fe-4bda-8f43-141ad7af67e3" providerId="ADAL" clId="{48B824AD-1B2A-47A8-8D92-6FE6E622A650}" dt="2024-12-16T09:10:17.987" v="5691"/>
          <ac:spMkLst>
            <pc:docMk/>
            <pc:sldMk cId="865606007" sldId="279"/>
            <ac:spMk id="162" creationId="{8D6D0347-4DF2-A922-ED83-EBEE18E4D11D}"/>
          </ac:spMkLst>
        </pc:spChg>
        <pc:spChg chg="add del mod">
          <ac:chgData name="Oğuz Öztekin" userId="33c0df0f-d5fe-4bda-8f43-141ad7af67e3" providerId="ADAL" clId="{48B824AD-1B2A-47A8-8D92-6FE6E622A650}" dt="2024-12-16T09:10:17.988" v="5694"/>
          <ac:spMkLst>
            <pc:docMk/>
            <pc:sldMk cId="865606007" sldId="279"/>
            <ac:spMk id="163" creationId="{9E327E7F-7E77-DBF0-72AD-45AD28764A69}"/>
          </ac:spMkLst>
        </pc:spChg>
        <pc:spChg chg="add del mod modVis">
          <ac:chgData name="Oğuz Öztekin" userId="33c0df0f-d5fe-4bda-8f43-141ad7af67e3" providerId="ADAL" clId="{48B824AD-1B2A-47A8-8D92-6FE6E622A650}" dt="2024-12-16T09:09:57.206" v="4983"/>
          <ac:spMkLst>
            <pc:docMk/>
            <pc:sldMk cId="865606007" sldId="279"/>
            <ac:spMk id="164" creationId="{1CE2FEAF-77EA-C206-A3ED-7AB397572043}"/>
          </ac:spMkLst>
        </pc:spChg>
        <pc:spChg chg="add del mod modVis">
          <ac:chgData name="Oğuz Öztekin" userId="33c0df0f-d5fe-4bda-8f43-141ad7af67e3" providerId="ADAL" clId="{48B824AD-1B2A-47A8-8D92-6FE6E622A650}" dt="2024-12-16T16:07:28.119" v="79491"/>
          <ac:spMkLst>
            <pc:docMk/>
            <pc:sldMk cId="865606007" sldId="279"/>
            <ac:spMk id="164" creationId="{6A75EC6D-D236-068B-0E84-BDCF11DBA5EC}"/>
          </ac:spMkLst>
        </pc:spChg>
        <pc:spChg chg="add del mod ord">
          <ac:chgData name="Oğuz Öztekin" userId="33c0df0f-d5fe-4bda-8f43-141ad7af67e3" providerId="ADAL" clId="{48B824AD-1B2A-47A8-8D92-6FE6E622A650}" dt="2024-12-16T09:10:15.470" v="5400"/>
          <ac:spMkLst>
            <pc:docMk/>
            <pc:sldMk cId="865606007" sldId="279"/>
            <ac:spMk id="165" creationId="{972AF1A5-AF26-A743-0FC3-4AF25B1E79B6}"/>
          </ac:spMkLst>
        </pc:spChg>
        <pc:spChg chg="add del mod modVis">
          <ac:chgData name="Oğuz Öztekin" userId="33c0df0f-d5fe-4bda-8f43-141ad7af67e3" providerId="ADAL" clId="{48B824AD-1B2A-47A8-8D92-6FE6E622A650}" dt="2024-12-16T16:07:34.976" v="79612"/>
          <ac:spMkLst>
            <pc:docMk/>
            <pc:sldMk cId="865606007" sldId="279"/>
            <ac:spMk id="166" creationId="{8C241180-4096-B15D-3EFC-380849D9D3ED}"/>
          </ac:spMkLst>
        </pc:spChg>
        <pc:spChg chg="add del mod">
          <ac:chgData name="Oğuz Öztekin" userId="33c0df0f-d5fe-4bda-8f43-141ad7af67e3" providerId="ADAL" clId="{48B824AD-1B2A-47A8-8D92-6FE6E622A650}" dt="2024-12-16T09:10:17.969" v="5657"/>
          <ac:spMkLst>
            <pc:docMk/>
            <pc:sldMk cId="865606007" sldId="279"/>
            <ac:spMk id="167" creationId="{F58F64B1-2FE1-C362-42D9-52F83E4AE69A}"/>
          </ac:spMkLst>
        </pc:spChg>
        <pc:spChg chg="add del mod modVis">
          <ac:chgData name="Oğuz Öztekin" userId="33c0df0f-d5fe-4bda-8f43-141ad7af67e3" providerId="ADAL" clId="{48B824AD-1B2A-47A8-8D92-6FE6E622A650}" dt="2024-12-16T16:07:35.816" v="79735"/>
          <ac:spMkLst>
            <pc:docMk/>
            <pc:sldMk cId="865606007" sldId="279"/>
            <ac:spMk id="168" creationId="{941C3C21-7FBF-DE22-BCBE-9D9FFE57D227}"/>
          </ac:spMkLst>
        </pc:spChg>
        <pc:spChg chg="add del mod">
          <ac:chgData name="Oğuz Öztekin" userId="33c0df0f-d5fe-4bda-8f43-141ad7af67e3" providerId="ADAL" clId="{48B824AD-1B2A-47A8-8D92-6FE6E622A650}" dt="2024-12-16T09:10:17.971" v="5660"/>
          <ac:spMkLst>
            <pc:docMk/>
            <pc:sldMk cId="865606007" sldId="279"/>
            <ac:spMk id="168" creationId="{A2F9BA80-CA36-F0CB-E752-C1BCE663FA4B}"/>
          </ac:spMkLst>
        </pc:spChg>
        <pc:spChg chg="add del mod">
          <ac:chgData name="Oğuz Öztekin" userId="33c0df0f-d5fe-4bda-8f43-141ad7af67e3" providerId="ADAL" clId="{48B824AD-1B2A-47A8-8D92-6FE6E622A650}" dt="2024-12-16T09:10:17.973" v="5663"/>
          <ac:spMkLst>
            <pc:docMk/>
            <pc:sldMk cId="865606007" sldId="279"/>
            <ac:spMk id="169" creationId="{3AAE3591-6F38-4DB3-24A8-EF20E2167BB8}"/>
          </ac:spMkLst>
        </pc:spChg>
        <pc:spChg chg="add del mod modVis">
          <ac:chgData name="Oğuz Öztekin" userId="33c0df0f-d5fe-4bda-8f43-141ad7af67e3" providerId="ADAL" clId="{48B824AD-1B2A-47A8-8D92-6FE6E622A650}" dt="2024-12-16T16:07:38.501" v="79864"/>
          <ac:spMkLst>
            <pc:docMk/>
            <pc:sldMk cId="865606007" sldId="279"/>
            <ac:spMk id="170" creationId="{10B9BB95-9B13-FDA2-47A8-8F80759AF308}"/>
          </ac:spMkLst>
        </pc:spChg>
        <pc:spChg chg="add del mod">
          <ac:chgData name="Oğuz Öztekin" userId="33c0df0f-d5fe-4bda-8f43-141ad7af67e3" providerId="ADAL" clId="{48B824AD-1B2A-47A8-8D92-6FE6E622A650}" dt="2024-12-16T09:10:17.974" v="5666"/>
          <ac:spMkLst>
            <pc:docMk/>
            <pc:sldMk cId="865606007" sldId="279"/>
            <ac:spMk id="170" creationId="{B3D4BB76-0B9A-0A60-0F07-B40BE1CA364B}"/>
          </ac:spMkLst>
        </pc:spChg>
        <pc:spChg chg="add del mod">
          <ac:chgData name="Oğuz Öztekin" userId="33c0df0f-d5fe-4bda-8f43-141ad7af67e3" providerId="ADAL" clId="{48B824AD-1B2A-47A8-8D92-6FE6E622A650}" dt="2024-12-16T09:10:17.975" v="5669"/>
          <ac:spMkLst>
            <pc:docMk/>
            <pc:sldMk cId="865606007" sldId="279"/>
            <ac:spMk id="171" creationId="{9746EFC0-8C17-F0CD-4301-975C6341EB68}"/>
          </ac:spMkLst>
        </pc:spChg>
        <pc:spChg chg="add del mod modVis">
          <ac:chgData name="Oğuz Öztekin" userId="33c0df0f-d5fe-4bda-8f43-141ad7af67e3" providerId="ADAL" clId="{48B824AD-1B2A-47A8-8D92-6FE6E622A650}" dt="2024-12-16T16:07:39.589" v="79988"/>
          <ac:spMkLst>
            <pc:docMk/>
            <pc:sldMk cId="865606007" sldId="279"/>
            <ac:spMk id="172" creationId="{23F7A764-0CCC-6545-99ED-0D3463E736B0}"/>
          </ac:spMkLst>
        </pc:spChg>
        <pc:spChg chg="add del mod">
          <ac:chgData name="Oğuz Öztekin" userId="33c0df0f-d5fe-4bda-8f43-141ad7af67e3" providerId="ADAL" clId="{48B824AD-1B2A-47A8-8D92-6FE6E622A650}" dt="2024-12-16T09:10:17.977" v="5672"/>
          <ac:spMkLst>
            <pc:docMk/>
            <pc:sldMk cId="865606007" sldId="279"/>
            <ac:spMk id="172" creationId="{E3FEE70C-6181-9766-1D68-AD49A5974F1B}"/>
          </ac:spMkLst>
        </pc:spChg>
        <pc:spChg chg="add del mod">
          <ac:chgData name="Oğuz Öztekin" userId="33c0df0f-d5fe-4bda-8f43-141ad7af67e3" providerId="ADAL" clId="{48B824AD-1B2A-47A8-8D92-6FE6E622A650}" dt="2024-12-16T09:10:17.979" v="5675"/>
          <ac:spMkLst>
            <pc:docMk/>
            <pc:sldMk cId="865606007" sldId="279"/>
            <ac:spMk id="173" creationId="{1AE77FB3-30DC-D6C5-CF66-F06D6C0282D6}"/>
          </ac:spMkLst>
        </pc:spChg>
        <pc:spChg chg="add del mod">
          <ac:chgData name="Oğuz Öztekin" userId="33c0df0f-d5fe-4bda-8f43-141ad7af67e3" providerId="ADAL" clId="{48B824AD-1B2A-47A8-8D92-6FE6E622A650}" dt="2024-12-16T09:10:17.980" v="5678"/>
          <ac:spMkLst>
            <pc:docMk/>
            <pc:sldMk cId="865606007" sldId="279"/>
            <ac:spMk id="174" creationId="{A455A4A9-5F5C-8D02-292A-3C0A3735D27D}"/>
          </ac:spMkLst>
        </pc:spChg>
        <pc:spChg chg="add del mod modVis">
          <ac:chgData name="Oğuz Öztekin" userId="33c0df0f-d5fe-4bda-8f43-141ad7af67e3" providerId="ADAL" clId="{48B824AD-1B2A-47A8-8D92-6FE6E622A650}" dt="2024-12-16T16:07:40.774" v="80109"/>
          <ac:spMkLst>
            <pc:docMk/>
            <pc:sldMk cId="865606007" sldId="279"/>
            <ac:spMk id="174" creationId="{E2DE8687-582C-23AF-1A93-A070FEF504B0}"/>
          </ac:spMkLst>
        </pc:spChg>
        <pc:spChg chg="add del mod">
          <ac:chgData name="Oğuz Öztekin" userId="33c0df0f-d5fe-4bda-8f43-141ad7af67e3" providerId="ADAL" clId="{48B824AD-1B2A-47A8-8D92-6FE6E622A650}" dt="2024-12-16T09:10:17.982" v="5681"/>
          <ac:spMkLst>
            <pc:docMk/>
            <pc:sldMk cId="865606007" sldId="279"/>
            <ac:spMk id="175" creationId="{0C0EF021-00BB-FAFB-ECCC-EC78F85DDFDE}"/>
          </ac:spMkLst>
        </pc:spChg>
        <pc:spChg chg="add del mod modVis">
          <ac:chgData name="Oğuz Öztekin" userId="33c0df0f-d5fe-4bda-8f43-141ad7af67e3" providerId="ADAL" clId="{48B824AD-1B2A-47A8-8D92-6FE6E622A650}" dt="2024-12-16T16:07:41.413" v="80230"/>
          <ac:spMkLst>
            <pc:docMk/>
            <pc:sldMk cId="865606007" sldId="279"/>
            <ac:spMk id="176" creationId="{AA3AA915-F331-1AC4-9960-79F78C7DE422}"/>
          </ac:spMkLst>
        </pc:spChg>
        <pc:spChg chg="add del mod">
          <ac:chgData name="Oğuz Öztekin" userId="33c0df0f-d5fe-4bda-8f43-141ad7af67e3" providerId="ADAL" clId="{48B824AD-1B2A-47A8-8D92-6FE6E622A650}" dt="2024-12-16T09:10:17.984" v="5684"/>
          <ac:spMkLst>
            <pc:docMk/>
            <pc:sldMk cId="865606007" sldId="279"/>
            <ac:spMk id="176" creationId="{B017A78A-AD74-224E-C7EF-DE087E593069}"/>
          </ac:spMkLst>
        </pc:spChg>
        <pc:spChg chg="add del mod">
          <ac:chgData name="Oğuz Öztekin" userId="33c0df0f-d5fe-4bda-8f43-141ad7af67e3" providerId="ADAL" clId="{48B824AD-1B2A-47A8-8D92-6FE6E622A650}" dt="2024-12-16T09:10:17.985" v="5687"/>
          <ac:spMkLst>
            <pc:docMk/>
            <pc:sldMk cId="865606007" sldId="279"/>
            <ac:spMk id="177" creationId="{6C1DBADE-D94C-966B-0334-7342CA30B059}"/>
          </ac:spMkLst>
        </pc:spChg>
        <pc:spChg chg="add del mod">
          <ac:chgData name="Oğuz Öztekin" userId="33c0df0f-d5fe-4bda-8f43-141ad7af67e3" providerId="ADAL" clId="{48B824AD-1B2A-47A8-8D92-6FE6E622A650}" dt="2024-12-16T09:10:17.987" v="5690"/>
          <ac:spMkLst>
            <pc:docMk/>
            <pc:sldMk cId="865606007" sldId="279"/>
            <ac:spMk id="178" creationId="{488578A3-D993-2D91-3EFC-85D8483B6458}"/>
          </ac:spMkLst>
        </pc:spChg>
        <pc:spChg chg="add del mod modVis">
          <ac:chgData name="Oğuz Öztekin" userId="33c0df0f-d5fe-4bda-8f43-141ad7af67e3" providerId="ADAL" clId="{48B824AD-1B2A-47A8-8D92-6FE6E622A650}" dt="2024-12-16T16:07:44.172" v="80351"/>
          <ac:spMkLst>
            <pc:docMk/>
            <pc:sldMk cId="865606007" sldId="279"/>
            <ac:spMk id="178" creationId="{AF7B3DB7-AD7E-C29A-63B3-CDB9A81C7E7D}"/>
          </ac:spMkLst>
        </pc:spChg>
        <pc:spChg chg="add del mod">
          <ac:chgData name="Oğuz Öztekin" userId="33c0df0f-d5fe-4bda-8f43-141ad7af67e3" providerId="ADAL" clId="{48B824AD-1B2A-47A8-8D92-6FE6E622A650}" dt="2024-12-16T09:10:17.988" v="5693"/>
          <ac:spMkLst>
            <pc:docMk/>
            <pc:sldMk cId="865606007" sldId="279"/>
            <ac:spMk id="179" creationId="{FEEA5220-B3F3-A00A-26C4-20AFA2AF367F}"/>
          </ac:spMkLst>
        </pc:spChg>
        <pc:spChg chg="add del mod modVis">
          <ac:chgData name="Oğuz Öztekin" userId="33c0df0f-d5fe-4bda-8f43-141ad7af67e3" providerId="ADAL" clId="{48B824AD-1B2A-47A8-8D92-6FE6E622A650}" dt="2024-12-16T09:10:09.788" v="5215"/>
          <ac:spMkLst>
            <pc:docMk/>
            <pc:sldMk cId="865606007" sldId="279"/>
            <ac:spMk id="180" creationId="{6A5B9BE5-DA1A-F6D0-EB45-F13E9A2FD107}"/>
          </ac:spMkLst>
        </pc:spChg>
        <pc:spChg chg="add del mod modVis">
          <ac:chgData name="Oğuz Öztekin" userId="33c0df0f-d5fe-4bda-8f43-141ad7af67e3" providerId="ADAL" clId="{48B824AD-1B2A-47A8-8D92-6FE6E622A650}" dt="2024-12-16T16:07:48.748" v="80472"/>
          <ac:spMkLst>
            <pc:docMk/>
            <pc:sldMk cId="865606007" sldId="279"/>
            <ac:spMk id="180" creationId="{8ADAD0A2-5CB9-BED3-5184-E3082DB13D77}"/>
          </ac:spMkLst>
        </pc:spChg>
        <pc:spChg chg="add del mod ord">
          <ac:chgData name="Oğuz Öztekin" userId="33c0df0f-d5fe-4bda-8f43-141ad7af67e3" providerId="ADAL" clId="{48B824AD-1B2A-47A8-8D92-6FE6E622A650}" dt="2024-12-16T09:10:15.471" v="5403"/>
          <ac:spMkLst>
            <pc:docMk/>
            <pc:sldMk cId="865606007" sldId="279"/>
            <ac:spMk id="181" creationId="{9D8DC771-C8E1-C04D-B06B-B7BEE847F11D}"/>
          </ac:spMkLst>
        </pc:spChg>
        <pc:spChg chg="add del mod modVis">
          <ac:chgData name="Oğuz Öztekin" userId="33c0df0f-d5fe-4bda-8f43-141ad7af67e3" providerId="ADAL" clId="{48B824AD-1B2A-47A8-8D92-6FE6E622A650}" dt="2024-12-16T16:07:56.217" v="80593"/>
          <ac:spMkLst>
            <pc:docMk/>
            <pc:sldMk cId="865606007" sldId="279"/>
            <ac:spMk id="182" creationId="{42B148BA-C97C-B212-7B1F-CD55D6733B87}"/>
          </ac:spMkLst>
        </pc:spChg>
        <pc:spChg chg="add del mod modVis">
          <ac:chgData name="Oğuz Öztekin" userId="33c0df0f-d5fe-4bda-8f43-141ad7af67e3" providerId="ADAL" clId="{48B824AD-1B2A-47A8-8D92-6FE6E622A650}" dt="2024-12-16T09:10:13.738" v="5392"/>
          <ac:spMkLst>
            <pc:docMk/>
            <pc:sldMk cId="865606007" sldId="279"/>
            <ac:spMk id="183" creationId="{4056947C-1854-0BA5-7572-7DB761B103EA}"/>
          </ac:spMkLst>
        </pc:spChg>
        <pc:spChg chg="add del mod modVis">
          <ac:chgData name="Oğuz Öztekin" userId="33c0df0f-d5fe-4bda-8f43-141ad7af67e3" providerId="ADAL" clId="{48B824AD-1B2A-47A8-8D92-6FE6E622A650}" dt="2024-12-16T16:08:03.657" v="81255"/>
          <ac:spMkLst>
            <pc:docMk/>
            <pc:sldMk cId="865606007" sldId="279"/>
            <ac:spMk id="184" creationId="{36149616-45FF-CBB3-7977-99C89BA683AF}"/>
          </ac:spMkLst>
        </pc:spChg>
        <pc:spChg chg="add del mod">
          <ac:chgData name="Oğuz Öztekin" userId="33c0df0f-d5fe-4bda-8f43-141ad7af67e3" providerId="ADAL" clId="{48B824AD-1B2A-47A8-8D92-6FE6E622A650}" dt="2024-12-16T16:08:04.300" v="81338"/>
          <ac:spMkLst>
            <pc:docMk/>
            <pc:sldMk cId="865606007" sldId="279"/>
            <ac:spMk id="185" creationId="{40A4784E-EAF9-50CB-E50C-3CF29978008B}"/>
          </ac:spMkLst>
        </pc:spChg>
        <pc:spChg chg="add del mod modVis">
          <ac:chgData name="Oğuz Öztekin" userId="33c0df0f-d5fe-4bda-8f43-141ad7af67e3" providerId="ADAL" clId="{48B824AD-1B2A-47A8-8D92-6FE6E622A650}" dt="2024-12-16T09:10:15.637" v="5609"/>
          <ac:spMkLst>
            <pc:docMk/>
            <pc:sldMk cId="865606007" sldId="279"/>
            <ac:spMk id="185" creationId="{F3A5DF60-D281-2496-6B46-22EF6259B017}"/>
          </ac:spMkLst>
        </pc:spChg>
        <pc:spChg chg="add del mod">
          <ac:chgData name="Oğuz Öztekin" userId="33c0df0f-d5fe-4bda-8f43-141ad7af67e3" providerId="ADAL" clId="{48B824AD-1B2A-47A8-8D92-6FE6E622A650}" dt="2024-12-16T16:08:04.302" v="81339"/>
          <ac:spMkLst>
            <pc:docMk/>
            <pc:sldMk cId="865606007" sldId="279"/>
            <ac:spMk id="186" creationId="{1AA160B5-8F25-A9A7-1DD2-638F1A166C93}"/>
          </ac:spMkLst>
        </pc:spChg>
        <pc:spChg chg="add del mod">
          <ac:chgData name="Oğuz Öztekin" userId="33c0df0f-d5fe-4bda-8f43-141ad7af67e3" providerId="ADAL" clId="{48B824AD-1B2A-47A8-8D92-6FE6E622A650}" dt="2024-12-16T16:08:04.303" v="81340"/>
          <ac:spMkLst>
            <pc:docMk/>
            <pc:sldMk cId="865606007" sldId="279"/>
            <ac:spMk id="187" creationId="{9C135D25-86B7-FB59-4496-00320F527954}"/>
          </ac:spMkLst>
        </pc:spChg>
        <pc:spChg chg="add del mod modVis">
          <ac:chgData name="Oğuz Öztekin" userId="33c0df0f-d5fe-4bda-8f43-141ad7af67e3" providerId="ADAL" clId="{48B824AD-1B2A-47A8-8D92-6FE6E622A650}" dt="2024-12-16T09:10:18.063" v="5784"/>
          <ac:spMkLst>
            <pc:docMk/>
            <pc:sldMk cId="865606007" sldId="279"/>
            <ac:spMk id="187" creationId="{A2748EF0-2E67-156C-B2C3-18BB56984D79}"/>
          </ac:spMkLst>
        </pc:spChg>
        <pc:spChg chg="add del mod">
          <ac:chgData name="Oğuz Öztekin" userId="33c0df0f-d5fe-4bda-8f43-141ad7af67e3" providerId="ADAL" clId="{48B824AD-1B2A-47A8-8D92-6FE6E622A650}" dt="2024-12-16T16:08:04.304" v="81341"/>
          <ac:spMkLst>
            <pc:docMk/>
            <pc:sldMk cId="865606007" sldId="279"/>
            <ac:spMk id="188" creationId="{5BCC7F3E-169A-C2BB-CE3C-2FB5540C8AE5}"/>
          </ac:spMkLst>
        </pc:spChg>
        <pc:spChg chg="add del mod">
          <ac:chgData name="Oğuz Öztekin" userId="33c0df0f-d5fe-4bda-8f43-141ad7af67e3" providerId="ADAL" clId="{48B824AD-1B2A-47A8-8D92-6FE6E622A650}" dt="2024-12-16T16:08:04.305" v="81342"/>
          <ac:spMkLst>
            <pc:docMk/>
            <pc:sldMk cId="865606007" sldId="279"/>
            <ac:spMk id="189" creationId="{8E2C413C-872D-A0B6-355B-77B60829038A}"/>
          </ac:spMkLst>
        </pc:spChg>
        <pc:spChg chg="add del mod modVis">
          <ac:chgData name="Oğuz Öztekin" userId="33c0df0f-d5fe-4bda-8f43-141ad7af67e3" providerId="ADAL" clId="{48B824AD-1B2A-47A8-8D92-6FE6E622A650}" dt="2024-12-16T09:10:20.195" v="5904"/>
          <ac:spMkLst>
            <pc:docMk/>
            <pc:sldMk cId="865606007" sldId="279"/>
            <ac:spMk id="189" creationId="{A0372630-82FC-502E-7502-613398006543}"/>
          </ac:spMkLst>
        </pc:spChg>
        <pc:spChg chg="add del mod">
          <ac:chgData name="Oğuz Öztekin" userId="33c0df0f-d5fe-4bda-8f43-141ad7af67e3" providerId="ADAL" clId="{48B824AD-1B2A-47A8-8D92-6FE6E622A650}" dt="2024-12-16T16:08:04.305" v="81343"/>
          <ac:spMkLst>
            <pc:docMk/>
            <pc:sldMk cId="865606007" sldId="279"/>
            <ac:spMk id="190" creationId="{3799BDF1-0348-6A08-F000-B6BACC7A83F1}"/>
          </ac:spMkLst>
        </pc:spChg>
        <pc:spChg chg="add mod">
          <ac:chgData name="Oğuz Öztekin" userId="33c0df0f-d5fe-4bda-8f43-141ad7af67e3" providerId="ADAL" clId="{48B824AD-1B2A-47A8-8D92-6FE6E622A650}" dt="2024-12-16T16:27:50.006" v="104077"/>
          <ac:spMkLst>
            <pc:docMk/>
            <pc:sldMk cId="865606007" sldId="279"/>
            <ac:spMk id="191" creationId="{86DC1F13-D0DD-9BBB-F908-78DDC3218BD2}"/>
          </ac:spMkLst>
        </pc:spChg>
        <pc:spChg chg="add mod">
          <ac:chgData name="Oğuz Öztekin" userId="33c0df0f-d5fe-4bda-8f43-141ad7af67e3" providerId="ADAL" clId="{48B824AD-1B2A-47A8-8D92-6FE6E622A650}" dt="2024-12-16T16:27:50.007" v="104078"/>
          <ac:spMkLst>
            <pc:docMk/>
            <pc:sldMk cId="865606007" sldId="279"/>
            <ac:spMk id="192" creationId="{E7548B9C-1262-972C-27FE-B750D79D62B7}"/>
          </ac:spMkLst>
        </pc:spChg>
        <pc:spChg chg="add del mod">
          <ac:chgData name="Oğuz Öztekin" userId="33c0df0f-d5fe-4bda-8f43-141ad7af67e3" providerId="ADAL" clId="{48B824AD-1B2A-47A8-8D92-6FE6E622A650}" dt="2024-12-16T16:08:04.306" v="81344"/>
          <ac:spMkLst>
            <pc:docMk/>
            <pc:sldMk cId="865606007" sldId="279"/>
            <ac:spMk id="193" creationId="{3C4AB9BB-6F5A-8FC2-6DC9-F24975668DFF}"/>
          </ac:spMkLst>
        </pc:spChg>
        <pc:spChg chg="add del mod">
          <ac:chgData name="Oğuz Öztekin" userId="33c0df0f-d5fe-4bda-8f43-141ad7af67e3" providerId="ADAL" clId="{48B824AD-1B2A-47A8-8D92-6FE6E622A650}" dt="2024-12-16T09:10:52.071" v="8915"/>
          <ac:spMkLst>
            <pc:docMk/>
            <pc:sldMk cId="865606007" sldId="279"/>
            <ac:spMk id="193" creationId="{87FF4CFA-E40F-47D9-6DBE-66D272AA028A}"/>
          </ac:spMkLst>
        </pc:spChg>
        <pc:spChg chg="add del mod">
          <ac:chgData name="Oğuz Öztekin" userId="33c0df0f-d5fe-4bda-8f43-141ad7af67e3" providerId="ADAL" clId="{48B824AD-1B2A-47A8-8D92-6FE6E622A650}" dt="2024-12-16T09:10:52.072" v="8918"/>
          <ac:spMkLst>
            <pc:docMk/>
            <pc:sldMk cId="865606007" sldId="279"/>
            <ac:spMk id="194" creationId="{5B713A44-1FA1-287F-AF63-518D34F57ABB}"/>
          </ac:spMkLst>
        </pc:spChg>
        <pc:spChg chg="add del mod">
          <ac:chgData name="Oğuz Öztekin" userId="33c0df0f-d5fe-4bda-8f43-141ad7af67e3" providerId="ADAL" clId="{48B824AD-1B2A-47A8-8D92-6FE6E622A650}" dt="2024-12-16T16:08:04.307" v="81345"/>
          <ac:spMkLst>
            <pc:docMk/>
            <pc:sldMk cId="865606007" sldId="279"/>
            <ac:spMk id="194" creationId="{F63B8EE2-D7BE-B6C2-208E-0C41C1366477}"/>
          </ac:spMkLst>
        </pc:spChg>
        <pc:spChg chg="add del mod">
          <ac:chgData name="Oğuz Öztekin" userId="33c0df0f-d5fe-4bda-8f43-141ad7af67e3" providerId="ADAL" clId="{48B824AD-1B2A-47A8-8D92-6FE6E622A650}" dt="2024-12-16T16:08:04.307" v="81346"/>
          <ac:spMkLst>
            <pc:docMk/>
            <pc:sldMk cId="865606007" sldId="279"/>
            <ac:spMk id="195" creationId="{49FB80A1-19D2-E3AC-5B38-0AB341C52291}"/>
          </ac:spMkLst>
        </pc:spChg>
        <pc:spChg chg="add del mod">
          <ac:chgData name="Oğuz Öztekin" userId="33c0df0f-d5fe-4bda-8f43-141ad7af67e3" providerId="ADAL" clId="{48B824AD-1B2A-47A8-8D92-6FE6E622A650}" dt="2024-12-16T09:10:52.073" v="8921"/>
          <ac:spMkLst>
            <pc:docMk/>
            <pc:sldMk cId="865606007" sldId="279"/>
            <ac:spMk id="195" creationId="{6CBA59C9-31A6-2665-686E-34526599D504}"/>
          </ac:spMkLst>
        </pc:spChg>
        <pc:spChg chg="add del mod">
          <ac:chgData name="Oğuz Öztekin" userId="33c0df0f-d5fe-4bda-8f43-141ad7af67e3" providerId="ADAL" clId="{48B824AD-1B2A-47A8-8D92-6FE6E622A650}" dt="2024-12-16T09:10:52.074" v="8924"/>
          <ac:spMkLst>
            <pc:docMk/>
            <pc:sldMk cId="865606007" sldId="279"/>
            <ac:spMk id="196" creationId="{C9F38F38-D27E-B9DC-C6FB-93F42F2B6409}"/>
          </ac:spMkLst>
        </pc:spChg>
        <pc:spChg chg="add del mod">
          <ac:chgData name="Oğuz Öztekin" userId="33c0df0f-d5fe-4bda-8f43-141ad7af67e3" providerId="ADAL" clId="{48B824AD-1B2A-47A8-8D92-6FE6E622A650}" dt="2024-12-16T16:08:04.308" v="81347"/>
          <ac:spMkLst>
            <pc:docMk/>
            <pc:sldMk cId="865606007" sldId="279"/>
            <ac:spMk id="196" creationId="{CEB9BDE5-1A1C-7F95-D0D9-C0A0F08929AE}"/>
          </ac:spMkLst>
        </pc:spChg>
        <pc:spChg chg="add del mod">
          <ac:chgData name="Oğuz Öztekin" userId="33c0df0f-d5fe-4bda-8f43-141ad7af67e3" providerId="ADAL" clId="{48B824AD-1B2A-47A8-8D92-6FE6E622A650}" dt="2024-12-16T09:10:52.075" v="8927"/>
          <ac:spMkLst>
            <pc:docMk/>
            <pc:sldMk cId="865606007" sldId="279"/>
            <ac:spMk id="197" creationId="{0B643865-A8E3-7035-98EB-B67C4A6BC84E}"/>
          </ac:spMkLst>
        </pc:spChg>
        <pc:spChg chg="add del mod">
          <ac:chgData name="Oğuz Öztekin" userId="33c0df0f-d5fe-4bda-8f43-141ad7af67e3" providerId="ADAL" clId="{48B824AD-1B2A-47A8-8D92-6FE6E622A650}" dt="2024-12-16T16:08:04.309" v="81348"/>
          <ac:spMkLst>
            <pc:docMk/>
            <pc:sldMk cId="865606007" sldId="279"/>
            <ac:spMk id="197" creationId="{BB5B7448-6D83-5BD8-59E8-69C9561E898C}"/>
          </ac:spMkLst>
        </pc:spChg>
        <pc:spChg chg="add del mod">
          <ac:chgData name="Oğuz Öztekin" userId="33c0df0f-d5fe-4bda-8f43-141ad7af67e3" providerId="ADAL" clId="{48B824AD-1B2A-47A8-8D92-6FE6E622A650}" dt="2024-12-16T16:08:04.310" v="81349"/>
          <ac:spMkLst>
            <pc:docMk/>
            <pc:sldMk cId="865606007" sldId="279"/>
            <ac:spMk id="198" creationId="{507C211B-3995-B16B-401B-AD847C34183B}"/>
          </ac:spMkLst>
        </pc:spChg>
        <pc:spChg chg="add del mod">
          <ac:chgData name="Oğuz Öztekin" userId="33c0df0f-d5fe-4bda-8f43-141ad7af67e3" providerId="ADAL" clId="{48B824AD-1B2A-47A8-8D92-6FE6E622A650}" dt="2024-12-16T09:10:52.076" v="8930"/>
          <ac:spMkLst>
            <pc:docMk/>
            <pc:sldMk cId="865606007" sldId="279"/>
            <ac:spMk id="198" creationId="{70BD03AA-61F8-4F63-2522-958F2B0C4F4E}"/>
          </ac:spMkLst>
        </pc:spChg>
        <pc:spChg chg="add del mod">
          <ac:chgData name="Oğuz Öztekin" userId="33c0df0f-d5fe-4bda-8f43-141ad7af67e3" providerId="ADAL" clId="{48B824AD-1B2A-47A8-8D92-6FE6E622A650}" dt="2024-12-16T09:10:52.077" v="8933"/>
          <ac:spMkLst>
            <pc:docMk/>
            <pc:sldMk cId="865606007" sldId="279"/>
            <ac:spMk id="199" creationId="{B750C2DF-3586-907A-802F-B030B7F5553F}"/>
          </ac:spMkLst>
        </pc:spChg>
        <pc:spChg chg="add del mod">
          <ac:chgData name="Oğuz Öztekin" userId="33c0df0f-d5fe-4bda-8f43-141ad7af67e3" providerId="ADAL" clId="{48B824AD-1B2A-47A8-8D92-6FE6E622A650}" dt="2024-12-16T09:10:52.078" v="8936"/>
          <ac:spMkLst>
            <pc:docMk/>
            <pc:sldMk cId="865606007" sldId="279"/>
            <ac:spMk id="200" creationId="{04985CFD-FE32-FF10-D8B3-7CE2273CF7D3}"/>
          </ac:spMkLst>
        </pc:spChg>
        <pc:spChg chg="add del mod modVis">
          <ac:chgData name="Oğuz Öztekin" userId="33c0df0f-d5fe-4bda-8f43-141ad7af67e3" providerId="ADAL" clId="{48B824AD-1B2A-47A8-8D92-6FE6E622A650}" dt="2024-12-16T16:08:04.368" v="81397"/>
          <ac:spMkLst>
            <pc:docMk/>
            <pc:sldMk cId="865606007" sldId="279"/>
            <ac:spMk id="200" creationId="{A664551E-1E50-82E5-7C19-D9759BC27A0F}"/>
          </ac:spMkLst>
        </pc:spChg>
        <pc:spChg chg="add del mod">
          <ac:chgData name="Oğuz Öztekin" userId="33c0df0f-d5fe-4bda-8f43-141ad7af67e3" providerId="ADAL" clId="{48B824AD-1B2A-47A8-8D92-6FE6E622A650}" dt="2024-12-16T09:10:52.078" v="8939"/>
          <ac:spMkLst>
            <pc:docMk/>
            <pc:sldMk cId="865606007" sldId="279"/>
            <ac:spMk id="201" creationId="{007E14DD-D22F-46DD-1C71-C3D12E7F6305}"/>
          </ac:spMkLst>
        </pc:spChg>
        <pc:spChg chg="add del mod modVis">
          <ac:chgData name="Oğuz Öztekin" userId="33c0df0f-d5fe-4bda-8f43-141ad7af67e3" providerId="ADAL" clId="{48B824AD-1B2A-47A8-8D92-6FE6E622A650}" dt="2024-12-16T16:08:10.867" v="82059"/>
          <ac:spMkLst>
            <pc:docMk/>
            <pc:sldMk cId="865606007" sldId="279"/>
            <ac:spMk id="202" creationId="{1D1D89FF-5774-8566-CD9B-D2ABC1A99FA0}"/>
          </ac:spMkLst>
        </pc:spChg>
        <pc:spChg chg="add del mod">
          <ac:chgData name="Oğuz Öztekin" userId="33c0df0f-d5fe-4bda-8f43-141ad7af67e3" providerId="ADAL" clId="{48B824AD-1B2A-47A8-8D92-6FE6E622A650}" dt="2024-12-16T09:10:52.080" v="8942"/>
          <ac:spMkLst>
            <pc:docMk/>
            <pc:sldMk cId="865606007" sldId="279"/>
            <ac:spMk id="202" creationId="{D39C76E4-3D1B-9532-7D0D-7F0A38E7C997}"/>
          </ac:spMkLst>
        </pc:spChg>
        <pc:spChg chg="add del mod">
          <ac:chgData name="Oğuz Öztekin" userId="33c0df0f-d5fe-4bda-8f43-141ad7af67e3" providerId="ADAL" clId="{48B824AD-1B2A-47A8-8D92-6FE6E622A650}" dt="2024-12-16T16:08:11.768" v="82284"/>
          <ac:spMkLst>
            <pc:docMk/>
            <pc:sldMk cId="865606007" sldId="279"/>
            <ac:spMk id="203" creationId="{468BD34E-CF68-1184-4B00-B89567356C39}"/>
          </ac:spMkLst>
        </pc:spChg>
        <pc:spChg chg="add del mod">
          <ac:chgData name="Oğuz Öztekin" userId="33c0df0f-d5fe-4bda-8f43-141ad7af67e3" providerId="ADAL" clId="{48B824AD-1B2A-47A8-8D92-6FE6E622A650}" dt="2024-12-16T09:10:52.081" v="8945"/>
          <ac:spMkLst>
            <pc:docMk/>
            <pc:sldMk cId="865606007" sldId="279"/>
            <ac:spMk id="203" creationId="{5F241F85-5410-2E0F-25D4-048DA59AFC02}"/>
          </ac:spMkLst>
        </pc:spChg>
        <pc:spChg chg="add del mod">
          <ac:chgData name="Oğuz Öztekin" userId="33c0df0f-d5fe-4bda-8f43-141ad7af67e3" providerId="ADAL" clId="{48B824AD-1B2A-47A8-8D92-6FE6E622A650}" dt="2024-12-16T16:08:11.769" v="82285"/>
          <ac:spMkLst>
            <pc:docMk/>
            <pc:sldMk cId="865606007" sldId="279"/>
            <ac:spMk id="204" creationId="{30AAD278-762C-6B81-C21D-3FC3437E5E2C}"/>
          </ac:spMkLst>
        </pc:spChg>
        <pc:spChg chg="add del mod">
          <ac:chgData name="Oğuz Öztekin" userId="33c0df0f-d5fe-4bda-8f43-141ad7af67e3" providerId="ADAL" clId="{48B824AD-1B2A-47A8-8D92-6FE6E622A650}" dt="2024-12-16T09:10:52.082" v="8948"/>
          <ac:spMkLst>
            <pc:docMk/>
            <pc:sldMk cId="865606007" sldId="279"/>
            <ac:spMk id="204" creationId="{EC3645E1-AFCF-D2A6-B2CC-2E39B493FC51}"/>
          </ac:spMkLst>
        </pc:spChg>
        <pc:spChg chg="add del mod">
          <ac:chgData name="Oğuz Öztekin" userId="33c0df0f-d5fe-4bda-8f43-141ad7af67e3" providerId="ADAL" clId="{48B824AD-1B2A-47A8-8D92-6FE6E622A650}" dt="2024-12-16T16:08:11.769" v="82286"/>
          <ac:spMkLst>
            <pc:docMk/>
            <pc:sldMk cId="865606007" sldId="279"/>
            <ac:spMk id="205" creationId="{133A0834-CF7F-8054-0271-7B9A6F5424C1}"/>
          </ac:spMkLst>
        </pc:spChg>
        <pc:spChg chg="add del mod">
          <ac:chgData name="Oğuz Öztekin" userId="33c0df0f-d5fe-4bda-8f43-141ad7af67e3" providerId="ADAL" clId="{48B824AD-1B2A-47A8-8D92-6FE6E622A650}" dt="2024-12-16T09:10:52.082" v="8951"/>
          <ac:spMkLst>
            <pc:docMk/>
            <pc:sldMk cId="865606007" sldId="279"/>
            <ac:spMk id="205" creationId="{5B39664F-0457-AFF4-7F29-D1D4151F6633}"/>
          </ac:spMkLst>
        </pc:spChg>
        <pc:spChg chg="add del mod">
          <ac:chgData name="Oğuz Öztekin" userId="33c0df0f-d5fe-4bda-8f43-141ad7af67e3" providerId="ADAL" clId="{48B824AD-1B2A-47A8-8D92-6FE6E622A650}" dt="2024-12-16T09:10:52.083" v="8954"/>
          <ac:spMkLst>
            <pc:docMk/>
            <pc:sldMk cId="865606007" sldId="279"/>
            <ac:spMk id="206" creationId="{047EB936-3B33-4E0B-1C00-2141668DB99C}"/>
          </ac:spMkLst>
        </pc:spChg>
        <pc:spChg chg="add del mod">
          <ac:chgData name="Oğuz Öztekin" userId="33c0df0f-d5fe-4bda-8f43-141ad7af67e3" providerId="ADAL" clId="{48B824AD-1B2A-47A8-8D92-6FE6E622A650}" dt="2024-12-16T16:08:11.769" v="82287"/>
          <ac:spMkLst>
            <pc:docMk/>
            <pc:sldMk cId="865606007" sldId="279"/>
            <ac:spMk id="206" creationId="{05C559D8-2762-D1B5-E9DF-37B090676EE7}"/>
          </ac:spMkLst>
        </pc:spChg>
        <pc:spChg chg="add del mod">
          <ac:chgData name="Oğuz Öztekin" userId="33c0df0f-d5fe-4bda-8f43-141ad7af67e3" providerId="ADAL" clId="{48B824AD-1B2A-47A8-8D92-6FE6E622A650}" dt="2024-12-16T09:10:52.084" v="8957"/>
          <ac:spMkLst>
            <pc:docMk/>
            <pc:sldMk cId="865606007" sldId="279"/>
            <ac:spMk id="207" creationId="{46E967AC-BA35-B7B4-2A33-6F6FCA5FF54B}"/>
          </ac:spMkLst>
        </pc:spChg>
        <pc:spChg chg="add del mod">
          <ac:chgData name="Oğuz Öztekin" userId="33c0df0f-d5fe-4bda-8f43-141ad7af67e3" providerId="ADAL" clId="{48B824AD-1B2A-47A8-8D92-6FE6E622A650}" dt="2024-12-16T16:08:11.771" v="82288"/>
          <ac:spMkLst>
            <pc:docMk/>
            <pc:sldMk cId="865606007" sldId="279"/>
            <ac:spMk id="207" creationId="{8A6D7E25-2841-81FA-6DC0-44C90284FCA1}"/>
          </ac:spMkLst>
        </pc:spChg>
        <pc:spChg chg="add del mod">
          <ac:chgData name="Oğuz Öztekin" userId="33c0df0f-d5fe-4bda-8f43-141ad7af67e3" providerId="ADAL" clId="{48B824AD-1B2A-47A8-8D92-6FE6E622A650}" dt="2024-12-16T16:08:11.772" v="82289"/>
          <ac:spMkLst>
            <pc:docMk/>
            <pc:sldMk cId="865606007" sldId="279"/>
            <ac:spMk id="208" creationId="{6603BAA6-9782-4EF5-EB5D-A0D7E027FB98}"/>
          </ac:spMkLst>
        </pc:spChg>
        <pc:spChg chg="add del mod">
          <ac:chgData name="Oğuz Öztekin" userId="33c0df0f-d5fe-4bda-8f43-141ad7af67e3" providerId="ADAL" clId="{48B824AD-1B2A-47A8-8D92-6FE6E622A650}" dt="2024-12-16T09:10:52.085" v="8960"/>
          <ac:spMkLst>
            <pc:docMk/>
            <pc:sldMk cId="865606007" sldId="279"/>
            <ac:spMk id="208" creationId="{B3070123-887D-092D-3F34-5396FA791F94}"/>
          </ac:spMkLst>
        </pc:spChg>
        <pc:spChg chg="add del mod modVis">
          <ac:chgData name="Oğuz Öztekin" userId="33c0df0f-d5fe-4bda-8f43-141ad7af67e3" providerId="ADAL" clId="{48B824AD-1B2A-47A8-8D92-6FE6E622A650}" dt="2024-12-16T09:10:27.685" v="6815"/>
          <ac:spMkLst>
            <pc:docMk/>
            <pc:sldMk cId="865606007" sldId="279"/>
            <ac:spMk id="209" creationId="{6395CEE3-D472-39E7-85EF-26863EC0B36E}"/>
          </ac:spMkLst>
        </pc:spChg>
        <pc:spChg chg="add del mod">
          <ac:chgData name="Oğuz Öztekin" userId="33c0df0f-d5fe-4bda-8f43-141ad7af67e3" providerId="ADAL" clId="{48B824AD-1B2A-47A8-8D92-6FE6E622A650}" dt="2024-12-16T16:08:11.772" v="82290"/>
          <ac:spMkLst>
            <pc:docMk/>
            <pc:sldMk cId="865606007" sldId="279"/>
            <ac:spMk id="209" creationId="{6F3FAB38-7F21-00C7-8D34-F185C5CCEE1C}"/>
          </ac:spMkLst>
        </pc:spChg>
        <pc:spChg chg="add del mod">
          <ac:chgData name="Oğuz Öztekin" userId="33c0df0f-d5fe-4bda-8f43-141ad7af67e3" providerId="ADAL" clId="{48B824AD-1B2A-47A8-8D92-6FE6E622A650}" dt="2024-12-16T16:08:11.773" v="82291"/>
          <ac:spMkLst>
            <pc:docMk/>
            <pc:sldMk cId="865606007" sldId="279"/>
            <ac:spMk id="210" creationId="{63A38773-9023-23C2-18D3-76C22D0A94E8}"/>
          </ac:spMkLst>
        </pc:spChg>
        <pc:spChg chg="add del mod">
          <ac:chgData name="Oğuz Öztekin" userId="33c0df0f-d5fe-4bda-8f43-141ad7af67e3" providerId="ADAL" clId="{48B824AD-1B2A-47A8-8D92-6FE6E622A650}" dt="2024-12-16T16:08:11.774" v="82292"/>
          <ac:spMkLst>
            <pc:docMk/>
            <pc:sldMk cId="865606007" sldId="279"/>
            <ac:spMk id="211" creationId="{717D1DC9-77ED-90C6-2B6B-4907D735BD4E}"/>
          </ac:spMkLst>
        </pc:spChg>
        <pc:spChg chg="add del mod">
          <ac:chgData name="Oğuz Öztekin" userId="33c0df0f-d5fe-4bda-8f43-141ad7af67e3" providerId="ADAL" clId="{48B824AD-1B2A-47A8-8D92-6FE6E622A650}" dt="2024-12-16T16:08:11.774" v="82293"/>
          <ac:spMkLst>
            <pc:docMk/>
            <pc:sldMk cId="865606007" sldId="279"/>
            <ac:spMk id="212" creationId="{EBD46DCE-8C4F-FC1F-96EC-19D7A7A42978}"/>
          </ac:spMkLst>
        </pc:spChg>
        <pc:spChg chg="add del mod">
          <ac:chgData name="Oğuz Öztekin" userId="33c0df0f-d5fe-4bda-8f43-141ad7af67e3" providerId="ADAL" clId="{48B824AD-1B2A-47A8-8D92-6FE6E622A650}" dt="2024-12-16T16:08:11.775" v="82294"/>
          <ac:spMkLst>
            <pc:docMk/>
            <pc:sldMk cId="865606007" sldId="279"/>
            <ac:spMk id="213" creationId="{2BE0ED4D-A819-114B-8468-E0E0E767AEEF}"/>
          </ac:spMkLst>
        </pc:spChg>
        <pc:spChg chg="add del mod">
          <ac:chgData name="Oğuz Öztekin" userId="33c0df0f-d5fe-4bda-8f43-141ad7af67e3" providerId="ADAL" clId="{48B824AD-1B2A-47A8-8D92-6FE6E622A650}" dt="2024-12-16T16:08:11.776" v="82295"/>
          <ac:spMkLst>
            <pc:docMk/>
            <pc:sldMk cId="865606007" sldId="279"/>
            <ac:spMk id="214" creationId="{A98C3D58-B173-7254-CD8A-A85C5B69994B}"/>
          </ac:spMkLst>
        </pc:spChg>
        <pc:spChg chg="add del mod modVis">
          <ac:chgData name="Oğuz Öztekin" userId="33c0df0f-d5fe-4bda-8f43-141ad7af67e3" providerId="ADAL" clId="{48B824AD-1B2A-47A8-8D92-6FE6E622A650}" dt="2024-12-16T16:08:11.110" v="82201"/>
          <ac:spMkLst>
            <pc:docMk/>
            <pc:sldMk cId="865606007" sldId="279"/>
            <ac:spMk id="216" creationId="{D9BED770-B188-AA51-D7B2-EA4DDBCCEC7A}"/>
          </ac:spMkLst>
        </pc:spChg>
        <pc:spChg chg="add del mod modVis">
          <ac:chgData name="Oğuz Öztekin" userId="33c0df0f-d5fe-4bda-8f43-141ad7af67e3" providerId="ADAL" clId="{48B824AD-1B2A-47A8-8D92-6FE6E622A650}" dt="2024-12-16T16:08:11.830" v="82343"/>
          <ac:spMkLst>
            <pc:docMk/>
            <pc:sldMk cId="865606007" sldId="279"/>
            <ac:spMk id="218" creationId="{2F767833-1A2E-B501-E79B-9B435DA20A82}"/>
          </ac:spMkLst>
        </pc:spChg>
        <pc:spChg chg="add del mod modVis">
          <ac:chgData name="Oğuz Öztekin" userId="33c0df0f-d5fe-4bda-8f43-141ad7af67e3" providerId="ADAL" clId="{48B824AD-1B2A-47A8-8D92-6FE6E622A650}" dt="2024-12-16T16:08:12.909" v="83005"/>
          <ac:spMkLst>
            <pc:docMk/>
            <pc:sldMk cId="865606007" sldId="279"/>
            <ac:spMk id="220" creationId="{BD4F1329-5254-82CA-6C83-7B0DD548CB48}"/>
          </ac:spMkLst>
        </pc:spChg>
        <pc:spChg chg="add mod">
          <ac:chgData name="Oğuz Öztekin" userId="33c0df0f-d5fe-4bda-8f43-141ad7af67e3" providerId="ADAL" clId="{48B824AD-1B2A-47A8-8D92-6FE6E622A650}" dt="2024-12-16T16:27:49.999" v="104048"/>
          <ac:spMkLst>
            <pc:docMk/>
            <pc:sldMk cId="865606007" sldId="279"/>
            <ac:spMk id="221" creationId="{B8179B09-98A2-595A-46DF-39AD2B1D7773}"/>
          </ac:spMkLst>
        </pc:spChg>
        <pc:spChg chg="add mod">
          <ac:chgData name="Oğuz Öztekin" userId="33c0df0f-d5fe-4bda-8f43-141ad7af67e3" providerId="ADAL" clId="{48B824AD-1B2A-47A8-8D92-6FE6E622A650}" dt="2024-12-16T16:27:49.998" v="104047"/>
          <ac:spMkLst>
            <pc:docMk/>
            <pc:sldMk cId="865606007" sldId="279"/>
            <ac:spMk id="222" creationId="{185B2310-253F-8645-8AEF-5285CB3C26BC}"/>
          </ac:spMkLst>
        </pc:spChg>
        <pc:spChg chg="add mod">
          <ac:chgData name="Oğuz Öztekin" userId="33c0df0f-d5fe-4bda-8f43-141ad7af67e3" providerId="ADAL" clId="{48B824AD-1B2A-47A8-8D92-6FE6E622A650}" dt="2024-12-16T16:27:49.999" v="104049"/>
          <ac:spMkLst>
            <pc:docMk/>
            <pc:sldMk cId="865606007" sldId="279"/>
            <ac:spMk id="223" creationId="{13BB4663-4071-3EAA-BC3A-7E52D58DE288}"/>
          </ac:spMkLst>
        </pc:spChg>
        <pc:spChg chg="add del mod modVis">
          <ac:chgData name="Oğuz Öztekin" userId="33c0df0f-d5fe-4bda-8f43-141ad7af67e3" providerId="ADAL" clId="{48B824AD-1B2A-47A8-8D92-6FE6E622A650}" dt="2024-12-16T09:10:29.401" v="7234"/>
          <ac:spMkLst>
            <pc:docMk/>
            <pc:sldMk cId="865606007" sldId="279"/>
            <ac:spMk id="229" creationId="{EF7A9703-047D-51A5-ED25-9BDA4073421D}"/>
          </ac:spMkLst>
        </pc:spChg>
        <pc:spChg chg="add del mod modVis">
          <ac:chgData name="Oğuz Öztekin" userId="33c0df0f-d5fe-4bda-8f43-141ad7af67e3" providerId="ADAL" clId="{48B824AD-1B2A-47A8-8D92-6FE6E622A650}" dt="2024-12-16T09:10:30.417" v="7653"/>
          <ac:spMkLst>
            <pc:docMk/>
            <pc:sldMk cId="865606007" sldId="279"/>
            <ac:spMk id="231" creationId="{52930AFA-B318-3DEC-1575-8CE9C0749DF2}"/>
          </ac:spMkLst>
        </pc:spChg>
        <pc:spChg chg="add del mod modVis">
          <ac:chgData name="Oğuz Öztekin" userId="33c0df0f-d5fe-4bda-8f43-141ad7af67e3" providerId="ADAL" clId="{48B824AD-1B2A-47A8-8D92-6FE6E622A650}" dt="2024-12-16T09:10:40.095" v="8072"/>
          <ac:spMkLst>
            <pc:docMk/>
            <pc:sldMk cId="865606007" sldId="279"/>
            <ac:spMk id="233" creationId="{3ABC3E50-D89D-92AE-FBA6-6D072DE64875}"/>
          </ac:spMkLst>
        </pc:spChg>
        <pc:spChg chg="add del mod modVis">
          <ac:chgData name="Oğuz Öztekin" userId="33c0df0f-d5fe-4bda-8f43-141ad7af67e3" providerId="ADAL" clId="{48B824AD-1B2A-47A8-8D92-6FE6E622A650}" dt="2024-12-16T09:10:42.690" v="8491"/>
          <ac:spMkLst>
            <pc:docMk/>
            <pc:sldMk cId="865606007" sldId="279"/>
            <ac:spMk id="235" creationId="{D2788B23-73C0-9E32-5E0B-546B0D11094E}"/>
          </ac:spMkLst>
        </pc:spChg>
        <pc:spChg chg="add del mod modVis">
          <ac:chgData name="Oğuz Öztekin" userId="33c0df0f-d5fe-4bda-8f43-141ad7af67e3" providerId="ADAL" clId="{48B824AD-1B2A-47A8-8D92-6FE6E622A650}" dt="2024-12-16T09:10:48.684" v="8910"/>
          <ac:spMkLst>
            <pc:docMk/>
            <pc:sldMk cId="865606007" sldId="279"/>
            <ac:spMk id="237" creationId="{175F1B3F-9AFF-5512-85CB-DE6B4BF6E360}"/>
          </ac:spMkLst>
        </pc:spChg>
        <pc:spChg chg="add del mod modVis">
          <ac:chgData name="Oğuz Öztekin" userId="33c0df0f-d5fe-4bda-8f43-141ad7af67e3" providerId="ADAL" clId="{48B824AD-1B2A-47A8-8D92-6FE6E622A650}" dt="2024-12-16T09:10:52.185" v="9089"/>
          <ac:spMkLst>
            <pc:docMk/>
            <pc:sldMk cId="865606007" sldId="279"/>
            <ac:spMk id="239" creationId="{EAFA3E26-7E0B-8CA8-6EF9-C6EE01CA6B78}"/>
          </ac:spMkLst>
        </pc:spChg>
        <pc:spChg chg="add del mod modVis">
          <ac:chgData name="Oğuz Öztekin" userId="33c0df0f-d5fe-4bda-8f43-141ad7af67e3" providerId="ADAL" clId="{48B824AD-1B2A-47A8-8D92-6FE6E622A650}" dt="2024-12-16T09:11:00.079" v="9198"/>
          <ac:spMkLst>
            <pc:docMk/>
            <pc:sldMk cId="865606007" sldId="279"/>
            <ac:spMk id="241" creationId="{B5989105-0EFC-2050-0487-62FE68AC669E}"/>
          </ac:spMkLst>
        </pc:spChg>
        <pc:spChg chg="add del mod modVis">
          <ac:chgData name="Oğuz Öztekin" userId="33c0df0f-d5fe-4bda-8f43-141ad7af67e3" providerId="ADAL" clId="{48B824AD-1B2A-47A8-8D92-6FE6E622A650}" dt="2024-12-16T09:11:02.176" v="9307"/>
          <ac:spMkLst>
            <pc:docMk/>
            <pc:sldMk cId="865606007" sldId="279"/>
            <ac:spMk id="243" creationId="{D56EC35C-2A50-9C34-2CF8-CD45E172DF72}"/>
          </ac:spMkLst>
        </pc:spChg>
        <pc:spChg chg="add del mod modVis">
          <ac:chgData name="Oğuz Öztekin" userId="33c0df0f-d5fe-4bda-8f43-141ad7af67e3" providerId="ADAL" clId="{48B824AD-1B2A-47A8-8D92-6FE6E622A650}" dt="2024-12-16T09:11:04.866" v="9436"/>
          <ac:spMkLst>
            <pc:docMk/>
            <pc:sldMk cId="865606007" sldId="279"/>
            <ac:spMk id="245" creationId="{BD99A308-121C-0AEB-B6B9-E2BAB046DB93}"/>
          </ac:spMkLst>
        </pc:spChg>
        <pc:spChg chg="add del mod modVis">
          <ac:chgData name="Oğuz Öztekin" userId="33c0df0f-d5fe-4bda-8f43-141ad7af67e3" providerId="ADAL" clId="{48B824AD-1B2A-47A8-8D92-6FE6E622A650}" dt="2024-12-16T09:11:35.914" v="9637"/>
          <ac:spMkLst>
            <pc:docMk/>
            <pc:sldMk cId="865606007" sldId="279"/>
            <ac:spMk id="247" creationId="{861702CF-7C3F-3651-D2D5-BF62086DDE1A}"/>
          </ac:spMkLst>
        </pc:spChg>
        <pc:spChg chg="add del mod modVis">
          <ac:chgData name="Oğuz Öztekin" userId="33c0df0f-d5fe-4bda-8f43-141ad7af67e3" providerId="ADAL" clId="{48B824AD-1B2A-47A8-8D92-6FE6E622A650}" dt="2024-12-16T09:17:24.853" v="18046"/>
          <ac:spMkLst>
            <pc:docMk/>
            <pc:sldMk cId="865606007" sldId="279"/>
            <ac:spMk id="249" creationId="{D4821B4D-363D-56C2-E364-BEF01066C4F9}"/>
          </ac:spMkLst>
        </pc:spChg>
        <pc:spChg chg="add del mod modVis">
          <ac:chgData name="Oğuz Öztekin" userId="33c0df0f-d5fe-4bda-8f43-141ad7af67e3" providerId="ADAL" clId="{48B824AD-1B2A-47A8-8D92-6FE6E622A650}" dt="2024-12-16T09:17:28.589" v="18160"/>
          <ac:spMkLst>
            <pc:docMk/>
            <pc:sldMk cId="865606007" sldId="279"/>
            <ac:spMk id="251" creationId="{FA394C63-3154-567C-78B8-8BB799805374}"/>
          </ac:spMkLst>
        </pc:spChg>
        <pc:spChg chg="add del mod modVis">
          <ac:chgData name="Oğuz Öztekin" userId="33c0df0f-d5fe-4bda-8f43-141ad7af67e3" providerId="ADAL" clId="{48B824AD-1B2A-47A8-8D92-6FE6E622A650}" dt="2024-12-16T09:17:36.320" v="18818"/>
          <ac:spMkLst>
            <pc:docMk/>
            <pc:sldMk cId="865606007" sldId="279"/>
            <ac:spMk id="253" creationId="{423562CC-8CFE-F374-DA26-76F1144A79CA}"/>
          </ac:spMkLst>
        </pc:spChg>
        <pc:spChg chg="add del mod">
          <ac:chgData name="Oğuz Öztekin" userId="33c0df0f-d5fe-4bda-8f43-141ad7af67e3" providerId="ADAL" clId="{48B824AD-1B2A-47A8-8D92-6FE6E622A650}" dt="2024-12-16T09:18:44.925" v="21578"/>
          <ac:spMkLst>
            <pc:docMk/>
            <pc:sldMk cId="865606007" sldId="279"/>
            <ac:spMk id="254" creationId="{140537F4-28BC-1C55-885D-CC94C7FB5C22}"/>
          </ac:spMkLst>
        </pc:spChg>
        <pc:spChg chg="add del mod">
          <ac:chgData name="Oğuz Öztekin" userId="33c0df0f-d5fe-4bda-8f43-141ad7af67e3" providerId="ADAL" clId="{48B824AD-1B2A-47A8-8D92-6FE6E622A650}" dt="2024-12-16T09:18:44.273" v="21454"/>
          <ac:spMkLst>
            <pc:docMk/>
            <pc:sldMk cId="865606007" sldId="279"/>
            <ac:spMk id="255" creationId="{E3B9D2A0-9561-ADF4-5D56-12279CB1E074}"/>
          </ac:spMkLst>
        </pc:spChg>
        <pc:spChg chg="add del mod modVis">
          <ac:chgData name="Oğuz Öztekin" userId="33c0df0f-d5fe-4bda-8f43-141ad7af67e3" providerId="ADAL" clId="{48B824AD-1B2A-47A8-8D92-6FE6E622A650}" dt="2024-12-16T16:03:50.293" v="72686"/>
          <ac:spMkLst>
            <pc:docMk/>
            <pc:sldMk cId="865606007" sldId="279"/>
            <ac:spMk id="256" creationId="{339066CF-3F84-0C1A-0A7C-DB869904D9FC}"/>
          </ac:spMkLst>
        </pc:spChg>
        <pc:spChg chg="add del mod">
          <ac:chgData name="Oğuz Öztekin" userId="33c0df0f-d5fe-4bda-8f43-141ad7af67e3" providerId="ADAL" clId="{48B824AD-1B2A-47A8-8D92-6FE6E622A650}" dt="2024-12-16T09:18:43.338" v="21327"/>
          <ac:spMkLst>
            <pc:docMk/>
            <pc:sldMk cId="865606007" sldId="279"/>
            <ac:spMk id="256" creationId="{B6924281-D1BF-DD7D-ABDC-EB507942BC50}"/>
          </ac:spMkLst>
        </pc:spChg>
        <pc:spChg chg="add del mod">
          <ac:chgData name="Oğuz Öztekin" userId="33c0df0f-d5fe-4bda-8f43-141ad7af67e3" providerId="ADAL" clId="{48B824AD-1B2A-47A8-8D92-6FE6E622A650}" dt="2024-12-16T09:18:42.133" v="21198"/>
          <ac:spMkLst>
            <pc:docMk/>
            <pc:sldMk cId="865606007" sldId="279"/>
            <ac:spMk id="257" creationId="{BAB59622-8448-1B83-1F97-514AA8C51144}"/>
          </ac:spMkLst>
        </pc:spChg>
        <pc:spChg chg="add del mod modVis">
          <ac:chgData name="Oğuz Öztekin" userId="33c0df0f-d5fe-4bda-8f43-141ad7af67e3" providerId="ADAL" clId="{48B824AD-1B2A-47A8-8D92-6FE6E622A650}" dt="2024-12-16T16:04:01.365" v="72803"/>
          <ac:spMkLst>
            <pc:docMk/>
            <pc:sldMk cId="865606007" sldId="279"/>
            <ac:spMk id="258" creationId="{736D9CFC-9097-A24D-87FB-63817C4C7728}"/>
          </ac:spMkLst>
        </pc:spChg>
        <pc:spChg chg="add del mod">
          <ac:chgData name="Oğuz Öztekin" userId="33c0df0f-d5fe-4bda-8f43-141ad7af67e3" providerId="ADAL" clId="{48B824AD-1B2A-47A8-8D92-6FE6E622A650}" dt="2024-12-16T09:18:39.911" v="20936"/>
          <ac:spMkLst>
            <pc:docMk/>
            <pc:sldMk cId="865606007" sldId="279"/>
            <ac:spMk id="258" creationId="{76551319-163C-2A61-08CD-EFB0A779F6B4}"/>
          </ac:spMkLst>
        </pc:spChg>
        <pc:spChg chg="add del mod">
          <ac:chgData name="Oğuz Öztekin" userId="33c0df0f-d5fe-4bda-8f43-141ad7af67e3" providerId="ADAL" clId="{48B824AD-1B2A-47A8-8D92-6FE6E622A650}" dt="2024-12-16T09:18:38.143" v="20671"/>
          <ac:spMkLst>
            <pc:docMk/>
            <pc:sldMk cId="865606007" sldId="279"/>
            <ac:spMk id="259" creationId="{79E40723-596B-EDE5-A47B-5680A83130AF}"/>
          </ac:spMkLst>
        </pc:spChg>
        <pc:spChg chg="add del mod">
          <ac:chgData name="Oğuz Öztekin" userId="33c0df0f-d5fe-4bda-8f43-141ad7af67e3" providerId="ADAL" clId="{48B824AD-1B2A-47A8-8D92-6FE6E622A650}" dt="2024-12-16T09:18:33.334" v="20268"/>
          <ac:spMkLst>
            <pc:docMk/>
            <pc:sldMk cId="865606007" sldId="279"/>
            <ac:spMk id="260" creationId="{3E820B8B-5F6B-374D-DB30-4A320F2D9774}"/>
          </ac:spMkLst>
        </pc:spChg>
        <pc:spChg chg="add del mod modVis">
          <ac:chgData name="Oğuz Öztekin" userId="33c0df0f-d5fe-4bda-8f43-141ad7af67e3" providerId="ADAL" clId="{48B824AD-1B2A-47A8-8D92-6FE6E622A650}" dt="2024-12-16T16:04:03.064" v="72923"/>
          <ac:spMkLst>
            <pc:docMk/>
            <pc:sldMk cId="865606007" sldId="279"/>
            <ac:spMk id="260" creationId="{F09AEC38-92B9-CD7E-590E-E89996445083}"/>
          </ac:spMkLst>
        </pc:spChg>
        <pc:spChg chg="add del mod">
          <ac:chgData name="Oğuz Öztekin" userId="33c0df0f-d5fe-4bda-8f43-141ad7af67e3" providerId="ADAL" clId="{48B824AD-1B2A-47A8-8D92-6FE6E622A650}" dt="2024-12-16T09:18:50.451" v="22094"/>
          <ac:spMkLst>
            <pc:docMk/>
            <pc:sldMk cId="865606007" sldId="279"/>
            <ac:spMk id="261" creationId="{730C57DF-7962-C050-9AFF-B9D015914CDA}"/>
          </ac:spMkLst>
        </pc:spChg>
        <pc:spChg chg="add del mod modVis">
          <ac:chgData name="Oğuz Öztekin" userId="33c0df0f-d5fe-4bda-8f43-141ad7af67e3" providerId="ADAL" clId="{48B824AD-1B2A-47A8-8D92-6FE6E622A650}" dt="2024-12-16T16:04:07.576" v="73043"/>
          <ac:spMkLst>
            <pc:docMk/>
            <pc:sldMk cId="865606007" sldId="279"/>
            <ac:spMk id="262" creationId="{2085DDF1-B63B-633C-E554-029D329620BE}"/>
          </ac:spMkLst>
        </pc:spChg>
        <pc:spChg chg="add del mod">
          <ac:chgData name="Oğuz Öztekin" userId="33c0df0f-d5fe-4bda-8f43-141ad7af67e3" providerId="ADAL" clId="{48B824AD-1B2A-47A8-8D92-6FE6E622A650}" dt="2024-12-16T09:18:49.187" v="21976"/>
          <ac:spMkLst>
            <pc:docMk/>
            <pc:sldMk cId="865606007" sldId="279"/>
            <ac:spMk id="262" creationId="{D28E5348-06A1-A268-E42D-20AB935E30F3}"/>
          </ac:spMkLst>
        </pc:spChg>
        <pc:spChg chg="add del mod">
          <ac:chgData name="Oğuz Öztekin" userId="33c0df0f-d5fe-4bda-8f43-141ad7af67e3" providerId="ADAL" clId="{48B824AD-1B2A-47A8-8D92-6FE6E622A650}" dt="2024-12-16T09:18:47.430" v="21856"/>
          <ac:spMkLst>
            <pc:docMk/>
            <pc:sldMk cId="865606007" sldId="279"/>
            <ac:spMk id="263" creationId="{7BBFAFE4-951A-80ED-D430-D1CE00444530}"/>
          </ac:spMkLst>
        </pc:spChg>
        <pc:spChg chg="add del mod modVis">
          <ac:chgData name="Oğuz Öztekin" userId="33c0df0f-d5fe-4bda-8f43-141ad7af67e3" providerId="ADAL" clId="{48B824AD-1B2A-47A8-8D92-6FE6E622A650}" dt="2024-12-16T16:04:12.079" v="73181"/>
          <ac:spMkLst>
            <pc:docMk/>
            <pc:sldMk cId="865606007" sldId="279"/>
            <ac:spMk id="264" creationId="{C39BC2E0-4D80-9260-1808-19E27FF69797}"/>
          </ac:spMkLst>
        </pc:spChg>
        <pc:spChg chg="add del mod">
          <ac:chgData name="Oğuz Öztekin" userId="33c0df0f-d5fe-4bda-8f43-141ad7af67e3" providerId="ADAL" clId="{48B824AD-1B2A-47A8-8D92-6FE6E622A650}" dt="2024-12-16T09:21:02.782" v="25856"/>
          <ac:spMkLst>
            <pc:docMk/>
            <pc:sldMk cId="865606007" sldId="279"/>
            <ac:spMk id="265" creationId="{D609B787-A8E5-F951-B717-ACD2F6AD7B4A}"/>
          </ac:spMkLst>
        </pc:spChg>
        <pc:spChg chg="add del mod modVis">
          <ac:chgData name="Oğuz Öztekin" userId="33c0df0f-d5fe-4bda-8f43-141ad7af67e3" providerId="ADAL" clId="{48B824AD-1B2A-47A8-8D92-6FE6E622A650}" dt="2024-12-16T16:04:18.015" v="73298"/>
          <ac:spMkLst>
            <pc:docMk/>
            <pc:sldMk cId="865606007" sldId="279"/>
            <ac:spMk id="266" creationId="{0A6D9034-3911-5029-F4BE-4DD4871145FA}"/>
          </ac:spMkLst>
        </pc:spChg>
        <pc:spChg chg="add del mod">
          <ac:chgData name="Oğuz Öztekin" userId="33c0df0f-d5fe-4bda-8f43-141ad7af67e3" providerId="ADAL" clId="{48B824AD-1B2A-47A8-8D92-6FE6E622A650}" dt="2024-12-16T09:21:02.783" v="25858"/>
          <ac:spMkLst>
            <pc:docMk/>
            <pc:sldMk cId="865606007" sldId="279"/>
            <ac:spMk id="266" creationId="{3D671472-0BAD-F0B0-D1D2-73928F24799F}"/>
          </ac:spMkLst>
        </pc:spChg>
        <pc:spChg chg="add del mod modVis">
          <ac:chgData name="Oğuz Öztekin" userId="33c0df0f-d5fe-4bda-8f43-141ad7af67e3" providerId="ADAL" clId="{48B824AD-1B2A-47A8-8D92-6FE6E622A650}" dt="2024-12-16T09:18:11.061" v="19925"/>
          <ac:spMkLst>
            <pc:docMk/>
            <pc:sldMk cId="865606007" sldId="279"/>
            <ac:spMk id="267" creationId="{D63D5E16-4EDA-A165-4864-8FDBE9988EB4}"/>
          </ac:spMkLst>
        </pc:spChg>
        <pc:spChg chg="add del mod">
          <ac:chgData name="Oğuz Öztekin" userId="33c0df0f-d5fe-4bda-8f43-141ad7af67e3" providerId="ADAL" clId="{48B824AD-1B2A-47A8-8D92-6FE6E622A650}" dt="2024-12-16T16:27:50.007" v="104079"/>
          <ac:spMkLst>
            <pc:docMk/>
            <pc:sldMk cId="865606007" sldId="279"/>
            <ac:spMk id="268" creationId="{FBE4ED5D-0E05-77BA-2004-42FB4B9EA7BD}"/>
          </ac:spMkLst>
        </pc:spChg>
        <pc:spChg chg="add del mod">
          <ac:chgData name="Oğuz Öztekin" userId="33c0df0f-d5fe-4bda-8f43-141ad7af67e3" providerId="ADAL" clId="{48B824AD-1B2A-47A8-8D92-6FE6E622A650}" dt="2024-12-16T16:27:50.008" v="104081"/>
          <ac:spMkLst>
            <pc:docMk/>
            <pc:sldMk cId="865606007" sldId="279"/>
            <ac:spMk id="269" creationId="{B30F0261-9239-ED5F-A4CB-8E27C379B936}"/>
          </ac:spMkLst>
        </pc:spChg>
        <pc:spChg chg="add del mod">
          <ac:chgData name="Oğuz Öztekin" userId="33c0df0f-d5fe-4bda-8f43-141ad7af67e3" providerId="ADAL" clId="{48B824AD-1B2A-47A8-8D92-6FE6E622A650}" dt="2024-12-16T16:27:50.008" v="104083"/>
          <ac:spMkLst>
            <pc:docMk/>
            <pc:sldMk cId="865606007" sldId="279"/>
            <ac:spMk id="270" creationId="{935541BB-05E9-9782-BD98-3C428806426C}"/>
          </ac:spMkLst>
        </pc:spChg>
        <pc:spChg chg="add del mod">
          <ac:chgData name="Oğuz Öztekin" userId="33c0df0f-d5fe-4bda-8f43-141ad7af67e3" providerId="ADAL" clId="{48B824AD-1B2A-47A8-8D92-6FE6E622A650}" dt="2024-12-16T16:27:50.009" v="104084"/>
          <ac:spMkLst>
            <pc:docMk/>
            <pc:sldMk cId="865606007" sldId="279"/>
            <ac:spMk id="271" creationId="{E7B10EEB-7F37-4017-5F1F-BBF1BAEE4C3C}"/>
          </ac:spMkLst>
        </pc:spChg>
        <pc:spChg chg="add del mod">
          <ac:chgData name="Oğuz Öztekin" userId="33c0df0f-d5fe-4bda-8f43-141ad7af67e3" providerId="ADAL" clId="{48B824AD-1B2A-47A8-8D92-6FE6E622A650}" dt="2024-12-16T16:27:50.005" v="104071"/>
          <ac:spMkLst>
            <pc:docMk/>
            <pc:sldMk cId="865606007" sldId="279"/>
            <ac:spMk id="272" creationId="{9A761D58-F679-88F9-8494-38B59BF5FAAA}"/>
          </ac:spMkLst>
        </pc:spChg>
        <pc:spChg chg="add del mod">
          <ac:chgData name="Oğuz Öztekin" userId="33c0df0f-d5fe-4bda-8f43-141ad7af67e3" providerId="ADAL" clId="{48B824AD-1B2A-47A8-8D92-6FE6E622A650}" dt="2024-12-16T16:27:50.009" v="104086"/>
          <ac:spMkLst>
            <pc:docMk/>
            <pc:sldMk cId="865606007" sldId="279"/>
            <ac:spMk id="273" creationId="{31631A2C-A0A9-C0B7-13CC-8629F57D0AFD}"/>
          </ac:spMkLst>
        </pc:spChg>
        <pc:spChg chg="add del mod">
          <ac:chgData name="Oğuz Öztekin" userId="33c0df0f-d5fe-4bda-8f43-141ad7af67e3" providerId="ADAL" clId="{48B824AD-1B2A-47A8-8D92-6FE6E622A650}" dt="2024-12-16T16:27:50.010" v="104089"/>
          <ac:spMkLst>
            <pc:docMk/>
            <pc:sldMk cId="865606007" sldId="279"/>
            <ac:spMk id="274" creationId="{A7632757-36BE-6160-CC64-3FA634A443A7}"/>
          </ac:spMkLst>
        </pc:spChg>
        <pc:spChg chg="add del mod">
          <ac:chgData name="Oğuz Öztekin" userId="33c0df0f-d5fe-4bda-8f43-141ad7af67e3" providerId="ADAL" clId="{48B824AD-1B2A-47A8-8D92-6FE6E622A650}" dt="2024-12-16T16:27:50.010" v="104090"/>
          <ac:spMkLst>
            <pc:docMk/>
            <pc:sldMk cId="865606007" sldId="279"/>
            <ac:spMk id="275" creationId="{E6A566E6-11B1-CB1C-30C7-09F2C26943BE}"/>
          </ac:spMkLst>
        </pc:spChg>
        <pc:spChg chg="add del mod">
          <ac:chgData name="Oğuz Öztekin" userId="33c0df0f-d5fe-4bda-8f43-141ad7af67e3" providerId="ADAL" clId="{48B824AD-1B2A-47A8-8D92-6FE6E622A650}" dt="2024-12-16T16:27:50.011" v="104092"/>
          <ac:spMkLst>
            <pc:docMk/>
            <pc:sldMk cId="865606007" sldId="279"/>
            <ac:spMk id="276" creationId="{501973E8-D1D2-4CAB-5800-54959F54006D}"/>
          </ac:spMkLst>
        </pc:spChg>
        <pc:spChg chg="add del mod">
          <ac:chgData name="Oğuz Öztekin" userId="33c0df0f-d5fe-4bda-8f43-141ad7af67e3" providerId="ADAL" clId="{48B824AD-1B2A-47A8-8D92-6FE6E622A650}" dt="2024-12-16T16:27:50.011" v="104094"/>
          <ac:spMkLst>
            <pc:docMk/>
            <pc:sldMk cId="865606007" sldId="279"/>
            <ac:spMk id="277" creationId="{209FDB8B-3262-7872-8CB4-20F4F0991273}"/>
          </ac:spMkLst>
        </pc:spChg>
        <pc:spChg chg="add del mod">
          <ac:chgData name="Oğuz Öztekin" userId="33c0df0f-d5fe-4bda-8f43-141ad7af67e3" providerId="ADAL" clId="{48B824AD-1B2A-47A8-8D92-6FE6E622A650}" dt="2024-12-16T16:27:50.003" v="104062"/>
          <ac:spMkLst>
            <pc:docMk/>
            <pc:sldMk cId="865606007" sldId="279"/>
            <ac:spMk id="278" creationId="{1707EC08-CE4E-371D-6359-3E30AAEB5A51}"/>
          </ac:spMkLst>
        </pc:spChg>
        <pc:spChg chg="add del mod">
          <ac:chgData name="Oğuz Öztekin" userId="33c0df0f-d5fe-4bda-8f43-141ad7af67e3" providerId="ADAL" clId="{48B824AD-1B2A-47A8-8D92-6FE6E622A650}" dt="2024-12-16T16:27:50.003" v="104063"/>
          <ac:spMkLst>
            <pc:docMk/>
            <pc:sldMk cId="865606007" sldId="279"/>
            <ac:spMk id="279" creationId="{199A404E-7DB9-753B-FEA1-68DFCCD7D240}"/>
          </ac:spMkLst>
        </pc:spChg>
        <pc:spChg chg="add del mod">
          <ac:chgData name="Oğuz Öztekin" userId="33c0df0f-d5fe-4bda-8f43-141ad7af67e3" providerId="ADAL" clId="{48B824AD-1B2A-47A8-8D92-6FE6E622A650}" dt="2024-12-16T16:27:50.004" v="104065"/>
          <ac:spMkLst>
            <pc:docMk/>
            <pc:sldMk cId="865606007" sldId="279"/>
            <ac:spMk id="280" creationId="{AFF845FA-EF97-70C5-0296-71501CE00308}"/>
          </ac:spMkLst>
        </pc:spChg>
        <pc:spChg chg="add del mod">
          <ac:chgData name="Oğuz Öztekin" userId="33c0df0f-d5fe-4bda-8f43-141ad7af67e3" providerId="ADAL" clId="{48B824AD-1B2A-47A8-8D92-6FE6E622A650}" dt="2024-12-16T16:27:50.004" v="104066"/>
          <ac:spMkLst>
            <pc:docMk/>
            <pc:sldMk cId="865606007" sldId="279"/>
            <ac:spMk id="281" creationId="{561910B6-E590-EBD4-5638-F78BB476EF5F}"/>
          </ac:spMkLst>
        </pc:spChg>
        <pc:spChg chg="add del mod">
          <ac:chgData name="Oğuz Öztekin" userId="33c0df0f-d5fe-4bda-8f43-141ad7af67e3" providerId="ADAL" clId="{48B824AD-1B2A-47A8-8D92-6FE6E622A650}" dt="2024-12-16T16:27:50.004" v="104068"/>
          <ac:spMkLst>
            <pc:docMk/>
            <pc:sldMk cId="865606007" sldId="279"/>
            <ac:spMk id="282" creationId="{CBDDD2CD-B828-CC72-1462-C3023BBE7043}"/>
          </ac:spMkLst>
        </pc:spChg>
        <pc:spChg chg="add del mod">
          <ac:chgData name="Oğuz Öztekin" userId="33c0df0f-d5fe-4bda-8f43-141ad7af67e3" providerId="ADAL" clId="{48B824AD-1B2A-47A8-8D92-6FE6E622A650}" dt="2024-12-16T16:27:50.005" v="104069"/>
          <ac:spMkLst>
            <pc:docMk/>
            <pc:sldMk cId="865606007" sldId="279"/>
            <ac:spMk id="283" creationId="{169A6DC9-6AD6-5504-B4AD-2A062D56FC19}"/>
          </ac:spMkLst>
        </pc:spChg>
        <pc:spChg chg="add del mod">
          <ac:chgData name="Oğuz Öztekin" userId="33c0df0f-d5fe-4bda-8f43-141ad7af67e3" providerId="ADAL" clId="{48B824AD-1B2A-47A8-8D92-6FE6E622A650}" dt="2024-12-16T16:27:50.010" v="104088"/>
          <ac:spMkLst>
            <pc:docMk/>
            <pc:sldMk cId="865606007" sldId="279"/>
            <ac:spMk id="284" creationId="{633A9120-A936-C358-A7F3-897FE625A055}"/>
          </ac:spMkLst>
        </pc:spChg>
        <pc:spChg chg="add del mod">
          <ac:chgData name="Oğuz Öztekin" userId="33c0df0f-d5fe-4bda-8f43-141ad7af67e3" providerId="ADAL" clId="{48B824AD-1B2A-47A8-8D92-6FE6E622A650}" dt="2024-12-16T16:27:50.006" v="104072"/>
          <ac:spMkLst>
            <pc:docMk/>
            <pc:sldMk cId="865606007" sldId="279"/>
            <ac:spMk id="285" creationId="{AD7D3068-AB11-3035-7987-FC9E20FC3289}"/>
          </ac:spMkLst>
        </pc:spChg>
        <pc:spChg chg="add del mod">
          <ac:chgData name="Oğuz Öztekin" userId="33c0df0f-d5fe-4bda-8f43-141ad7af67e3" providerId="ADAL" clId="{48B824AD-1B2A-47A8-8D92-6FE6E622A650}" dt="2024-12-16T16:27:50.006" v="104074"/>
          <ac:spMkLst>
            <pc:docMk/>
            <pc:sldMk cId="865606007" sldId="279"/>
            <ac:spMk id="286" creationId="{44F948F9-4B3E-A178-B651-47E82D5CF58A}"/>
          </ac:spMkLst>
        </pc:spChg>
        <pc:spChg chg="add del mod">
          <ac:chgData name="Oğuz Öztekin" userId="33c0df0f-d5fe-4bda-8f43-141ad7af67e3" providerId="ADAL" clId="{48B824AD-1B2A-47A8-8D92-6FE6E622A650}" dt="2024-12-16T16:27:50.006" v="104075"/>
          <ac:spMkLst>
            <pc:docMk/>
            <pc:sldMk cId="865606007" sldId="279"/>
            <ac:spMk id="287" creationId="{2C852723-8FB9-A408-4818-683E6E043F20}"/>
          </ac:spMkLst>
        </pc:spChg>
        <pc:spChg chg="add del mod modVis">
          <ac:chgData name="Oğuz Öztekin" userId="33c0df0f-d5fe-4bda-8f43-141ad7af67e3" providerId="ADAL" clId="{48B824AD-1B2A-47A8-8D92-6FE6E622A650}" dt="2024-12-16T09:18:30.510" v="20061"/>
          <ac:spMkLst>
            <pc:docMk/>
            <pc:sldMk cId="865606007" sldId="279"/>
            <ac:spMk id="289" creationId="{2F11B46C-3835-17F5-E0F2-B23AC790DAEA}"/>
          </ac:spMkLst>
        </pc:spChg>
        <pc:spChg chg="add del mod modVis">
          <ac:chgData name="Oğuz Öztekin" userId="33c0df0f-d5fe-4bda-8f43-141ad7af67e3" providerId="ADAL" clId="{48B824AD-1B2A-47A8-8D92-6FE6E622A650}" dt="2024-12-16T09:18:32.486" v="20200"/>
          <ac:spMkLst>
            <pc:docMk/>
            <pc:sldMk cId="865606007" sldId="279"/>
            <ac:spMk id="291" creationId="{D55E4DAB-9204-70D2-9691-05A217A7DC7A}"/>
          </ac:spMkLst>
        </pc:spChg>
        <pc:spChg chg="add del mod modVis">
          <ac:chgData name="Oğuz Öztekin" userId="33c0df0f-d5fe-4bda-8f43-141ad7af67e3" providerId="ADAL" clId="{48B824AD-1B2A-47A8-8D92-6FE6E622A650}" dt="2024-12-16T09:18:33.375" v="20336"/>
          <ac:spMkLst>
            <pc:docMk/>
            <pc:sldMk cId="865606007" sldId="279"/>
            <ac:spMk id="293" creationId="{F7A90ACF-6439-A207-C3ED-D0D3C982244D}"/>
          </ac:spMkLst>
        </pc:spChg>
        <pc:spChg chg="add del mod modVis">
          <ac:chgData name="Oğuz Öztekin" userId="33c0df0f-d5fe-4bda-8f43-141ad7af67e3" providerId="ADAL" clId="{48B824AD-1B2A-47A8-8D92-6FE6E622A650}" dt="2024-12-16T09:18:34.757" v="20470"/>
          <ac:spMkLst>
            <pc:docMk/>
            <pc:sldMk cId="865606007" sldId="279"/>
            <ac:spMk id="295" creationId="{8BBDE2D4-1334-A77E-E870-86135051B27B}"/>
          </ac:spMkLst>
        </pc:spChg>
        <pc:spChg chg="add del mod modVis">
          <ac:chgData name="Oğuz Öztekin" userId="33c0df0f-d5fe-4bda-8f43-141ad7af67e3" providerId="ADAL" clId="{48B824AD-1B2A-47A8-8D92-6FE6E622A650}" dt="2024-12-16T09:18:35.637" v="20607"/>
          <ac:spMkLst>
            <pc:docMk/>
            <pc:sldMk cId="865606007" sldId="279"/>
            <ac:spMk id="297" creationId="{D3F59F2A-0C51-6BF8-EE8D-0F967B2BB9AA}"/>
          </ac:spMkLst>
        </pc:spChg>
        <pc:spChg chg="add del mod modVis">
          <ac:chgData name="Oğuz Öztekin" userId="33c0df0f-d5fe-4bda-8f43-141ad7af67e3" providerId="ADAL" clId="{48B824AD-1B2A-47A8-8D92-6FE6E622A650}" dt="2024-12-16T09:18:38.186" v="20741"/>
          <ac:spMkLst>
            <pc:docMk/>
            <pc:sldMk cId="865606007" sldId="279"/>
            <ac:spMk id="299" creationId="{240FE398-AF93-5F8C-3593-B0080D76D758}"/>
          </ac:spMkLst>
        </pc:spChg>
        <pc:spChg chg="add del mod modVis">
          <ac:chgData name="Oğuz Öztekin" userId="33c0df0f-d5fe-4bda-8f43-141ad7af67e3" providerId="ADAL" clId="{48B824AD-1B2A-47A8-8D92-6FE6E622A650}" dt="2024-12-16T09:18:39.089" v="20876"/>
          <ac:spMkLst>
            <pc:docMk/>
            <pc:sldMk cId="865606007" sldId="279"/>
            <ac:spMk id="301" creationId="{EE2984E0-FAE8-A753-4F24-8F1ED476F68F}"/>
          </ac:spMkLst>
        </pc:spChg>
        <pc:spChg chg="add del mod modVis">
          <ac:chgData name="Oğuz Öztekin" userId="33c0df0f-d5fe-4bda-8f43-141ad7af67e3" providerId="ADAL" clId="{48B824AD-1B2A-47A8-8D92-6FE6E622A650}" dt="2024-12-16T09:18:39.962" v="21008"/>
          <ac:spMkLst>
            <pc:docMk/>
            <pc:sldMk cId="865606007" sldId="279"/>
            <ac:spMk id="303" creationId="{84B9EB2E-76DD-9EFF-6406-2198AF63DECA}"/>
          </ac:spMkLst>
        </pc:spChg>
        <pc:spChg chg="add del mod modVis">
          <ac:chgData name="Oğuz Öztekin" userId="33c0df0f-d5fe-4bda-8f43-141ad7af67e3" providerId="ADAL" clId="{48B824AD-1B2A-47A8-8D92-6FE6E622A650}" dt="2024-12-16T09:18:40.900" v="21141"/>
          <ac:spMkLst>
            <pc:docMk/>
            <pc:sldMk cId="865606007" sldId="279"/>
            <ac:spMk id="305" creationId="{BC0C5A56-BE34-256A-B0C7-63AAC4324797}"/>
          </ac:spMkLst>
        </pc:spChg>
        <pc:spChg chg="add del mod modVis">
          <ac:chgData name="Oğuz Öztekin" userId="33c0df0f-d5fe-4bda-8f43-141ad7af67e3" providerId="ADAL" clId="{48B824AD-1B2A-47A8-8D92-6FE6E622A650}" dt="2024-12-16T09:18:42.179" v="21274"/>
          <ac:spMkLst>
            <pc:docMk/>
            <pc:sldMk cId="865606007" sldId="279"/>
            <ac:spMk id="307" creationId="{6DEDDF43-5F44-2B0E-4B2D-6826065C5E26}"/>
          </ac:spMkLst>
        </pc:spChg>
        <pc:spChg chg="add del mod modVis">
          <ac:chgData name="Oğuz Öztekin" userId="33c0df0f-d5fe-4bda-8f43-141ad7af67e3" providerId="ADAL" clId="{48B824AD-1B2A-47A8-8D92-6FE6E622A650}" dt="2024-12-16T09:18:43.385" v="21405"/>
          <ac:spMkLst>
            <pc:docMk/>
            <pc:sldMk cId="865606007" sldId="279"/>
            <ac:spMk id="309" creationId="{BB512A38-EF1E-8C36-E66C-46CF3D52363F}"/>
          </ac:spMkLst>
        </pc:spChg>
        <pc:spChg chg="add del mod modVis">
          <ac:chgData name="Oğuz Öztekin" userId="33c0df0f-d5fe-4bda-8f43-141ad7af67e3" providerId="ADAL" clId="{48B824AD-1B2A-47A8-8D92-6FE6E622A650}" dt="2024-12-16T09:18:44.320" v="21534"/>
          <ac:spMkLst>
            <pc:docMk/>
            <pc:sldMk cId="865606007" sldId="279"/>
            <ac:spMk id="311" creationId="{2F899AA9-863B-1E91-B549-2D9640E117F6}"/>
          </ac:spMkLst>
        </pc:spChg>
        <pc:spChg chg="add del mod modVis">
          <ac:chgData name="Oğuz Öztekin" userId="33c0df0f-d5fe-4bda-8f43-141ad7af67e3" providerId="ADAL" clId="{48B824AD-1B2A-47A8-8D92-6FE6E622A650}" dt="2024-12-16T09:18:44.971" v="21658"/>
          <ac:spMkLst>
            <pc:docMk/>
            <pc:sldMk cId="865606007" sldId="279"/>
            <ac:spMk id="313" creationId="{782A531E-AEC6-C3F0-8E68-A5D72AD4D564}"/>
          </ac:spMkLst>
        </pc:spChg>
        <pc:spChg chg="add del mod modVis">
          <ac:chgData name="Oğuz Öztekin" userId="33c0df0f-d5fe-4bda-8f43-141ad7af67e3" providerId="ADAL" clId="{48B824AD-1B2A-47A8-8D92-6FE6E622A650}" dt="2024-12-16T09:18:46.629" v="21783"/>
          <ac:spMkLst>
            <pc:docMk/>
            <pc:sldMk cId="865606007" sldId="279"/>
            <ac:spMk id="315" creationId="{4DB6A117-3FF4-4673-2B5D-58D08B2A153F}"/>
          </ac:spMkLst>
        </pc:spChg>
        <pc:spChg chg="add del mod modVis">
          <ac:chgData name="Oğuz Öztekin" userId="33c0df0f-d5fe-4bda-8f43-141ad7af67e3" providerId="ADAL" clId="{48B824AD-1B2A-47A8-8D92-6FE6E622A650}" dt="2024-12-16T09:18:47.462" v="21905"/>
          <ac:spMkLst>
            <pc:docMk/>
            <pc:sldMk cId="865606007" sldId="279"/>
            <ac:spMk id="317" creationId="{386A9D16-E1F1-FC61-17C9-ECBFEE0AE74B}"/>
          </ac:spMkLst>
        </pc:spChg>
        <pc:spChg chg="add del mod modVis">
          <ac:chgData name="Oğuz Öztekin" userId="33c0df0f-d5fe-4bda-8f43-141ad7af67e3" providerId="ADAL" clId="{48B824AD-1B2A-47A8-8D92-6FE6E622A650}" dt="2024-12-16T09:18:49.220" v="22029"/>
          <ac:spMkLst>
            <pc:docMk/>
            <pc:sldMk cId="865606007" sldId="279"/>
            <ac:spMk id="319" creationId="{E0251243-3946-7F78-3CF6-F6EFCE089C53}"/>
          </ac:spMkLst>
        </pc:spChg>
        <pc:spChg chg="add del mod modVis">
          <ac:chgData name="Oğuz Öztekin" userId="33c0df0f-d5fe-4bda-8f43-141ad7af67e3" providerId="ADAL" clId="{48B824AD-1B2A-47A8-8D92-6FE6E622A650}" dt="2024-12-16T09:18:50.483" v="22147"/>
          <ac:spMkLst>
            <pc:docMk/>
            <pc:sldMk cId="865606007" sldId="279"/>
            <ac:spMk id="321" creationId="{2B55FBF5-0EEB-B3FE-5E3D-A9633818BC1D}"/>
          </ac:spMkLst>
        </pc:spChg>
        <pc:spChg chg="add del mod modVis">
          <ac:chgData name="Oğuz Öztekin" userId="33c0df0f-d5fe-4bda-8f43-141ad7af67e3" providerId="ADAL" clId="{48B824AD-1B2A-47A8-8D92-6FE6E622A650}" dt="2024-12-16T09:20:22.070" v="24867"/>
          <ac:spMkLst>
            <pc:docMk/>
            <pc:sldMk cId="865606007" sldId="279"/>
            <ac:spMk id="323" creationId="{85442CD1-808D-CF36-CECD-6245F7134D45}"/>
          </ac:spMkLst>
        </pc:spChg>
        <pc:spChg chg="add del mod modVis">
          <ac:chgData name="Oğuz Öztekin" userId="33c0df0f-d5fe-4bda-8f43-141ad7af67e3" providerId="ADAL" clId="{48B824AD-1B2A-47A8-8D92-6FE6E622A650}" dt="2024-12-16T09:20:21.443" v="24831"/>
          <ac:spMkLst>
            <pc:docMk/>
            <pc:sldMk cId="865606007" sldId="279"/>
            <ac:spMk id="325" creationId="{A5CF2C2C-757E-86BE-41CA-3711D779363A}"/>
          </ac:spMkLst>
        </pc:spChg>
        <pc:spChg chg="add del mod modVis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27" creationId="{52EBB284-9510-548C-E43C-33A7ABF4C2B5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28" creationId="{27416712-5C1C-E0A3-C3E0-55A9A2AF89DC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29" creationId="{EC1410E7-54F3-A3A5-CCA7-C834480820E2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0" creationId="{A44449D6-45B1-3D81-AB2D-DA7CF67C0FFC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1" creationId="{3631320D-5653-B487-A0DC-B0DD6F2FD194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2" creationId="{A3C79B52-403A-0AF6-2B92-D28FC1FA5481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3" creationId="{CFC458A1-021C-EEDD-F100-478D7A872542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4" creationId="{D663A7A8-280F-FB1C-6AAB-68BFD87B37D6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5" creationId="{29897222-FED7-7FDB-C42D-5ADFA98D868E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6" creationId="{C8450166-624F-CD3C-462E-332105C0B6E8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7" creationId="{B152032D-8E1B-92F1-D82C-F224154688F0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8" creationId="{40E8DCBE-7F21-24AC-119D-35CBF660E1B3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9" creationId="{3AEC1248-EAB3-D424-05ED-A71D602BD87D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0" creationId="{1313D626-2680-EE02-226A-04D50005106D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1" creationId="{5F714972-F87D-37B9-69D9-B9401A006DF5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2" creationId="{AB614AE2-C476-4D72-65FB-2FB55A3CA9D0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3" creationId="{AE4F4A17-30F4-EBE7-10AB-4C8C29D25F89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4" creationId="{97AF392B-C2DC-2B05-8266-41B6FF17E3DD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5" creationId="{7318B64D-74FC-D8C2-EADF-AFA18F9D268C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6" creationId="{1538A5D0-07DF-08CC-21FE-4A7AE9D26E94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7" creationId="{13483A34-5B08-2C74-12DD-FDABA66051EC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8" creationId="{B53A3778-6B0D-3231-A423-94647500619B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9" creationId="{98ED3CD4-CAF4-89E8-DA74-BE811D6FE4D2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0" creationId="{B5695A8E-BA06-049F-F9AF-B1EBE9010267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1" creationId="{F30ED769-19BA-4895-FE71-7F01201FE106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2" creationId="{1B107CD2-5623-CDBD-16A8-5B5B8CCE2F4D}"/>
          </ac:spMkLst>
        </pc:spChg>
        <pc:spChg chg="add del mod modVis">
          <ac:chgData name="Oğuz Öztekin" userId="33c0df0f-d5fe-4bda-8f43-141ad7af67e3" providerId="ADAL" clId="{48B824AD-1B2A-47A8-8D92-6FE6E622A650}" dt="2024-12-16T16:05:59.477" v="77265"/>
          <ac:spMkLst>
            <pc:docMk/>
            <pc:sldMk cId="865606007" sldId="279"/>
            <ac:spMk id="352" creationId="{3AFB8238-F1F4-37B5-9A44-26E40CF0A048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3" creationId="{92398DD5-AC3C-3A57-8C2B-C6791FABF054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4" creationId="{BFFBF59A-9326-BEA9-E2F3-BBB718B9111B}"/>
          </ac:spMkLst>
        </pc:spChg>
        <pc:spChg chg="add del mod modVis">
          <ac:chgData name="Oğuz Öztekin" userId="33c0df0f-d5fe-4bda-8f43-141ad7af67e3" providerId="ADAL" clId="{48B824AD-1B2A-47A8-8D92-6FE6E622A650}" dt="2024-12-16T16:06:05.451" v="77394"/>
          <ac:spMkLst>
            <pc:docMk/>
            <pc:sldMk cId="865606007" sldId="279"/>
            <ac:spMk id="354" creationId="{E86C4054-4C86-4F80-B16A-0B7EB822C020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5" creationId="{23C0643D-8100-C2FE-8DA8-7B64ABB57142}"/>
          </ac:spMkLst>
        </pc:spChg>
        <pc:spChg chg="add del mod modVis">
          <ac:chgData name="Oğuz Öztekin" userId="33c0df0f-d5fe-4bda-8f43-141ad7af67e3" providerId="ADAL" clId="{48B824AD-1B2A-47A8-8D92-6FE6E622A650}" dt="2024-12-16T16:06:06.978" v="77515"/>
          <ac:spMkLst>
            <pc:docMk/>
            <pc:sldMk cId="865606007" sldId="279"/>
            <ac:spMk id="356" creationId="{298E4D88-F775-06C2-B45E-AA7CDF350762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6" creationId="{E0321EA6-875A-8A2D-FDED-FE4B5881B52F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7" creationId="{3AC23148-906E-2403-B001-F594BC0B2C07}"/>
          </ac:spMkLst>
        </pc:spChg>
        <pc:spChg chg="add del mod modVis">
          <ac:chgData name="Oğuz Öztekin" userId="33c0df0f-d5fe-4bda-8f43-141ad7af67e3" providerId="ADAL" clId="{48B824AD-1B2A-47A8-8D92-6FE6E622A650}" dt="2024-12-16T16:06:29.856" v="77701"/>
          <ac:spMkLst>
            <pc:docMk/>
            <pc:sldMk cId="865606007" sldId="279"/>
            <ac:spMk id="358" creationId="{770B5A4E-5D06-894E-F3F7-BAB1EB74E0D3}"/>
          </ac:spMkLst>
        </pc:spChg>
        <pc:spChg chg="add del mod modVis">
          <ac:chgData name="Oğuz Öztekin" userId="33c0df0f-d5fe-4bda-8f43-141ad7af67e3" providerId="ADAL" clId="{48B824AD-1B2A-47A8-8D92-6FE6E622A650}" dt="2024-12-16T09:20:29.643" v="25327"/>
          <ac:spMkLst>
            <pc:docMk/>
            <pc:sldMk cId="865606007" sldId="279"/>
            <ac:spMk id="359" creationId="{0B970FB6-F9DB-7AA8-B9C4-C7701CD6B817}"/>
          </ac:spMkLst>
        </pc:spChg>
        <pc:spChg chg="add del mod modVis">
          <ac:chgData name="Oğuz Öztekin" userId="33c0df0f-d5fe-4bda-8f43-141ad7af67e3" providerId="ADAL" clId="{48B824AD-1B2A-47A8-8D92-6FE6E622A650}" dt="2024-12-16T16:06:36.769" v="77961"/>
          <ac:spMkLst>
            <pc:docMk/>
            <pc:sldMk cId="865606007" sldId="279"/>
            <ac:spMk id="361" creationId="{09E30F2A-1CC0-E8EF-6FA4-39E0E67937B6}"/>
          </ac:spMkLst>
        </pc:spChg>
        <pc:spChg chg="add del mod modVis">
          <ac:chgData name="Oğuz Öztekin" userId="33c0df0f-d5fe-4bda-8f43-141ad7af67e3" providerId="ADAL" clId="{48B824AD-1B2A-47A8-8D92-6FE6E622A650}" dt="2024-12-16T09:20:35.527" v="25737"/>
          <ac:spMkLst>
            <pc:docMk/>
            <pc:sldMk cId="865606007" sldId="279"/>
            <ac:spMk id="361" creationId="{B9C36206-5BA5-551A-DB62-B0297BD41422}"/>
          </ac:spMkLst>
        </pc:spChg>
        <pc:spChg chg="add del mod">
          <ac:chgData name="Oğuz Öztekin" userId="33c0df0f-d5fe-4bda-8f43-141ad7af67e3" providerId="ADAL" clId="{48B824AD-1B2A-47A8-8D92-6FE6E622A650}" dt="2024-12-16T16:06:45.624" v="78276"/>
          <ac:spMkLst>
            <pc:docMk/>
            <pc:sldMk cId="865606007" sldId="279"/>
            <ac:spMk id="362" creationId="{C561AEB2-9E5F-39B6-C954-5F0E50A3BDE5}"/>
          </ac:spMkLst>
        </pc:spChg>
        <pc:spChg chg="add del mod modVis">
          <ac:chgData name="Oğuz Öztekin" userId="33c0df0f-d5fe-4bda-8f43-141ad7af67e3" providerId="ADAL" clId="{48B824AD-1B2A-47A8-8D92-6FE6E622A650}" dt="2024-12-16T09:20:37.526" v="25853"/>
          <ac:spMkLst>
            <pc:docMk/>
            <pc:sldMk cId="865606007" sldId="279"/>
            <ac:spMk id="363" creationId="{02A1EDC8-C2A3-84E0-B28D-D13BDDC4425C}"/>
          </ac:spMkLst>
        </pc:spChg>
        <pc:spChg chg="add del mod modVis">
          <ac:chgData name="Oğuz Öztekin" userId="33c0df0f-d5fe-4bda-8f43-141ad7af67e3" providerId="ADAL" clId="{48B824AD-1B2A-47A8-8D92-6FE6E622A650}" dt="2024-12-16T16:06:42.985" v="78084"/>
          <ac:spMkLst>
            <pc:docMk/>
            <pc:sldMk cId="865606007" sldId="279"/>
            <ac:spMk id="364" creationId="{1626FF3B-DBB0-8D96-2EF9-CB232BFFA0D5}"/>
          </ac:spMkLst>
        </pc:spChg>
        <pc:spChg chg="add del mod modVis">
          <ac:chgData name="Oğuz Öztekin" userId="33c0df0f-d5fe-4bda-8f43-141ad7af67e3" providerId="ADAL" clId="{48B824AD-1B2A-47A8-8D92-6FE6E622A650}" dt="2024-12-16T09:21:02.880" v="26001"/>
          <ac:spMkLst>
            <pc:docMk/>
            <pc:sldMk cId="865606007" sldId="279"/>
            <ac:spMk id="365" creationId="{D249C34E-F6BA-ED1E-12F7-20572D543436}"/>
          </ac:spMkLst>
        </pc:spChg>
        <pc:spChg chg="add del mod modVis">
          <ac:chgData name="Oğuz Öztekin" userId="33c0df0f-d5fe-4bda-8f43-141ad7af67e3" providerId="ADAL" clId="{48B824AD-1B2A-47A8-8D92-6FE6E622A650}" dt="2024-12-16T16:06:43.591" v="78205"/>
          <ac:spMkLst>
            <pc:docMk/>
            <pc:sldMk cId="865606007" sldId="279"/>
            <ac:spMk id="367" creationId="{8BC99FFB-31D0-EACC-7CBA-30BF1CCF1FFE}"/>
          </ac:spMkLst>
        </pc:spChg>
        <pc:spChg chg="add del mod modVis">
          <ac:chgData name="Oğuz Öztekin" userId="33c0df0f-d5fe-4bda-8f43-141ad7af67e3" providerId="ADAL" clId="{48B824AD-1B2A-47A8-8D92-6FE6E622A650}" dt="2024-12-16T16:06:45.652" v="78323"/>
          <ac:spMkLst>
            <pc:docMk/>
            <pc:sldMk cId="865606007" sldId="279"/>
            <ac:spMk id="369" creationId="{76E4FB26-976C-5416-4034-4B5B14AD5C44}"/>
          </ac:spMkLst>
        </pc:spChg>
        <pc:spChg chg="add del mod modVis">
          <ac:chgData name="Oğuz Öztekin" userId="33c0df0f-d5fe-4bda-8f43-141ad7af67e3" providerId="ADAL" clId="{48B824AD-1B2A-47A8-8D92-6FE6E622A650}" dt="2024-12-16T16:06:50.924" v="78495"/>
          <ac:spMkLst>
            <pc:docMk/>
            <pc:sldMk cId="865606007" sldId="279"/>
            <ac:spMk id="371" creationId="{EEA8EB58-BE49-13A4-6F66-D244EE22CB96}"/>
          </ac:spMkLst>
        </pc:spChg>
        <pc:spChg chg="add mod">
          <ac:chgData name="Oğuz Öztekin" userId="33c0df0f-d5fe-4bda-8f43-141ad7af67e3" providerId="ADAL" clId="{48B824AD-1B2A-47A8-8D92-6FE6E622A650}" dt="2024-12-16T16:27:50.615" v="104131"/>
          <ac:spMkLst>
            <pc:docMk/>
            <pc:sldMk cId="865606007" sldId="279"/>
            <ac:spMk id="372" creationId="{310E6C84-2E28-BE0C-0F90-839A3482CBF3}"/>
          </ac:spMkLst>
        </pc:spChg>
        <pc:spChg chg="add del mod modVis">
          <ac:chgData name="Oğuz Öztekin" userId="33c0df0f-d5fe-4bda-8f43-141ad7af67e3" providerId="ADAL" clId="{48B824AD-1B2A-47A8-8D92-6FE6E622A650}" dt="2024-12-16T16:07:00.528" v="78627"/>
          <ac:spMkLst>
            <pc:docMk/>
            <pc:sldMk cId="865606007" sldId="279"/>
            <ac:spMk id="374" creationId="{E61B1019-57EE-55FA-EFBC-38BEDC8F4E0B}"/>
          </ac:spMkLst>
        </pc:spChg>
        <pc:spChg chg="add del mod modVis">
          <ac:chgData name="Oğuz Öztekin" userId="33c0df0f-d5fe-4bda-8f43-141ad7af67e3" providerId="ADAL" clId="{48B824AD-1B2A-47A8-8D92-6FE6E622A650}" dt="2024-12-16T16:07:12.373" v="78751"/>
          <ac:spMkLst>
            <pc:docMk/>
            <pc:sldMk cId="865606007" sldId="279"/>
            <ac:spMk id="376" creationId="{C21517C1-BD9A-1337-283F-26066342CA0D}"/>
          </ac:spMkLst>
        </pc:spChg>
        <pc:spChg chg="add del mod modVis">
          <ac:chgData name="Oğuz Öztekin" userId="33c0df0f-d5fe-4bda-8f43-141ad7af67e3" providerId="ADAL" clId="{48B824AD-1B2A-47A8-8D92-6FE6E622A650}" dt="2024-12-16T16:07:17.423" v="78876"/>
          <ac:spMkLst>
            <pc:docMk/>
            <pc:sldMk cId="865606007" sldId="279"/>
            <ac:spMk id="378" creationId="{F27CD09B-D9CF-F522-2B56-918EFF5EA9BA}"/>
          </ac:spMkLst>
        </pc:spChg>
        <pc:spChg chg="add del mod modVis">
          <ac:chgData name="Oğuz Öztekin" userId="33c0df0f-d5fe-4bda-8f43-141ad7af67e3" providerId="ADAL" clId="{48B824AD-1B2A-47A8-8D92-6FE6E622A650}" dt="2024-12-16T16:07:24.268" v="78999"/>
          <ac:spMkLst>
            <pc:docMk/>
            <pc:sldMk cId="865606007" sldId="279"/>
            <ac:spMk id="380" creationId="{9A166C76-5D15-EF72-7E3F-AF1E8EFB2153}"/>
          </ac:spMkLst>
        </pc:spChg>
        <pc:spChg chg="add del mod modVis">
          <ac:chgData name="Oğuz Öztekin" userId="33c0df0f-d5fe-4bda-8f43-141ad7af67e3" providerId="ADAL" clId="{48B824AD-1B2A-47A8-8D92-6FE6E622A650}" dt="2024-12-16T16:07:25.293" v="79122"/>
          <ac:spMkLst>
            <pc:docMk/>
            <pc:sldMk cId="865606007" sldId="279"/>
            <ac:spMk id="382" creationId="{2118270E-9277-31C8-C3D6-3EF839FE812D}"/>
          </ac:spMkLst>
        </pc:spChg>
        <pc:spChg chg="add mod">
          <ac:chgData name="Oğuz Öztekin" userId="33c0df0f-d5fe-4bda-8f43-141ad7af67e3" providerId="ADAL" clId="{48B824AD-1B2A-47A8-8D92-6FE6E622A650}" dt="2024-12-16T16:27:49.999" v="104050"/>
          <ac:spMkLst>
            <pc:docMk/>
            <pc:sldMk cId="865606007" sldId="279"/>
            <ac:spMk id="384" creationId="{A7E0EA48-A134-72AC-D2F5-349473F73309}"/>
          </ac:spMkLst>
        </pc:spChg>
        <pc:spChg chg="add mod">
          <ac:chgData name="Oğuz Öztekin" userId="33c0df0f-d5fe-4bda-8f43-141ad7af67e3" providerId="ADAL" clId="{48B824AD-1B2A-47A8-8D92-6FE6E622A650}" dt="2024-12-16T16:27:50" v="104051"/>
          <ac:spMkLst>
            <pc:docMk/>
            <pc:sldMk cId="865606007" sldId="279"/>
            <ac:spMk id="385" creationId="{8D65F5A7-74B0-2F96-F32A-68842753474B}"/>
          </ac:spMkLst>
        </pc:spChg>
        <pc:spChg chg="add mod">
          <ac:chgData name="Oğuz Öztekin" userId="33c0df0f-d5fe-4bda-8f43-141ad7af67e3" providerId="ADAL" clId="{48B824AD-1B2A-47A8-8D92-6FE6E622A650}" dt="2024-12-16T16:27:50" v="104052"/>
          <ac:spMkLst>
            <pc:docMk/>
            <pc:sldMk cId="865606007" sldId="279"/>
            <ac:spMk id="386" creationId="{352073B7-1C94-1BF7-CBC6-F74F1D0780AB}"/>
          </ac:spMkLst>
        </pc:spChg>
        <pc:spChg chg="add mod">
          <ac:chgData name="Oğuz Öztekin" userId="33c0df0f-d5fe-4bda-8f43-141ad7af67e3" providerId="ADAL" clId="{48B824AD-1B2A-47A8-8D92-6FE6E622A650}" dt="2024-12-16T16:27:50" v="104053"/>
          <ac:spMkLst>
            <pc:docMk/>
            <pc:sldMk cId="865606007" sldId="279"/>
            <ac:spMk id="387" creationId="{0BCA465B-D73D-F04D-7B72-6C51076C4F8F}"/>
          </ac:spMkLst>
        </pc:spChg>
        <pc:spChg chg="add mod">
          <ac:chgData name="Oğuz Öztekin" userId="33c0df0f-d5fe-4bda-8f43-141ad7af67e3" providerId="ADAL" clId="{48B824AD-1B2A-47A8-8D92-6FE6E622A650}" dt="2024-12-16T16:27:50.002" v="104058"/>
          <ac:spMkLst>
            <pc:docMk/>
            <pc:sldMk cId="865606007" sldId="279"/>
            <ac:spMk id="388" creationId="{0883C35F-F05A-3E16-E2E0-F33929389B6B}"/>
          </ac:spMkLst>
        </pc:spChg>
        <pc:spChg chg="add mod">
          <ac:chgData name="Oğuz Öztekin" userId="33c0df0f-d5fe-4bda-8f43-141ad7af67e3" providerId="ADAL" clId="{48B824AD-1B2A-47A8-8D92-6FE6E622A650}" dt="2024-12-16T16:27:50.001" v="104054"/>
          <ac:spMkLst>
            <pc:docMk/>
            <pc:sldMk cId="865606007" sldId="279"/>
            <ac:spMk id="389" creationId="{0FCDB1E5-052A-CD89-48B7-B611DA4C4447}"/>
          </ac:spMkLst>
        </pc:spChg>
        <pc:spChg chg="add mod">
          <ac:chgData name="Oğuz Öztekin" userId="33c0df0f-d5fe-4bda-8f43-141ad7af67e3" providerId="ADAL" clId="{48B824AD-1B2A-47A8-8D92-6FE6E622A650}" dt="2024-12-16T16:27:50.001" v="104055"/>
          <ac:spMkLst>
            <pc:docMk/>
            <pc:sldMk cId="865606007" sldId="279"/>
            <ac:spMk id="390" creationId="{A12D6AB6-5831-0596-8EFC-55206B9335C9}"/>
          </ac:spMkLst>
        </pc:spChg>
        <pc:spChg chg="add mod">
          <ac:chgData name="Oğuz Öztekin" userId="33c0df0f-d5fe-4bda-8f43-141ad7af67e3" providerId="ADAL" clId="{48B824AD-1B2A-47A8-8D92-6FE6E622A650}" dt="2024-12-16T16:27:50.001" v="104056"/>
          <ac:spMkLst>
            <pc:docMk/>
            <pc:sldMk cId="865606007" sldId="279"/>
            <ac:spMk id="391" creationId="{7100CBBA-DA57-09D1-022C-620123F82764}"/>
          </ac:spMkLst>
        </pc:spChg>
        <pc:spChg chg="add mod">
          <ac:chgData name="Oğuz Öztekin" userId="33c0df0f-d5fe-4bda-8f43-141ad7af67e3" providerId="ADAL" clId="{48B824AD-1B2A-47A8-8D92-6FE6E622A650}" dt="2024-12-16T16:27:50.001" v="104057"/>
          <ac:spMkLst>
            <pc:docMk/>
            <pc:sldMk cId="865606007" sldId="279"/>
            <ac:spMk id="392" creationId="{FA9065CE-B31C-9294-BBBA-8C89CF2A3251}"/>
          </ac:spMkLst>
        </pc:spChg>
        <pc:spChg chg="add del mod modVis">
          <ac:chgData name="Oğuz Öztekin" userId="33c0df0f-d5fe-4bda-8f43-141ad7af67e3" providerId="ADAL" clId="{48B824AD-1B2A-47A8-8D92-6FE6E622A650}" dt="2024-12-16T16:08:13.195" v="83147"/>
          <ac:spMkLst>
            <pc:docMk/>
            <pc:sldMk cId="865606007" sldId="279"/>
            <ac:spMk id="394" creationId="{B40ECECD-826E-650C-C13F-26D61B148312}"/>
          </ac:spMkLst>
        </pc:spChg>
        <pc:spChg chg="add del mod modVis">
          <ac:chgData name="Oğuz Öztekin" userId="33c0df0f-d5fe-4bda-8f43-141ad7af67e3" providerId="ADAL" clId="{48B824AD-1B2A-47A8-8D92-6FE6E622A650}" dt="2024-12-16T16:08:16.830" v="83461"/>
          <ac:spMkLst>
            <pc:docMk/>
            <pc:sldMk cId="865606007" sldId="279"/>
            <ac:spMk id="396" creationId="{F6374CAC-6A5F-B14C-7597-50A54745BE35}"/>
          </ac:spMkLst>
        </pc:spChg>
        <pc:spChg chg="add del mod modVis">
          <ac:chgData name="Oğuz Öztekin" userId="33c0df0f-d5fe-4bda-8f43-141ad7af67e3" providerId="ADAL" clId="{48B824AD-1B2A-47A8-8D92-6FE6E622A650}" dt="2024-12-16T16:08:18.322" v="83603"/>
          <ac:spMkLst>
            <pc:docMk/>
            <pc:sldMk cId="865606007" sldId="279"/>
            <ac:spMk id="398" creationId="{C2B119F3-1415-0E55-7C7E-D9C0C17474C0}"/>
          </ac:spMkLst>
        </pc:spChg>
        <pc:spChg chg="add del mod modVis">
          <ac:chgData name="Oğuz Öztekin" userId="33c0df0f-d5fe-4bda-8f43-141ad7af67e3" providerId="ADAL" clId="{48B824AD-1B2A-47A8-8D92-6FE6E622A650}" dt="2024-12-16T16:08:22.671" v="83749"/>
          <ac:spMkLst>
            <pc:docMk/>
            <pc:sldMk cId="865606007" sldId="279"/>
            <ac:spMk id="400" creationId="{FF875FB4-FFDC-C19A-1223-2C2C87BFD4CE}"/>
          </ac:spMkLst>
        </pc:spChg>
        <pc:spChg chg="add del mod modVis">
          <ac:chgData name="Oğuz Öztekin" userId="33c0df0f-d5fe-4bda-8f43-141ad7af67e3" providerId="ADAL" clId="{48B824AD-1B2A-47A8-8D92-6FE6E622A650}" dt="2024-12-16T16:08:24.254" v="83895"/>
          <ac:spMkLst>
            <pc:docMk/>
            <pc:sldMk cId="865606007" sldId="279"/>
            <ac:spMk id="402" creationId="{D9E4DD7B-9D1E-F458-33BA-008EE739D418}"/>
          </ac:spMkLst>
        </pc:spChg>
        <pc:spChg chg="add del mod modVis">
          <ac:chgData name="Oğuz Öztekin" userId="33c0df0f-d5fe-4bda-8f43-141ad7af67e3" providerId="ADAL" clId="{48B824AD-1B2A-47A8-8D92-6FE6E622A650}" dt="2024-12-16T16:08:33.742" v="84083"/>
          <ac:spMkLst>
            <pc:docMk/>
            <pc:sldMk cId="865606007" sldId="279"/>
            <ac:spMk id="404" creationId="{0597A56B-1617-C820-1B27-D31A22389A5B}"/>
          </ac:spMkLst>
        </pc:spChg>
        <pc:spChg chg="add mod">
          <ac:chgData name="Oğuz Öztekin" userId="33c0df0f-d5fe-4bda-8f43-141ad7af67e3" providerId="ADAL" clId="{48B824AD-1B2A-47A8-8D92-6FE6E622A650}" dt="2024-12-16T16:27:50.011" v="104093"/>
          <ac:spMkLst>
            <pc:docMk/>
            <pc:sldMk cId="865606007" sldId="279"/>
            <ac:spMk id="405" creationId="{7E370DFD-1E7F-E29C-D4DC-02C904F14E04}"/>
          </ac:spMkLst>
        </pc:spChg>
        <pc:spChg chg="add del mod modVis">
          <ac:chgData name="Oğuz Öztekin" userId="33c0df0f-d5fe-4bda-8f43-141ad7af67e3" providerId="ADAL" clId="{48B824AD-1B2A-47A8-8D92-6FE6E622A650}" dt="2024-12-16T16:08:40.058" v="84233"/>
          <ac:spMkLst>
            <pc:docMk/>
            <pc:sldMk cId="865606007" sldId="279"/>
            <ac:spMk id="407" creationId="{E222FC4A-2AAB-FF31-8A6B-345CA252CD07}"/>
          </ac:spMkLst>
        </pc:spChg>
        <pc:spChg chg="add del mod modVis">
          <ac:chgData name="Oğuz Öztekin" userId="33c0df0f-d5fe-4bda-8f43-141ad7af67e3" providerId="ADAL" clId="{48B824AD-1B2A-47A8-8D92-6FE6E622A650}" dt="2024-12-16T16:08:43.207" v="84382"/>
          <ac:spMkLst>
            <pc:docMk/>
            <pc:sldMk cId="865606007" sldId="279"/>
            <ac:spMk id="409" creationId="{03E91CE1-5139-6B92-3FC0-66F3AD043B79}"/>
          </ac:spMkLst>
        </pc:spChg>
        <pc:spChg chg="add del mod modVis">
          <ac:chgData name="Oğuz Öztekin" userId="33c0df0f-d5fe-4bda-8f43-141ad7af67e3" providerId="ADAL" clId="{48B824AD-1B2A-47A8-8D92-6FE6E622A650}" dt="2024-12-16T16:08:49.691" v="84414"/>
          <ac:spMkLst>
            <pc:docMk/>
            <pc:sldMk cId="865606007" sldId="279"/>
            <ac:spMk id="411" creationId="{6435437C-AD6F-B71C-CD92-B38B70CFD7BE}"/>
          </ac:spMkLst>
        </pc:spChg>
        <pc:spChg chg="add del mod modVis">
          <ac:chgData name="Oğuz Öztekin" userId="33c0df0f-d5fe-4bda-8f43-141ad7af67e3" providerId="ADAL" clId="{48B824AD-1B2A-47A8-8D92-6FE6E622A650}" dt="2024-12-16T16:08:50.442" v="84439"/>
          <ac:spMkLst>
            <pc:docMk/>
            <pc:sldMk cId="865606007" sldId="279"/>
            <ac:spMk id="412" creationId="{C54B0F06-1136-7D3C-77FE-19D5C8F630EA}"/>
          </ac:spMkLst>
        </pc:spChg>
        <pc:spChg chg="add del mod modVis">
          <ac:chgData name="Oğuz Öztekin" userId="33c0df0f-d5fe-4bda-8f43-141ad7af67e3" providerId="ADAL" clId="{48B824AD-1B2A-47A8-8D92-6FE6E622A650}" dt="2024-12-16T16:08:53.014" v="84465"/>
          <ac:spMkLst>
            <pc:docMk/>
            <pc:sldMk cId="865606007" sldId="279"/>
            <ac:spMk id="413" creationId="{C161D121-6D24-0790-7347-B16A65531F1D}"/>
          </ac:spMkLst>
        </pc:spChg>
        <pc:spChg chg="add del mod modVis">
          <ac:chgData name="Oğuz Öztekin" userId="33c0df0f-d5fe-4bda-8f43-141ad7af67e3" providerId="ADAL" clId="{48B824AD-1B2A-47A8-8D92-6FE6E622A650}" dt="2024-12-16T16:08:54.864" v="84491"/>
          <ac:spMkLst>
            <pc:docMk/>
            <pc:sldMk cId="865606007" sldId="279"/>
            <ac:spMk id="414" creationId="{3B2756D2-7045-53B2-9246-CF22D0E3B09A}"/>
          </ac:spMkLst>
        </pc:spChg>
        <pc:spChg chg="add del mod modVis">
          <ac:chgData name="Oğuz Öztekin" userId="33c0df0f-d5fe-4bda-8f43-141ad7af67e3" providerId="ADAL" clId="{48B824AD-1B2A-47A8-8D92-6FE6E622A650}" dt="2024-12-16T16:09:01.872" v="84536"/>
          <ac:spMkLst>
            <pc:docMk/>
            <pc:sldMk cId="865606007" sldId="279"/>
            <ac:spMk id="415" creationId="{11C3EC96-9B24-A96D-B45A-C2853F16CD2D}"/>
          </ac:spMkLst>
        </pc:spChg>
        <pc:spChg chg="add del mod modVis">
          <ac:chgData name="Oğuz Öztekin" userId="33c0df0f-d5fe-4bda-8f43-141ad7af67e3" providerId="ADAL" clId="{48B824AD-1B2A-47A8-8D92-6FE6E622A650}" dt="2024-12-16T16:09:04.074" v="84568"/>
          <ac:spMkLst>
            <pc:docMk/>
            <pc:sldMk cId="865606007" sldId="279"/>
            <ac:spMk id="416" creationId="{668E1374-1A8D-76C0-15E9-2996B31F239B}"/>
          </ac:spMkLst>
        </pc:spChg>
        <pc:spChg chg="add del mod modVis">
          <ac:chgData name="Oğuz Öztekin" userId="33c0df0f-d5fe-4bda-8f43-141ad7af67e3" providerId="ADAL" clId="{48B824AD-1B2A-47A8-8D92-6FE6E622A650}" dt="2024-12-16T16:09:08.744" v="84609"/>
          <ac:spMkLst>
            <pc:docMk/>
            <pc:sldMk cId="865606007" sldId="279"/>
            <ac:spMk id="417" creationId="{67611E1F-0ADB-7D9F-25F1-D03DB65F9EB3}"/>
          </ac:spMkLst>
        </pc:spChg>
        <pc:spChg chg="add del mod modVis">
          <ac:chgData name="Oğuz Öztekin" userId="33c0df0f-d5fe-4bda-8f43-141ad7af67e3" providerId="ADAL" clId="{48B824AD-1B2A-47A8-8D92-6FE6E622A650}" dt="2024-12-16T16:09:15.696" v="84662"/>
          <ac:spMkLst>
            <pc:docMk/>
            <pc:sldMk cId="865606007" sldId="279"/>
            <ac:spMk id="418" creationId="{440139A2-0C05-2007-4DD0-51ABD95CF6FB}"/>
          </ac:spMkLst>
        </pc:spChg>
        <pc:spChg chg="add del mod modVis">
          <ac:chgData name="Oğuz Öztekin" userId="33c0df0f-d5fe-4bda-8f43-141ad7af67e3" providerId="ADAL" clId="{48B824AD-1B2A-47A8-8D92-6FE6E622A650}" dt="2024-12-16T16:09:16.613" v="84690"/>
          <ac:spMkLst>
            <pc:docMk/>
            <pc:sldMk cId="865606007" sldId="279"/>
            <ac:spMk id="419" creationId="{8B8FD774-983C-D2A9-E27A-1246BB653591}"/>
          </ac:spMkLst>
        </pc:spChg>
        <pc:spChg chg="add del mod modVis">
          <ac:chgData name="Oğuz Öztekin" userId="33c0df0f-d5fe-4bda-8f43-141ad7af67e3" providerId="ADAL" clId="{48B824AD-1B2A-47A8-8D92-6FE6E622A650}" dt="2024-12-16T16:11:11.389" v="85239"/>
          <ac:spMkLst>
            <pc:docMk/>
            <pc:sldMk cId="865606007" sldId="279"/>
            <ac:spMk id="420" creationId="{8E347631-178C-FFD0-C46E-E408E9EBA10D}"/>
          </ac:spMkLst>
        </pc:spChg>
        <pc:spChg chg="add del mod modVis">
          <ac:chgData name="Oğuz Öztekin" userId="33c0df0f-d5fe-4bda-8f43-141ad7af67e3" providerId="ADAL" clId="{48B824AD-1B2A-47A8-8D92-6FE6E622A650}" dt="2024-12-16T16:27:50.615" v="104129" actId="962"/>
          <ac:spMkLst>
            <pc:docMk/>
            <pc:sldMk cId="865606007" sldId="279"/>
            <ac:spMk id="421" creationId="{6408B1E2-BBCD-2A92-D4A5-55A2DE14C106}"/>
          </ac:spMkLst>
        </pc:spChg>
        <pc:graphicFrameChg chg="mod">
          <ac:chgData name="Oğuz Öztekin" userId="33c0df0f-d5fe-4bda-8f43-141ad7af67e3" providerId="ADAL" clId="{48B824AD-1B2A-47A8-8D92-6FE6E622A650}" dt="2024-12-16T16:27:50.621" v="104133"/>
          <ac:graphicFrameMkLst>
            <pc:docMk/>
            <pc:sldMk cId="865606007" sldId="279"/>
            <ac:graphicFrameMk id="3" creationId="{9DF14670-A328-00A1-9CE6-CE088B94F64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13.467" v="71092"/>
          <ac:graphicFrameMkLst>
            <pc:docMk/>
            <pc:sldMk cId="865606007" sldId="279"/>
            <ac:graphicFrameMk id="5" creationId="{5902F266-A319-A0B7-99BF-01F8605C8D4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17.253" v="71212"/>
          <ac:graphicFrameMkLst>
            <pc:docMk/>
            <pc:sldMk cId="865606007" sldId="279"/>
            <ac:graphicFrameMk id="7" creationId="{D99FDC4D-B4EF-1C95-3A9D-94245C34575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20.512" v="71327"/>
          <ac:graphicFrameMkLst>
            <pc:docMk/>
            <pc:sldMk cId="865606007" sldId="279"/>
            <ac:graphicFrameMk id="9" creationId="{51F8CE20-A768-537E-9797-E9F2BC0BDBA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21.543" v="71444"/>
          <ac:graphicFrameMkLst>
            <pc:docMk/>
            <pc:sldMk cId="865606007" sldId="279"/>
            <ac:graphicFrameMk id="11" creationId="{A8A6C0DA-FAC1-992D-0543-85D5ED649BC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23.423" v="71560"/>
          <ac:graphicFrameMkLst>
            <pc:docMk/>
            <pc:sldMk cId="865606007" sldId="279"/>
            <ac:graphicFrameMk id="13" creationId="{076AB45A-E21B-A01D-0642-997A656E282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26.166" v="71681"/>
          <ac:graphicFrameMkLst>
            <pc:docMk/>
            <pc:sldMk cId="865606007" sldId="279"/>
            <ac:graphicFrameMk id="15" creationId="{4D14FC6A-AE2E-2A85-3F6B-0CAF3CB384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26.876" v="71798"/>
          <ac:graphicFrameMkLst>
            <pc:docMk/>
            <pc:sldMk cId="865606007" sldId="279"/>
            <ac:graphicFrameMk id="17" creationId="{AD70C29A-BC7B-6595-4DCA-008DE825127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28.409" v="71918"/>
          <ac:graphicFrameMkLst>
            <pc:docMk/>
            <pc:sldMk cId="865606007" sldId="279"/>
            <ac:graphicFrameMk id="19" creationId="{66635B0A-67A0-3CF2-FA02-966519E6045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29.584" v="72038"/>
          <ac:graphicFrameMkLst>
            <pc:docMk/>
            <pc:sldMk cId="865606007" sldId="279"/>
            <ac:graphicFrameMk id="21" creationId="{EFF28716-E3D9-131F-C55B-C79B8422014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32.719" v="72160"/>
          <ac:graphicFrameMkLst>
            <pc:docMk/>
            <pc:sldMk cId="865606007" sldId="279"/>
            <ac:graphicFrameMk id="23" creationId="{046F68EE-3B91-1472-1575-A955ED03147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33.687" v="72278"/>
          <ac:graphicFrameMkLst>
            <pc:docMk/>
            <pc:sldMk cId="865606007" sldId="279"/>
            <ac:graphicFrameMk id="25" creationId="{B61D616A-9AEF-1D66-4FC7-04F14B09145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34.512" v="72393"/>
          <ac:graphicFrameMkLst>
            <pc:docMk/>
            <pc:sldMk cId="865606007" sldId="279"/>
            <ac:graphicFrameMk id="27" creationId="{5214AB75-6655-235D-7BDC-F9B0218915B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37.571" v="72517"/>
          <ac:graphicFrameMkLst>
            <pc:docMk/>
            <pc:sldMk cId="865606007" sldId="279"/>
            <ac:graphicFrameMk id="29" creationId="{625830F5-4F27-8437-B053-D05A34647D5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50.266" v="72643"/>
          <ac:graphicFrameMkLst>
            <pc:docMk/>
            <pc:sldMk cId="865606007" sldId="279"/>
            <ac:graphicFrameMk id="31" creationId="{D9321ECE-6F22-7008-C080-8FBBB78BAEC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22.174" v="73502"/>
          <ac:graphicFrameMkLst>
            <pc:docMk/>
            <pc:sldMk cId="865606007" sldId="279"/>
            <ac:graphicFrameMk id="33" creationId="{324481A5-B4A6-C9B9-61C6-F41F03D22D7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23.422" v="73622"/>
          <ac:graphicFrameMkLst>
            <pc:docMk/>
            <pc:sldMk cId="865606007" sldId="279"/>
            <ac:graphicFrameMk id="38" creationId="{3BB9621C-2290-6801-0C42-D2A62807043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24.150" v="73737"/>
          <ac:graphicFrameMkLst>
            <pc:docMk/>
            <pc:sldMk cId="865606007" sldId="279"/>
            <ac:graphicFrameMk id="40" creationId="{B4D58D94-D628-731C-0ADA-8928B3B6649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8:47.075" v="1339"/>
          <ac:graphicFrameMkLst>
            <pc:docMk/>
            <pc:sldMk cId="865606007" sldId="279"/>
            <ac:graphicFrameMk id="41" creationId="{ADDB7B34-ED1E-039F-9038-8F637884419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24.740" v="73852"/>
          <ac:graphicFrameMkLst>
            <pc:docMk/>
            <pc:sldMk cId="865606007" sldId="279"/>
            <ac:graphicFrameMk id="42" creationId="{C1CF5608-DAAC-DE27-FBE4-2D9939F93E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26.653" v="73972"/>
          <ac:graphicFrameMkLst>
            <pc:docMk/>
            <pc:sldMk cId="865606007" sldId="279"/>
            <ac:graphicFrameMk id="44" creationId="{525BC2AC-1EAC-E8EA-1A1E-3CA7095A471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27.630" v="74087"/>
          <ac:graphicFrameMkLst>
            <pc:docMk/>
            <pc:sldMk cId="865606007" sldId="279"/>
            <ac:graphicFrameMk id="46" creationId="{D43CAD18-2E69-A40A-921D-04A0658BAB9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30.198" v="74204"/>
          <ac:graphicFrameMkLst>
            <pc:docMk/>
            <pc:sldMk cId="865606007" sldId="279"/>
            <ac:graphicFrameMk id="48" creationId="{BA781496-E5C1-1F74-D9DF-7C8DA2A5087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31.007" v="74319"/>
          <ac:graphicFrameMkLst>
            <pc:docMk/>
            <pc:sldMk cId="865606007" sldId="279"/>
            <ac:graphicFrameMk id="50" creationId="{ACB0D259-0137-D92F-7CA0-B6161173BC8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31.615" v="74434"/>
          <ac:graphicFrameMkLst>
            <pc:docMk/>
            <pc:sldMk cId="865606007" sldId="279"/>
            <ac:graphicFrameMk id="52" creationId="{4C6AA244-FAD6-489F-2870-2990EB512F6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32.469" v="74551"/>
          <ac:graphicFrameMkLst>
            <pc:docMk/>
            <pc:sldMk cId="865606007" sldId="279"/>
            <ac:graphicFrameMk id="54" creationId="{0F988053-A8A6-4DF5-72DD-96D8B5E9AE6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34.077" v="74671"/>
          <ac:graphicFrameMkLst>
            <pc:docMk/>
            <pc:sldMk cId="865606007" sldId="279"/>
            <ac:graphicFrameMk id="56" creationId="{FAA9ACA6-664D-5B91-4049-D7B37CF3D01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34.750" v="74786"/>
          <ac:graphicFrameMkLst>
            <pc:docMk/>
            <pc:sldMk cId="865606007" sldId="279"/>
            <ac:graphicFrameMk id="58" creationId="{3453423C-0AB3-4E4F-4042-9EF07B718F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35.454" v="74903"/>
          <ac:graphicFrameMkLst>
            <pc:docMk/>
            <pc:sldMk cId="865606007" sldId="279"/>
            <ac:graphicFrameMk id="60" creationId="{F9F3F2A8-A962-3A2E-FEDE-5F97D1A736F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36.170" v="75018"/>
          <ac:graphicFrameMkLst>
            <pc:docMk/>
            <pc:sldMk cId="865606007" sldId="279"/>
            <ac:graphicFrameMk id="62" creationId="{53C111D6-EB91-C52E-1CAA-289EA221270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38.038" v="75139"/>
          <ac:graphicFrameMkLst>
            <pc:docMk/>
            <pc:sldMk cId="865606007" sldId="279"/>
            <ac:graphicFrameMk id="64" creationId="{E054819B-3C0B-3358-F16F-AAB33F73E2D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45.065" v="75273"/>
          <ac:graphicFrameMkLst>
            <pc:docMk/>
            <pc:sldMk cId="865606007" sldId="279"/>
            <ac:graphicFrameMk id="66" creationId="{5E9D0807-B0BD-B03B-A146-5D88616BAB5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46.703" v="75395"/>
          <ac:graphicFrameMkLst>
            <pc:docMk/>
            <pc:sldMk cId="865606007" sldId="279"/>
            <ac:graphicFrameMk id="69" creationId="{F786D356-BABA-8C76-B202-F69B2FC59F9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8:56.832" v="2796"/>
          <ac:graphicFrameMkLst>
            <pc:docMk/>
            <pc:sldMk cId="865606007" sldId="279"/>
            <ac:graphicFrameMk id="70" creationId="{580B1CD4-E7BA-955F-FE33-FEA58481756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50.595" v="75518"/>
          <ac:graphicFrameMkLst>
            <pc:docMk/>
            <pc:sldMk cId="865606007" sldId="279"/>
            <ac:graphicFrameMk id="71" creationId="{084F08E9-472B-72C9-4977-AE2DDBAEDED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52.365" v="75639"/>
          <ac:graphicFrameMkLst>
            <pc:docMk/>
            <pc:sldMk cId="865606007" sldId="279"/>
            <ac:graphicFrameMk id="73" creationId="{E993B18E-3DE9-0179-EE92-91B96FB50AA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5:30.967" v="76879"/>
          <ac:graphicFrameMkLst>
            <pc:docMk/>
            <pc:sldMk cId="865606007" sldId="279"/>
            <ac:graphicFrameMk id="75" creationId="{3A38FA62-67E1-9F9B-1FD5-E2CE8A909DFF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04:59.112" v="75904"/>
          <ac:graphicFrameMkLst>
            <pc:docMk/>
            <pc:sldMk cId="865606007" sldId="279"/>
            <ac:graphicFrameMk id="77" creationId="{8D4842B8-7E48-433F-2DA9-BAA50C548ABF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05:04.687" v="76310"/>
          <ac:graphicFrameMkLst>
            <pc:docMk/>
            <pc:sldMk cId="865606007" sldId="279"/>
            <ac:graphicFrameMk id="79" creationId="{FE334FA2-9668-95F2-29B2-C48582F24BFA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05:09.290" v="76716"/>
          <ac:graphicFrameMkLst>
            <pc:docMk/>
            <pc:sldMk cId="865606007" sldId="279"/>
            <ac:graphicFrameMk id="81" creationId="{6F859706-5595-86D9-339D-8613219D584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5:58.845" v="77103"/>
          <ac:graphicFrameMkLst>
            <pc:docMk/>
            <pc:sldMk cId="865606007" sldId="279"/>
            <ac:graphicFrameMk id="83" creationId="{0EF31D85-90FF-C2C2-3CB3-695CF2878DF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5:59.451" v="77220"/>
          <ac:graphicFrameMkLst>
            <pc:docMk/>
            <pc:sldMk cId="865606007" sldId="279"/>
            <ac:graphicFrameMk id="95" creationId="{65242054-4F1A-37F9-F67E-AFBB7973BDD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06.435" v="3342"/>
          <ac:graphicFrameMkLst>
            <pc:docMk/>
            <pc:sldMk cId="865606007" sldId="279"/>
            <ac:graphicFrameMk id="127" creationId="{27B96CF4-22B9-E3F9-357C-5A88261EE28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18.125" v="3653"/>
          <ac:graphicFrameMkLst>
            <pc:docMk/>
            <pc:sldMk cId="865606007" sldId="279"/>
            <ac:graphicFrameMk id="129" creationId="{F1D48B7D-1AEE-19DD-15C6-5BB025A053E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37.241" v="3780"/>
          <ac:graphicFrameMkLst>
            <pc:docMk/>
            <pc:sldMk cId="865606007" sldId="279"/>
            <ac:graphicFrameMk id="131" creationId="{FD7B19E2-E18F-038F-7E6E-20D4EFF6653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45.090" v="4125"/>
          <ac:graphicFrameMkLst>
            <pc:docMk/>
            <pc:sldMk cId="865606007" sldId="279"/>
            <ac:graphicFrameMk id="133" creationId="{58A05A74-E7CB-8693-4959-B34CBF0C2ED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57.039" v="4659"/>
          <ac:graphicFrameMkLst>
            <pc:docMk/>
            <pc:sldMk cId="865606007" sldId="279"/>
            <ac:graphicFrameMk id="143" creationId="{D4F7DCE9-5FF1-631D-FDC9-073F351620F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26.971" v="79321"/>
          <ac:graphicFrameMkLst>
            <pc:docMk/>
            <pc:sldMk cId="865606007" sldId="279"/>
            <ac:graphicFrameMk id="161" creationId="{BA56D1F9-64D1-A62A-B5A2-F88DF56B3F7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28.092" v="79445"/>
          <ac:graphicFrameMkLst>
            <pc:docMk/>
            <pc:sldMk cId="865606007" sldId="279"/>
            <ac:graphicFrameMk id="163" creationId="{9F6C3E27-11A7-32A5-AB2F-FF28D38F49F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34.949" v="79566"/>
          <ac:graphicFrameMkLst>
            <pc:docMk/>
            <pc:sldMk cId="865606007" sldId="279"/>
            <ac:graphicFrameMk id="165" creationId="{2E060F36-A41B-17C0-BBD4-BDB948881BF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09.722" v="5116"/>
          <ac:graphicFrameMkLst>
            <pc:docMk/>
            <pc:sldMk cId="865606007" sldId="279"/>
            <ac:graphicFrameMk id="166" creationId="{28C88C26-C587-C890-502C-F3281C7CD78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35.789" v="79689"/>
          <ac:graphicFrameMkLst>
            <pc:docMk/>
            <pc:sldMk cId="865606007" sldId="279"/>
            <ac:graphicFrameMk id="167" creationId="{2A5AC288-F8C7-A43C-DD1F-393AFEB74AA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38.475" v="79818"/>
          <ac:graphicFrameMkLst>
            <pc:docMk/>
            <pc:sldMk cId="865606007" sldId="279"/>
            <ac:graphicFrameMk id="169" creationId="{497A942B-2838-0396-80B0-5E1B2099844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39.563" v="79942"/>
          <ac:graphicFrameMkLst>
            <pc:docMk/>
            <pc:sldMk cId="865606007" sldId="279"/>
            <ac:graphicFrameMk id="171" creationId="{DB490020-1E6D-EFDC-9654-F5BB6178D31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40.747" v="80063"/>
          <ac:graphicFrameMkLst>
            <pc:docMk/>
            <pc:sldMk cId="865606007" sldId="279"/>
            <ac:graphicFrameMk id="173" creationId="{257BB1CB-B647-7BCD-3705-2670513B437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41.387" v="80184"/>
          <ac:graphicFrameMkLst>
            <pc:docMk/>
            <pc:sldMk cId="865606007" sldId="279"/>
            <ac:graphicFrameMk id="175" creationId="{CEFF177F-AD8F-0565-FF36-F242ED5020E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44.146" v="80305"/>
          <ac:graphicFrameMkLst>
            <pc:docMk/>
            <pc:sldMk cId="865606007" sldId="279"/>
            <ac:graphicFrameMk id="177" creationId="{F6EB0C9E-5E1D-4415-ED3D-185919E6E50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48.721" v="80426"/>
          <ac:graphicFrameMkLst>
            <pc:docMk/>
            <pc:sldMk cId="865606007" sldId="279"/>
            <ac:graphicFrameMk id="179" creationId="{3D027737-F7B1-DFE7-F22F-1886F7A1BF0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56.191" v="80547"/>
          <ac:graphicFrameMkLst>
            <pc:docMk/>
            <pc:sldMk cId="865606007" sldId="279"/>
            <ac:graphicFrameMk id="181" creationId="{4882E0D3-14CD-5A35-DE35-CBB73A5D4D1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13.687" v="5302"/>
          <ac:graphicFrameMkLst>
            <pc:docMk/>
            <pc:sldMk cId="865606007" sldId="279"/>
            <ac:graphicFrameMk id="182" creationId="{FC43BD86-56A2-6035-7829-F7C91E0B873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03.626" v="81197"/>
          <ac:graphicFrameMkLst>
            <pc:docMk/>
            <pc:sldMk cId="865606007" sldId="279"/>
            <ac:graphicFrameMk id="183" creationId="{79D3C655-0D8A-6239-83BA-B59DA2F6112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15.578" v="5520"/>
          <ac:graphicFrameMkLst>
            <pc:docMk/>
            <pc:sldMk cId="865606007" sldId="279"/>
            <ac:graphicFrameMk id="184" creationId="{33F7F439-8C76-BE8A-DE22-038B6E63AD7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18.032" v="5741"/>
          <ac:graphicFrameMkLst>
            <pc:docMk/>
            <pc:sldMk cId="865606007" sldId="279"/>
            <ac:graphicFrameMk id="186" creationId="{68EC66B5-347B-E463-1A7D-7DE85602B5A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20.168" v="5866"/>
          <ac:graphicFrameMkLst>
            <pc:docMk/>
            <pc:sldMk cId="865606007" sldId="279"/>
            <ac:graphicFrameMk id="188" creationId="{5A3FCAEB-DA65-9314-0426-7CFE8CDC972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27.425" v="6255"/>
          <ac:graphicFrameMkLst>
            <pc:docMk/>
            <pc:sldMk cId="865606007" sldId="279"/>
            <ac:graphicFrameMk id="190" creationId="{0345CEC3-2CC7-1510-E7CF-9A4E35DA581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04.313" v="81351"/>
          <ac:graphicFrameMkLst>
            <pc:docMk/>
            <pc:sldMk cId="865606007" sldId="279"/>
            <ac:graphicFrameMk id="199" creationId="{D7B8B8CF-F34E-8757-FC3B-5FF5840510E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10.835" v="82001"/>
          <ac:graphicFrameMkLst>
            <pc:docMk/>
            <pc:sldMk cId="865606007" sldId="279"/>
            <ac:graphicFrameMk id="201" creationId="{B5C0AF0D-D911-0AA2-B716-11D93BEBCE9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29.249" v="6890"/>
          <ac:graphicFrameMkLst>
            <pc:docMk/>
            <pc:sldMk cId="865606007" sldId="279"/>
            <ac:graphicFrameMk id="210" creationId="{DE7E8E97-B6DB-2BEA-0AAB-8034786FABC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11.079" v="82143"/>
          <ac:graphicFrameMkLst>
            <pc:docMk/>
            <pc:sldMk cId="865606007" sldId="279"/>
            <ac:graphicFrameMk id="215" creationId="{249932E9-72CD-12EA-2E02-251D09F0A63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11.779" v="82297"/>
          <ac:graphicFrameMkLst>
            <pc:docMk/>
            <pc:sldMk cId="865606007" sldId="279"/>
            <ac:graphicFrameMk id="217" creationId="{E951DA33-B843-065A-7EE6-ED6F443B1C7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12.877" v="82947"/>
          <ac:graphicFrameMkLst>
            <pc:docMk/>
            <pc:sldMk cId="865606007" sldId="279"/>
            <ac:graphicFrameMk id="219" creationId="{A1B2B9B6-4E7A-27AB-0075-9C526D01A5E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30.258" v="7309"/>
          <ac:graphicFrameMkLst>
            <pc:docMk/>
            <pc:sldMk cId="865606007" sldId="279"/>
            <ac:graphicFrameMk id="230" creationId="{BC4DB1D8-7E47-A0E7-8C24-0CAE4A9C29A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39.941" v="7728"/>
          <ac:graphicFrameMkLst>
            <pc:docMk/>
            <pc:sldMk cId="865606007" sldId="279"/>
            <ac:graphicFrameMk id="232" creationId="{CA34EB29-5B88-F1B4-A207-9B8246899E2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42.536" v="8147"/>
          <ac:graphicFrameMkLst>
            <pc:docMk/>
            <pc:sldMk cId="865606007" sldId="279"/>
            <ac:graphicFrameMk id="234" creationId="{9D255551-3C0E-188E-4D3F-C3CD9FBD76D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48.534" v="8566"/>
          <ac:graphicFrameMkLst>
            <pc:docMk/>
            <pc:sldMk cId="865606007" sldId="279"/>
            <ac:graphicFrameMk id="236" creationId="{5AB8EF0E-CD5F-B231-8DB8-A252FA56DA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52.143" v="9017"/>
          <ac:graphicFrameMkLst>
            <pc:docMk/>
            <pc:sldMk cId="865606007" sldId="279"/>
            <ac:graphicFrameMk id="238" creationId="{E2DE75A4-09EF-C615-9B0B-96329916E87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00.058" v="9168"/>
          <ac:graphicFrameMkLst>
            <pc:docMk/>
            <pc:sldMk cId="865606007" sldId="279"/>
            <ac:graphicFrameMk id="240" creationId="{E06730AD-E05B-F694-DCDC-FFD195EEB10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02.156" v="9277"/>
          <ac:graphicFrameMkLst>
            <pc:docMk/>
            <pc:sldMk cId="865606007" sldId="279"/>
            <ac:graphicFrameMk id="242" creationId="{BB2B9723-EA43-9E6E-A97C-2283A406453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04.846" v="9406"/>
          <ac:graphicFrameMkLst>
            <pc:docMk/>
            <pc:sldMk cId="865606007" sldId="279"/>
            <ac:graphicFrameMk id="244" creationId="{3A82EF2F-49B4-5A72-AE91-0EFD57F4FF9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35.894" v="9607"/>
          <ac:graphicFrameMkLst>
            <pc:docMk/>
            <pc:sldMk cId="865606007" sldId="279"/>
            <ac:graphicFrameMk id="246" creationId="{44490346-C9E5-6E05-A708-85BA35FCC2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24.822" v="17979"/>
          <ac:graphicFrameMkLst>
            <pc:docMk/>
            <pc:sldMk cId="865606007" sldId="279"/>
            <ac:graphicFrameMk id="248" creationId="{7E74477E-3031-8C4E-0F0E-E6E44D4CBD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28.557" v="18105"/>
          <ac:graphicFrameMkLst>
            <pc:docMk/>
            <pc:sldMk cId="865606007" sldId="279"/>
            <ac:graphicFrameMk id="250" creationId="{4FAA12DF-E79E-C200-448F-5A02DC27E89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36.278" v="18749"/>
          <ac:graphicFrameMkLst>
            <pc:docMk/>
            <pc:sldMk cId="865606007" sldId="279"/>
            <ac:graphicFrameMk id="252" creationId="{49FA0B53-9775-BE09-E570-936670886E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01.339" v="72760"/>
          <ac:graphicFrameMkLst>
            <pc:docMk/>
            <pc:sldMk cId="865606007" sldId="279"/>
            <ac:graphicFrameMk id="257" creationId="{3FB3CE03-A1FC-E7D8-F6C9-699D3D8D6C4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03.039" v="72880"/>
          <ac:graphicFrameMkLst>
            <pc:docMk/>
            <pc:sldMk cId="865606007" sldId="279"/>
            <ac:graphicFrameMk id="259" creationId="{3A3D8F17-E527-5CF5-CEE5-D880806949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07.548" v="73000"/>
          <ac:graphicFrameMkLst>
            <pc:docMk/>
            <pc:sldMk cId="865606007" sldId="279"/>
            <ac:graphicFrameMk id="261" creationId="{455291D0-2140-EF07-68FE-A0B5F94DE47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12.048" v="73128"/>
          <ac:graphicFrameMkLst>
            <pc:docMk/>
            <pc:sldMk cId="865606007" sldId="279"/>
            <ac:graphicFrameMk id="263" creationId="{F7A83F07-4F2C-4D8A-BED6-674BB53DAC0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11.028" v="19866"/>
          <ac:graphicFrameMkLst>
            <pc:docMk/>
            <pc:sldMk cId="865606007" sldId="279"/>
            <ac:graphicFrameMk id="264" creationId="{ED13ED74-57E0-FADE-01A8-62221C64EA3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17.990" v="73255"/>
          <ac:graphicFrameMkLst>
            <pc:docMk/>
            <pc:sldMk cId="865606007" sldId="279"/>
            <ac:graphicFrameMk id="265" creationId="{E3DB6BAF-E6F0-2738-D2A2-AA4C1B5952F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4:18.832" v="73373"/>
          <ac:graphicFrameMkLst>
            <pc:docMk/>
            <pc:sldMk cId="865606007" sldId="279"/>
            <ac:graphicFrameMk id="267" creationId="{0D530630-578E-934C-86D5-3387AB5E75F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0.482" v="20006"/>
          <ac:graphicFrameMkLst>
            <pc:docMk/>
            <pc:sldMk cId="865606007" sldId="279"/>
            <ac:graphicFrameMk id="288" creationId="{27F3586D-3505-5A03-2714-77CF0C38DB2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2.456" v="20145"/>
          <ac:graphicFrameMkLst>
            <pc:docMk/>
            <pc:sldMk cId="865606007" sldId="279"/>
            <ac:graphicFrameMk id="290" creationId="{7914EB95-A1BD-5C7C-46A2-738E8CC145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3.347" v="20282"/>
          <ac:graphicFrameMkLst>
            <pc:docMk/>
            <pc:sldMk cId="865606007" sldId="279"/>
            <ac:graphicFrameMk id="292" creationId="{5882B0EB-A5E9-B5C1-8D8E-328C0F040F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4.729" v="20416"/>
          <ac:graphicFrameMkLst>
            <pc:docMk/>
            <pc:sldMk cId="865606007" sldId="279"/>
            <ac:graphicFrameMk id="294" creationId="{E01822D0-E4E1-B69A-794B-B32C220E89F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5.609" v="20553"/>
          <ac:graphicFrameMkLst>
            <pc:docMk/>
            <pc:sldMk cId="865606007" sldId="279"/>
            <ac:graphicFrameMk id="296" creationId="{E486B506-E305-C0CE-139F-E0B8FD7D3E2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8.158" v="20688"/>
          <ac:graphicFrameMkLst>
            <pc:docMk/>
            <pc:sldMk cId="865606007" sldId="279"/>
            <ac:graphicFrameMk id="298" creationId="{D8C9955E-1346-BFB8-36A4-701059F1EFC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9.062" v="20823"/>
          <ac:graphicFrameMkLst>
            <pc:docMk/>
            <pc:sldMk cId="865606007" sldId="279"/>
            <ac:graphicFrameMk id="300" creationId="{2DF768F1-6854-33B1-9EA6-73BD5CE940D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9.929" v="20956"/>
          <ac:graphicFrameMkLst>
            <pc:docMk/>
            <pc:sldMk cId="865606007" sldId="279"/>
            <ac:graphicFrameMk id="302" creationId="{E52ADF8B-6F7B-C561-B30A-FD901838565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0.871" v="21089"/>
          <ac:graphicFrameMkLst>
            <pc:docMk/>
            <pc:sldMk cId="865606007" sldId="279"/>
            <ac:graphicFrameMk id="304" creationId="{F495F5C3-A11B-924C-BCFA-D1C6FE691A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2.151" v="21223"/>
          <ac:graphicFrameMkLst>
            <pc:docMk/>
            <pc:sldMk cId="865606007" sldId="279"/>
            <ac:graphicFrameMk id="306" creationId="{B5CD2ED7-BF91-123C-DB18-5177F6A1400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3.357" v="21355"/>
          <ac:graphicFrameMkLst>
            <pc:docMk/>
            <pc:sldMk cId="865606007" sldId="279"/>
            <ac:graphicFrameMk id="308" creationId="{9EB32EA5-1D38-BED8-E278-F3CE2932FE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4.293" v="21485"/>
          <ac:graphicFrameMkLst>
            <pc:docMk/>
            <pc:sldMk cId="865606007" sldId="279"/>
            <ac:graphicFrameMk id="310" creationId="{A4D9357D-A862-B140-8C18-4421A070531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4.944" v="21610"/>
          <ac:graphicFrameMkLst>
            <pc:docMk/>
            <pc:sldMk cId="865606007" sldId="279"/>
            <ac:graphicFrameMk id="312" creationId="{6D4FD5EA-29AA-7F1C-D850-65021B5C8E7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6.602" v="21735"/>
          <ac:graphicFrameMkLst>
            <pc:docMk/>
            <pc:sldMk cId="865606007" sldId="279"/>
            <ac:graphicFrameMk id="314" creationId="{F071A9D2-538C-8872-289E-F9CE37AE9EA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7.436" v="21858"/>
          <ac:graphicFrameMkLst>
            <pc:docMk/>
            <pc:sldMk cId="865606007" sldId="279"/>
            <ac:graphicFrameMk id="316" creationId="{28643183-9121-FA54-B36E-3055E92E99F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9.194" v="21983"/>
          <ac:graphicFrameMkLst>
            <pc:docMk/>
            <pc:sldMk cId="865606007" sldId="279"/>
            <ac:graphicFrameMk id="318" creationId="{7662E914-7C23-D271-8133-F39D6398624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50.458" v="22102"/>
          <ac:graphicFrameMkLst>
            <pc:docMk/>
            <pc:sldMk cId="865606007" sldId="279"/>
            <ac:graphicFrameMk id="320" creationId="{6B49300A-E696-DC9B-74FE-EC8A11D9651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29.615" v="25278"/>
          <ac:graphicFrameMkLst>
            <pc:docMk/>
            <pc:sldMk cId="865606007" sldId="279"/>
            <ac:graphicFrameMk id="322" creationId="{F8A36C7A-E765-124F-E225-CB041FDE876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22.070" v="24867"/>
          <ac:graphicFrameMkLst>
            <pc:docMk/>
            <pc:sldMk cId="865606007" sldId="279"/>
            <ac:graphicFrameMk id="324" creationId="{F287F3C6-9E54-7A91-6F16-15DE16CA4FF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21.443" v="24831"/>
          <ac:graphicFrameMkLst>
            <pc:docMk/>
            <pc:sldMk cId="865606007" sldId="279"/>
            <ac:graphicFrameMk id="326" creationId="{EF6299D9-AE64-A39A-6D0D-9BBA565B131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6:05.426" v="77349"/>
          <ac:graphicFrameMkLst>
            <pc:docMk/>
            <pc:sldMk cId="865606007" sldId="279"/>
            <ac:graphicFrameMk id="353" creationId="{B4679229-4266-BB50-9378-41BDD8B50C6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6:06.952" v="77470"/>
          <ac:graphicFrameMkLst>
            <pc:docMk/>
            <pc:sldMk cId="865606007" sldId="279"/>
            <ac:graphicFrameMk id="355" creationId="{0CE969FC-90EC-91DC-3148-E9A94E6F494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6:36.741" v="77911"/>
          <ac:graphicFrameMkLst>
            <pc:docMk/>
            <pc:sldMk cId="865606007" sldId="279"/>
            <ac:graphicFrameMk id="357" creationId="{0F75B84E-6DFC-D95B-5B87-269B2915C0F5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20:20.848" v="24766"/>
          <ac:graphicFrameMkLst>
            <pc:docMk/>
            <pc:sldMk cId="865606007" sldId="279"/>
            <ac:graphicFrameMk id="358" creationId="{93A7193D-D34A-722E-1BC5-717B6F9DCF7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35.495" v="25682"/>
          <ac:graphicFrameMkLst>
            <pc:docMk/>
            <pc:sldMk cId="865606007" sldId="279"/>
            <ac:graphicFrameMk id="360" creationId="{24EF8058-8320-E1F9-1110-DA229D8C296A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06:29.856" v="77701"/>
          <ac:graphicFrameMkLst>
            <pc:docMk/>
            <pc:sldMk cId="865606007" sldId="279"/>
            <ac:graphicFrameMk id="360" creationId="{A50DF832-6593-2E65-6FF5-7FD8C2A791B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37.498" v="25808"/>
          <ac:graphicFrameMkLst>
            <pc:docMk/>
            <pc:sldMk cId="865606007" sldId="279"/>
            <ac:graphicFrameMk id="362" creationId="{299EEE5C-3E1F-5914-5DA7-393FB34118F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6:42.958" v="78038"/>
          <ac:graphicFrameMkLst>
            <pc:docMk/>
            <pc:sldMk cId="865606007" sldId="279"/>
            <ac:graphicFrameMk id="363" creationId="{CD345225-F08E-8A7F-8816-DA2524C0CCB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1:02.851" v="25948"/>
          <ac:graphicFrameMkLst>
            <pc:docMk/>
            <pc:sldMk cId="865606007" sldId="279"/>
            <ac:graphicFrameMk id="364" creationId="{6EF3355D-1B19-F026-9BB0-EA8E21DBC61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6:43.564" v="78159"/>
          <ac:graphicFrameMkLst>
            <pc:docMk/>
            <pc:sldMk cId="865606007" sldId="279"/>
            <ac:graphicFrameMk id="365" creationId="{515320A6-7DF3-3473-9457-F4C2A0A2BAD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3:10.705" v="70964"/>
          <ac:graphicFrameMkLst>
            <pc:docMk/>
            <pc:sldMk cId="865606007" sldId="279"/>
            <ac:graphicFrameMk id="366" creationId="{3B62AD28-DB5C-3D81-373C-20355CB4D5A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6:45.626" v="78278"/>
          <ac:graphicFrameMkLst>
            <pc:docMk/>
            <pc:sldMk cId="865606007" sldId="279"/>
            <ac:graphicFrameMk id="368" creationId="{673D66BD-6EE6-4A88-284A-3D8EF053B9F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6:50.892" v="78439"/>
          <ac:graphicFrameMkLst>
            <pc:docMk/>
            <pc:sldMk cId="865606007" sldId="279"/>
            <ac:graphicFrameMk id="370" creationId="{087D9410-EA18-870F-8626-97DEABBA1E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00.499" v="78581"/>
          <ac:graphicFrameMkLst>
            <pc:docMk/>
            <pc:sldMk cId="865606007" sldId="279"/>
            <ac:graphicFrameMk id="373" creationId="{04F19648-AEE3-F1A1-6396-7E321E88817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12.347" v="78705"/>
          <ac:graphicFrameMkLst>
            <pc:docMk/>
            <pc:sldMk cId="865606007" sldId="279"/>
            <ac:graphicFrameMk id="375" creationId="{8EA938BB-9B64-036C-0B02-8B14AF29EB0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17.397" v="78830"/>
          <ac:graphicFrameMkLst>
            <pc:docMk/>
            <pc:sldMk cId="865606007" sldId="279"/>
            <ac:graphicFrameMk id="377" creationId="{F426C694-35B1-5208-0118-55D6A40DF28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24.241" v="78953"/>
          <ac:graphicFrameMkLst>
            <pc:docMk/>
            <pc:sldMk cId="865606007" sldId="279"/>
            <ac:graphicFrameMk id="379" creationId="{40075CEF-203A-FE1A-6D4C-CC2382B6755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25.266" v="79076"/>
          <ac:graphicFrameMkLst>
            <pc:docMk/>
            <pc:sldMk cId="865606007" sldId="279"/>
            <ac:graphicFrameMk id="381" creationId="{B8EE72E5-730F-3002-84B1-3A57868602F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7:26.366" v="79199"/>
          <ac:graphicFrameMkLst>
            <pc:docMk/>
            <pc:sldMk cId="865606007" sldId="279"/>
            <ac:graphicFrameMk id="383" creationId="{6D20E963-120D-BC9A-26F8-02976A1AD25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13.162" v="83089"/>
          <ac:graphicFrameMkLst>
            <pc:docMk/>
            <pc:sldMk cId="865606007" sldId="279"/>
            <ac:graphicFrameMk id="393" creationId="{FC4AC0C0-1267-EC44-5B27-93192430BF1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16.800" v="83403"/>
          <ac:graphicFrameMkLst>
            <pc:docMk/>
            <pc:sldMk cId="865606007" sldId="279"/>
            <ac:graphicFrameMk id="395" creationId="{8C09CAFC-28C4-D8ED-791E-524BE70DF04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18.293" v="83545"/>
          <ac:graphicFrameMkLst>
            <pc:docMk/>
            <pc:sldMk cId="865606007" sldId="279"/>
            <ac:graphicFrameMk id="397" creationId="{1919ED7B-DA22-3472-CC99-FB3E04CD425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22.637" v="83691"/>
          <ac:graphicFrameMkLst>
            <pc:docMk/>
            <pc:sldMk cId="865606007" sldId="279"/>
            <ac:graphicFrameMk id="399" creationId="{FD1F5FB8-4284-1C69-D200-35CD6A51FD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24.223" v="83837"/>
          <ac:graphicFrameMkLst>
            <pc:docMk/>
            <pc:sldMk cId="865606007" sldId="279"/>
            <ac:graphicFrameMk id="401" creationId="{B2B876F2-7970-EE57-81A7-9B5633C51DC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33.711" v="84024"/>
          <ac:graphicFrameMkLst>
            <pc:docMk/>
            <pc:sldMk cId="865606007" sldId="279"/>
            <ac:graphicFrameMk id="403" creationId="{02A763D4-186A-B2A8-C2FF-17A30498C63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40.028" v="84174"/>
          <ac:graphicFrameMkLst>
            <pc:docMk/>
            <pc:sldMk cId="865606007" sldId="279"/>
            <ac:graphicFrameMk id="406" creationId="{779D124F-CAAB-056E-3268-FDD4D861660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08:43.176" v="84323"/>
          <ac:graphicFrameMkLst>
            <pc:docMk/>
            <pc:sldMk cId="865606007" sldId="279"/>
            <ac:graphicFrameMk id="408" creationId="{615B082A-5463-019C-28CC-71A55F69963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7:50.605" v="104106" actId="478"/>
          <ac:graphicFrameMkLst>
            <pc:docMk/>
            <pc:sldMk cId="865606007" sldId="279"/>
            <ac:graphicFrameMk id="410" creationId="{B9E0984C-8A0E-FF23-1DD2-F8337BCB2559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27:50.604" v="104105" actId="1076"/>
          <ac:graphicFrameMkLst>
            <pc:docMk/>
            <pc:sldMk cId="865606007" sldId="279"/>
            <ac:graphicFrameMk id="422" creationId="{8B71CB62-ACFB-C08D-1E1C-5C4C2C9CE043}"/>
          </ac:graphicFrameMkLst>
        </pc:graphicFrame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6" creationId="{5F5D6EF1-AC3F-BEB5-AD51-1874D72B8294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6" creationId="{E05B56CD-147E-DE04-2447-B1371E640DAB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7" creationId="{BE1BCB11-8795-F49A-F5EC-57EED07D4613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8" creationId="{3B4855B5-68AA-1422-D232-ECCDD1A40955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9" creationId="{5FAC2687-76FE-723A-EF14-AB21A1925FBB}"/>
          </ac:cxnSpMkLst>
        </pc:cxnChg>
        <pc:cxnChg chg="add del mod ord">
          <ac:chgData name="Oğuz Öztekin" userId="33c0df0f-d5fe-4bda-8f43-141ad7af67e3" providerId="ADAL" clId="{48B824AD-1B2A-47A8-8D92-6FE6E622A650}" dt="2024-12-16T09:17:24.772" v="17921"/>
          <ac:cxnSpMkLst>
            <pc:docMk/>
            <pc:sldMk cId="865606007" sldId="279"/>
            <ac:cxnSpMk id="42" creationId="{62AD1A95-8A47-A603-A562-67B052D93917}"/>
          </ac:cxnSpMkLst>
        </pc:cxnChg>
        <pc:cxnChg chg="add mod ord">
          <ac:chgData name="Oğuz Öztekin" userId="33c0df0f-d5fe-4bda-8f43-141ad7af67e3" providerId="ADAL" clId="{48B824AD-1B2A-47A8-8D92-6FE6E622A650}" dt="2024-12-16T16:27:50.603" v="104101"/>
          <ac:cxnSpMkLst>
            <pc:docMk/>
            <pc:sldMk cId="865606007" sldId="279"/>
            <ac:cxnSpMk id="68" creationId="{A46B3E4F-DEE8-22BA-882C-F8E2480463D5}"/>
          </ac:cxnSpMkLst>
        </pc:cxnChg>
        <pc:cxnChg chg="add del mod ord">
          <ac:chgData name="Oğuz Öztekin" userId="33c0df0f-d5fe-4bda-8f43-141ad7af67e3" providerId="ADAL" clId="{48B824AD-1B2A-47A8-8D92-6FE6E622A650}" dt="2024-12-16T09:09:18.108" v="3612"/>
          <ac:cxnSpMkLst>
            <pc:docMk/>
            <pc:sldMk cId="865606007" sldId="279"/>
            <ac:cxnSpMk id="68" creationId="{F0364D06-6075-865D-0A52-BA9AD0DC30FE}"/>
          </ac:cxnSpMkLst>
        </pc:cxnChg>
        <pc:cxnChg chg="add del mod ord">
          <ac:chgData name="Oğuz Öztekin" userId="33c0df0f-d5fe-4bda-8f43-141ad7af67e3" providerId="ADAL" clId="{48B824AD-1B2A-47A8-8D92-6FE6E622A650}" dt="2024-12-16T09:09:06.384" v="3223"/>
          <ac:cxnSpMkLst>
            <pc:docMk/>
            <pc:sldMk cId="865606007" sldId="279"/>
            <ac:cxnSpMk id="69" creationId="{03596789-35CD-D17F-8F92-81C8AFB18F8C}"/>
          </ac:cxnSpMkLst>
        </pc:cxnChg>
        <pc:cxnChg chg="add del mod ord">
          <ac:chgData name="Oğuz Öztekin" userId="33c0df0f-d5fe-4bda-8f43-141ad7af67e3" providerId="ADAL" clId="{48B824AD-1B2A-47A8-8D92-6FE6E622A650}" dt="2024-12-16T09:09:18.109" v="3615"/>
          <ac:cxnSpMkLst>
            <pc:docMk/>
            <pc:sldMk cId="865606007" sldId="279"/>
            <ac:cxnSpMk id="116" creationId="{8BC03CA4-76E0-DAF9-E90E-1F2F65FFB2D3}"/>
          </ac:cxnSpMkLst>
        </pc:cxnChg>
        <pc:cxnChg chg="add del mod ord">
          <ac:chgData name="Oğuz Öztekin" userId="33c0df0f-d5fe-4bda-8f43-141ad7af67e3" providerId="ADAL" clId="{48B824AD-1B2A-47A8-8D92-6FE6E622A650}" dt="2024-12-16T09:09:18.113" v="3623"/>
          <ac:cxnSpMkLst>
            <pc:docMk/>
            <pc:sldMk cId="865606007" sldId="279"/>
            <ac:cxnSpMk id="117" creationId="{61581AB7-B05A-C251-95D2-C452605FEEFA}"/>
          </ac:cxnSpMkLst>
        </pc:cxnChg>
        <pc:cxnChg chg="add del mod ord">
          <ac:chgData name="Oğuz Öztekin" userId="33c0df0f-d5fe-4bda-8f43-141ad7af67e3" providerId="ADAL" clId="{48B824AD-1B2A-47A8-8D92-6FE6E622A650}" dt="2024-12-16T09:09:06.401" v="3266"/>
          <ac:cxnSpMkLst>
            <pc:docMk/>
            <pc:sldMk cId="865606007" sldId="279"/>
            <ac:cxnSpMk id="118" creationId="{B41A8D70-A108-B59C-16AB-8ECCDCE6D928}"/>
          </ac:cxnSpMkLst>
        </pc:cxnChg>
        <pc:cxnChg chg="add del mod ord">
          <ac:chgData name="Oğuz Öztekin" userId="33c0df0f-d5fe-4bda-8f43-141ad7af67e3" providerId="ADAL" clId="{48B824AD-1B2A-47A8-8D92-6FE6E622A650}" dt="2024-12-16T09:09:06.400" v="3264"/>
          <ac:cxnSpMkLst>
            <pc:docMk/>
            <pc:sldMk cId="865606007" sldId="279"/>
            <ac:cxnSpMk id="119" creationId="{80E43831-875D-571F-AFBB-5AE6CEB2BEE8}"/>
          </ac:cxnSpMkLst>
        </pc:cxnChg>
        <pc:cxnChg chg="add del mod ord">
          <ac:chgData name="Oğuz Öztekin" userId="33c0df0f-d5fe-4bda-8f43-141ad7af67e3" providerId="ADAL" clId="{48B824AD-1B2A-47A8-8D92-6FE6E622A650}" dt="2024-12-16T09:09:18.116" v="3631"/>
          <ac:cxnSpMkLst>
            <pc:docMk/>
            <pc:sldMk cId="865606007" sldId="279"/>
            <ac:cxnSpMk id="120" creationId="{CE4138CE-9188-A8A2-EA84-21A96D2C4B24}"/>
          </ac:cxnSpMkLst>
        </pc:cxnChg>
        <pc:cxnChg chg="add del mod ord">
          <ac:chgData name="Oğuz Öztekin" userId="33c0df0f-d5fe-4bda-8f43-141ad7af67e3" providerId="ADAL" clId="{48B824AD-1B2A-47A8-8D92-6FE6E622A650}" dt="2024-12-16T09:09:06.414" v="3298"/>
          <ac:cxnSpMkLst>
            <pc:docMk/>
            <pc:sldMk cId="865606007" sldId="279"/>
            <ac:cxnSpMk id="121" creationId="{2E974BD5-27F1-BD80-D05D-6CDC9AF9B39A}"/>
          </ac:cxnSpMkLst>
        </pc:cxnChg>
        <pc:cxnChg chg="add del mod ord">
          <ac:chgData name="Oğuz Öztekin" userId="33c0df0f-d5fe-4bda-8f43-141ad7af67e3" providerId="ADAL" clId="{48B824AD-1B2A-47A8-8D92-6FE6E622A650}" dt="2024-12-16T09:09:06.414" v="3296"/>
          <ac:cxnSpMkLst>
            <pc:docMk/>
            <pc:sldMk cId="865606007" sldId="279"/>
            <ac:cxnSpMk id="122" creationId="{DE538754-A3CD-D3C8-7B6D-44CD6872AD0F}"/>
          </ac:cxnSpMkLst>
        </pc:cxnChg>
        <pc:cxnChg chg="add del mod ord">
          <ac:chgData name="Oğuz Öztekin" userId="33c0df0f-d5fe-4bda-8f43-141ad7af67e3" providerId="ADAL" clId="{48B824AD-1B2A-47A8-8D92-6FE6E622A650}" dt="2024-12-16T09:09:06.240" v="3047"/>
          <ac:cxnSpMkLst>
            <pc:docMk/>
            <pc:sldMk cId="865606007" sldId="279"/>
            <ac:cxnSpMk id="123" creationId="{EF453637-90FB-B71B-6C95-4B18BC8F959A}"/>
          </ac:cxnSpMkLst>
        </pc:cxnChg>
        <pc:cxnChg chg="add del mod ord">
          <ac:chgData name="Oğuz Öztekin" userId="33c0df0f-d5fe-4bda-8f43-141ad7af67e3" providerId="ADAL" clId="{48B824AD-1B2A-47A8-8D92-6FE6E622A650}" dt="2024-12-16T09:09:06.240" v="3049"/>
          <ac:cxnSpMkLst>
            <pc:docMk/>
            <pc:sldMk cId="865606007" sldId="279"/>
            <ac:cxnSpMk id="124" creationId="{65D4E434-57DD-7645-7DF4-253074BE43B7}"/>
          </ac:cxnSpMkLst>
        </pc:cxnChg>
        <pc:cxnChg chg="add del mod ord">
          <ac:chgData name="Oğuz Öztekin" userId="33c0df0f-d5fe-4bda-8f43-141ad7af67e3" providerId="ADAL" clId="{48B824AD-1B2A-47A8-8D92-6FE6E622A650}" dt="2024-12-16T09:09:06.241" v="3051"/>
          <ac:cxnSpMkLst>
            <pc:docMk/>
            <pc:sldMk cId="865606007" sldId="279"/>
            <ac:cxnSpMk id="125" creationId="{9AB5E33C-BF7B-C9DB-4577-4C795FA054FA}"/>
          </ac:cxnSpMkLst>
        </pc:cxnChg>
        <pc:cxnChg chg="add del mod ord">
          <ac:chgData name="Oğuz Öztekin" userId="33c0df0f-d5fe-4bda-8f43-141ad7af67e3" providerId="ADAL" clId="{48B824AD-1B2A-47A8-8D92-6FE6E622A650}" dt="2024-12-16T09:09:06.117" v="2944"/>
          <ac:cxnSpMkLst>
            <pc:docMk/>
            <pc:sldMk cId="865606007" sldId="279"/>
            <ac:cxnSpMk id="126" creationId="{8EBDB478-9CF2-B61F-7674-F0B7B00D44B7}"/>
          </ac:cxnSpMkLst>
        </pc:cxnChg>
        <pc:cxnChg chg="add del mod ord">
          <ac:chgData name="Oğuz Öztekin" userId="33c0df0f-d5fe-4bda-8f43-141ad7af67e3" providerId="ADAL" clId="{48B824AD-1B2A-47A8-8D92-6FE6E622A650}" dt="2024-12-16T09:17:36.299" v="18764"/>
          <ac:cxnSpMkLst>
            <pc:docMk/>
            <pc:sldMk cId="865606007" sldId="279"/>
            <ac:cxnSpMk id="211" creationId="{BDBDEC58-AB01-0B6A-3479-3DB570DB223C}"/>
          </ac:cxnSpMkLst>
        </pc:cxnChg>
        <pc:cxnChg chg="add del mod ord">
          <ac:chgData name="Oğuz Öztekin" userId="33c0df0f-d5fe-4bda-8f43-141ad7af67e3" providerId="ADAL" clId="{48B824AD-1B2A-47A8-8D92-6FE6E622A650}" dt="2024-12-16T09:17:36.305" v="18777"/>
          <ac:cxnSpMkLst>
            <pc:docMk/>
            <pc:sldMk cId="865606007" sldId="279"/>
            <ac:cxnSpMk id="212" creationId="{EFC89659-A03A-3FDE-DD58-BFDBF48FF485}"/>
          </ac:cxnSpMkLst>
        </pc:cxnChg>
        <pc:cxnChg chg="add del mod ord">
          <ac:chgData name="Oğuz Öztekin" userId="33c0df0f-d5fe-4bda-8f43-141ad7af67e3" providerId="ADAL" clId="{48B824AD-1B2A-47A8-8D92-6FE6E622A650}" dt="2024-12-16T09:10:52.070" v="8914"/>
          <ac:cxnSpMkLst>
            <pc:docMk/>
            <pc:sldMk cId="865606007" sldId="279"/>
            <ac:cxnSpMk id="213" creationId="{47A7952A-717E-D8A1-DE6B-8B913246C680}"/>
          </ac:cxnSpMkLst>
        </pc:cxnChg>
        <pc:cxnChg chg="add del mod ord">
          <ac:chgData name="Oğuz Öztekin" userId="33c0df0f-d5fe-4bda-8f43-141ad7af67e3" providerId="ADAL" clId="{48B824AD-1B2A-47A8-8D92-6FE6E622A650}" dt="2024-12-16T09:10:52.071" v="8917"/>
          <ac:cxnSpMkLst>
            <pc:docMk/>
            <pc:sldMk cId="865606007" sldId="279"/>
            <ac:cxnSpMk id="214" creationId="{51958CC1-3187-C6FA-4B2B-DE8629BDFE5C}"/>
          </ac:cxnSpMkLst>
        </pc:cxnChg>
        <pc:cxnChg chg="add del mod ord">
          <ac:chgData name="Oğuz Öztekin" userId="33c0df0f-d5fe-4bda-8f43-141ad7af67e3" providerId="ADAL" clId="{48B824AD-1B2A-47A8-8D92-6FE6E622A650}" dt="2024-12-16T09:10:52.073" v="8920"/>
          <ac:cxnSpMkLst>
            <pc:docMk/>
            <pc:sldMk cId="865606007" sldId="279"/>
            <ac:cxnSpMk id="215" creationId="{AB92361F-C19F-6E02-E367-00FC48C4884E}"/>
          </ac:cxnSpMkLst>
        </pc:cxnChg>
        <pc:cxnChg chg="add del mod ord">
          <ac:chgData name="Oğuz Öztekin" userId="33c0df0f-d5fe-4bda-8f43-141ad7af67e3" providerId="ADAL" clId="{48B824AD-1B2A-47A8-8D92-6FE6E622A650}" dt="2024-12-16T09:10:52.074" v="8923"/>
          <ac:cxnSpMkLst>
            <pc:docMk/>
            <pc:sldMk cId="865606007" sldId="279"/>
            <ac:cxnSpMk id="216" creationId="{DAA53769-F10B-A4FF-2920-445196930151}"/>
          </ac:cxnSpMkLst>
        </pc:cxnChg>
        <pc:cxnChg chg="add del mod ord">
          <ac:chgData name="Oğuz Öztekin" userId="33c0df0f-d5fe-4bda-8f43-141ad7af67e3" providerId="ADAL" clId="{48B824AD-1B2A-47A8-8D92-6FE6E622A650}" dt="2024-12-16T09:10:52.075" v="8926"/>
          <ac:cxnSpMkLst>
            <pc:docMk/>
            <pc:sldMk cId="865606007" sldId="279"/>
            <ac:cxnSpMk id="217" creationId="{25A3ABE2-F535-C71A-491E-6CE606FBCC48}"/>
          </ac:cxnSpMkLst>
        </pc:cxnChg>
        <pc:cxnChg chg="add del mod ord">
          <ac:chgData name="Oğuz Öztekin" userId="33c0df0f-d5fe-4bda-8f43-141ad7af67e3" providerId="ADAL" clId="{48B824AD-1B2A-47A8-8D92-6FE6E622A650}" dt="2024-12-16T09:10:52.076" v="8929"/>
          <ac:cxnSpMkLst>
            <pc:docMk/>
            <pc:sldMk cId="865606007" sldId="279"/>
            <ac:cxnSpMk id="218" creationId="{0E04C4CD-3ABA-C9FA-1577-87329FFF53B8}"/>
          </ac:cxnSpMkLst>
        </pc:cxnChg>
        <pc:cxnChg chg="add del mod ord">
          <ac:chgData name="Oğuz Öztekin" userId="33c0df0f-d5fe-4bda-8f43-141ad7af67e3" providerId="ADAL" clId="{48B824AD-1B2A-47A8-8D92-6FE6E622A650}" dt="2024-12-16T09:10:52.077" v="8932"/>
          <ac:cxnSpMkLst>
            <pc:docMk/>
            <pc:sldMk cId="865606007" sldId="279"/>
            <ac:cxnSpMk id="219" creationId="{1CD3E5E3-DE7C-5A9C-8994-8762F0ECEB66}"/>
          </ac:cxnSpMkLst>
        </pc:cxnChg>
        <pc:cxnChg chg="add del mod ord">
          <ac:chgData name="Oğuz Öztekin" userId="33c0df0f-d5fe-4bda-8f43-141ad7af67e3" providerId="ADAL" clId="{48B824AD-1B2A-47A8-8D92-6FE6E622A650}" dt="2024-12-16T09:10:52.078" v="8935"/>
          <ac:cxnSpMkLst>
            <pc:docMk/>
            <pc:sldMk cId="865606007" sldId="279"/>
            <ac:cxnSpMk id="220" creationId="{D7EB6C9A-62A5-6302-0696-E2400BE62BA7}"/>
          </ac:cxnSpMkLst>
        </pc:cxnChg>
        <pc:cxnChg chg="add del mod ord">
          <ac:chgData name="Oğuz Öztekin" userId="33c0df0f-d5fe-4bda-8f43-141ad7af67e3" providerId="ADAL" clId="{48B824AD-1B2A-47A8-8D92-6FE6E622A650}" dt="2024-12-16T09:10:52.078" v="8938"/>
          <ac:cxnSpMkLst>
            <pc:docMk/>
            <pc:sldMk cId="865606007" sldId="279"/>
            <ac:cxnSpMk id="221" creationId="{D3E3D178-C984-867D-17AA-97480B5073BA}"/>
          </ac:cxnSpMkLst>
        </pc:cxnChg>
        <pc:cxnChg chg="add del mod ord">
          <ac:chgData name="Oğuz Öztekin" userId="33c0df0f-d5fe-4bda-8f43-141ad7af67e3" providerId="ADAL" clId="{48B824AD-1B2A-47A8-8D92-6FE6E622A650}" dt="2024-12-16T09:10:52.080" v="8941"/>
          <ac:cxnSpMkLst>
            <pc:docMk/>
            <pc:sldMk cId="865606007" sldId="279"/>
            <ac:cxnSpMk id="222" creationId="{53CFC3D3-CFEF-37EE-8EFC-E790F9DF209A}"/>
          </ac:cxnSpMkLst>
        </pc:cxnChg>
        <pc:cxnChg chg="add del mod ord">
          <ac:chgData name="Oğuz Öztekin" userId="33c0df0f-d5fe-4bda-8f43-141ad7af67e3" providerId="ADAL" clId="{48B824AD-1B2A-47A8-8D92-6FE6E622A650}" dt="2024-12-16T09:10:52.081" v="8944"/>
          <ac:cxnSpMkLst>
            <pc:docMk/>
            <pc:sldMk cId="865606007" sldId="279"/>
            <ac:cxnSpMk id="223" creationId="{FDEA23A0-2046-C56A-58F5-B13BA243361B}"/>
          </ac:cxnSpMkLst>
        </pc:cxnChg>
        <pc:cxnChg chg="add del mod ord">
          <ac:chgData name="Oğuz Öztekin" userId="33c0df0f-d5fe-4bda-8f43-141ad7af67e3" providerId="ADAL" clId="{48B824AD-1B2A-47A8-8D92-6FE6E622A650}" dt="2024-12-16T09:10:52.082" v="8947"/>
          <ac:cxnSpMkLst>
            <pc:docMk/>
            <pc:sldMk cId="865606007" sldId="279"/>
            <ac:cxnSpMk id="224" creationId="{6F824FC4-ED6F-4EA6-FB70-10D6E9960F3A}"/>
          </ac:cxnSpMkLst>
        </pc:cxnChg>
        <pc:cxnChg chg="add del mod ord">
          <ac:chgData name="Oğuz Öztekin" userId="33c0df0f-d5fe-4bda-8f43-141ad7af67e3" providerId="ADAL" clId="{48B824AD-1B2A-47A8-8D92-6FE6E622A650}" dt="2024-12-16T09:10:52.082" v="8950"/>
          <ac:cxnSpMkLst>
            <pc:docMk/>
            <pc:sldMk cId="865606007" sldId="279"/>
            <ac:cxnSpMk id="225" creationId="{27C2DBC4-683C-E312-4A02-D9222F000B08}"/>
          </ac:cxnSpMkLst>
        </pc:cxnChg>
        <pc:cxnChg chg="add del mod ord">
          <ac:chgData name="Oğuz Öztekin" userId="33c0df0f-d5fe-4bda-8f43-141ad7af67e3" providerId="ADAL" clId="{48B824AD-1B2A-47A8-8D92-6FE6E622A650}" dt="2024-12-16T09:10:52.083" v="8953"/>
          <ac:cxnSpMkLst>
            <pc:docMk/>
            <pc:sldMk cId="865606007" sldId="279"/>
            <ac:cxnSpMk id="226" creationId="{27DAD98B-DC03-EFF4-A3E3-F9F810ABFF47}"/>
          </ac:cxnSpMkLst>
        </pc:cxnChg>
        <pc:cxnChg chg="add del mod ord">
          <ac:chgData name="Oğuz Öztekin" userId="33c0df0f-d5fe-4bda-8f43-141ad7af67e3" providerId="ADAL" clId="{48B824AD-1B2A-47A8-8D92-6FE6E622A650}" dt="2024-12-16T09:10:52.084" v="8956"/>
          <ac:cxnSpMkLst>
            <pc:docMk/>
            <pc:sldMk cId="865606007" sldId="279"/>
            <ac:cxnSpMk id="227" creationId="{F6D752E3-023F-3C49-AC4F-5E3CB8812D05}"/>
          </ac:cxnSpMkLst>
        </pc:cxnChg>
        <pc:cxnChg chg="add del mod ord">
          <ac:chgData name="Oğuz Öztekin" userId="33c0df0f-d5fe-4bda-8f43-141ad7af67e3" providerId="ADAL" clId="{48B824AD-1B2A-47A8-8D92-6FE6E622A650}" dt="2024-12-16T09:10:52.084" v="8959"/>
          <ac:cxnSpMkLst>
            <pc:docMk/>
            <pc:sldMk cId="865606007" sldId="279"/>
            <ac:cxnSpMk id="228" creationId="{62C63EC9-C744-A727-C22B-DC0627DDE37B}"/>
          </ac:cxnSpMkLst>
        </pc:cxnChg>
        <pc:cxnChg chg="add mod ord">
          <ac:chgData name="Oğuz Öztekin" userId="33c0df0f-d5fe-4bda-8f43-141ad7af67e3" providerId="ADAL" clId="{48B824AD-1B2A-47A8-8D92-6FE6E622A650}" dt="2024-12-16T16:06:29.856" v="77701"/>
          <ac:cxnSpMkLst>
            <pc:docMk/>
            <pc:sldMk cId="865606007" sldId="279"/>
            <ac:cxnSpMk id="359" creationId="{32BB6C88-C2C5-D0B5-5FE0-0132D009AE6A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17:33:40.809" v="112636"/>
        <pc:sldMkLst>
          <pc:docMk/>
          <pc:sldMk cId="594020395" sldId="280"/>
        </pc:sldMkLst>
        <pc:spChg chg="mod or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2" creationId="{C6AA2C03-77E5-E9FF-42FB-2456EE8F4872}"/>
          </ac:spMkLst>
        </pc:spChg>
        <pc:spChg chg="add del mod modVis">
          <ac:chgData name="Oğuz Öztekin" userId="33c0df0f-d5fe-4bda-8f43-141ad7af67e3" providerId="ADAL" clId="{48B824AD-1B2A-47A8-8D92-6FE6E622A650}" dt="2024-12-16T10:56:02.733" v="31032"/>
          <ac:spMkLst>
            <pc:docMk/>
            <pc:sldMk cId="594020395" sldId="280"/>
            <ac:spMk id="4" creationId="{B66ED92D-A262-26A3-12DA-4F36497A5548}"/>
          </ac:spMkLst>
        </pc:spChg>
        <pc:spChg chg="add del mod modVis">
          <ac:chgData name="Oğuz Öztekin" userId="33c0df0f-d5fe-4bda-8f43-141ad7af67e3" providerId="ADAL" clId="{48B824AD-1B2A-47A8-8D92-6FE6E622A650}" dt="2024-12-16T09:11:58.963" v="9824"/>
          <ac:spMkLst>
            <pc:docMk/>
            <pc:sldMk cId="594020395" sldId="280"/>
            <ac:spMk id="4" creationId="{E132DEDA-3743-3145-4239-D1DB94A493DB}"/>
          </ac:spMkLst>
        </pc:spChg>
        <pc:spChg chg="add del mod modVis">
          <ac:chgData name="Oğuz Öztekin" userId="33c0df0f-d5fe-4bda-8f43-141ad7af67e3" providerId="ADAL" clId="{48B824AD-1B2A-47A8-8D92-6FE6E622A650}" dt="2024-12-16T16:09:36.431" v="84749"/>
          <ac:spMkLst>
            <pc:docMk/>
            <pc:sldMk cId="594020395" sldId="280"/>
            <ac:spMk id="4" creationId="{F6A3A5A6-F335-40BD-C611-22AAAD14BF28}"/>
          </ac:spMkLst>
        </pc:spChg>
        <pc:spChg chg="add del mod modVis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6" creationId="{48F0242B-4DC3-118C-77AB-0E6AC7A28449}"/>
          </ac:spMkLst>
        </pc:spChg>
        <pc:spChg chg="add del mod modVis">
          <ac:chgData name="Oğuz Öztekin" userId="33c0df0f-d5fe-4bda-8f43-141ad7af67e3" providerId="ADAL" clId="{48B824AD-1B2A-47A8-8D92-6FE6E622A650}" dt="2024-12-16T16:09:43.732" v="84800"/>
          <ac:spMkLst>
            <pc:docMk/>
            <pc:sldMk cId="594020395" sldId="280"/>
            <ac:spMk id="6" creationId="{DE52D602-955C-D961-3FCE-8FA652FD1027}"/>
          </ac:spMkLst>
        </pc:spChg>
        <pc:spChg chg="add del mod modVis">
          <ac:chgData name="Oğuz Öztekin" userId="33c0df0f-d5fe-4bda-8f43-141ad7af67e3" providerId="ADAL" clId="{48B824AD-1B2A-47A8-8D92-6FE6E622A650}" dt="2024-12-16T09:12:15.508" v="9909"/>
          <ac:spMkLst>
            <pc:docMk/>
            <pc:sldMk cId="594020395" sldId="280"/>
            <ac:spMk id="6" creationId="{F3BF73E9-474F-A37D-F2FB-01C59CB0FE99}"/>
          </ac:spMkLst>
        </pc:spChg>
        <pc:spChg chg="add del mod modVis">
          <ac:chgData name="Oğuz Öztekin" userId="33c0df0f-d5fe-4bda-8f43-141ad7af67e3" providerId="ADAL" clId="{48B824AD-1B2A-47A8-8D92-6FE6E622A650}" dt="2024-12-16T16:09:56.049" v="84825"/>
          <ac:spMkLst>
            <pc:docMk/>
            <pc:sldMk cId="594020395" sldId="280"/>
            <ac:spMk id="7" creationId="{A6412F5A-EFD6-3991-9CED-CF416A98EB86}"/>
          </ac:spMkLst>
        </pc:spChg>
        <pc:spChg chg="add del mod modVis">
          <ac:chgData name="Oğuz Öztekin" userId="33c0df0f-d5fe-4bda-8f43-141ad7af67e3" providerId="ADAL" clId="{48B824AD-1B2A-47A8-8D92-6FE6E622A650}" dt="2024-12-16T09:12:18.187" v="9995"/>
          <ac:spMkLst>
            <pc:docMk/>
            <pc:sldMk cId="594020395" sldId="280"/>
            <ac:spMk id="8" creationId="{B521FAA3-9013-B67F-A4C3-6609A6BA9A45}"/>
          </ac:spMkLst>
        </pc:spChg>
        <pc:spChg chg="add del mod modVis">
          <ac:chgData name="Oğuz Öztekin" userId="33c0df0f-d5fe-4bda-8f43-141ad7af67e3" providerId="ADAL" clId="{48B824AD-1B2A-47A8-8D92-6FE6E622A650}" dt="2024-12-16T16:10:34.350" v="84866"/>
          <ac:spMkLst>
            <pc:docMk/>
            <pc:sldMk cId="594020395" sldId="280"/>
            <ac:spMk id="8" creationId="{F37F79C0-5C59-E097-7749-2FF18B9BD401}"/>
          </ac:spMkLst>
        </pc:spChg>
        <pc:spChg chg="add del mod modVis">
          <ac:chgData name="Oğuz Öztekin" userId="33c0df0f-d5fe-4bda-8f43-141ad7af67e3" providerId="ADAL" clId="{48B824AD-1B2A-47A8-8D92-6FE6E622A650}" dt="2024-12-16T16:10:38.496" v="84898"/>
          <ac:spMkLst>
            <pc:docMk/>
            <pc:sldMk cId="594020395" sldId="280"/>
            <ac:spMk id="9" creationId="{54A554C5-0DE3-CD14-8216-F28AF057EE0B}"/>
          </ac:spMkLst>
        </pc:spChg>
        <pc:spChg chg="add del mod modVis">
          <ac:chgData name="Oğuz Öztekin" userId="33c0df0f-d5fe-4bda-8f43-141ad7af67e3" providerId="ADAL" clId="{48B824AD-1B2A-47A8-8D92-6FE6E622A650}" dt="2024-12-16T09:12:23.921" v="10075"/>
          <ac:spMkLst>
            <pc:docMk/>
            <pc:sldMk cId="594020395" sldId="280"/>
            <ac:spMk id="10" creationId="{1525B253-5C68-4B42-12D4-D217A9D24A2C}"/>
          </ac:spMkLst>
        </pc:spChg>
        <pc:spChg chg="add del mod modVis">
          <ac:chgData name="Oğuz Öztekin" userId="33c0df0f-d5fe-4bda-8f43-141ad7af67e3" providerId="ADAL" clId="{48B824AD-1B2A-47A8-8D92-6FE6E622A650}" dt="2024-12-16T16:10:43.137" v="84941"/>
          <ac:spMkLst>
            <pc:docMk/>
            <pc:sldMk cId="594020395" sldId="280"/>
            <ac:spMk id="10" creationId="{CD055F30-9B13-88EB-8BD7-DE133DC2701E}"/>
          </ac:spMkLst>
        </pc:spChg>
        <pc:spChg chg="add del mod modVis">
          <ac:chgData name="Oğuz Öztekin" userId="33c0df0f-d5fe-4bda-8f43-141ad7af67e3" providerId="ADAL" clId="{48B824AD-1B2A-47A8-8D92-6FE6E622A650}" dt="2024-12-16T16:10:44.804" v="84966"/>
          <ac:spMkLst>
            <pc:docMk/>
            <pc:sldMk cId="594020395" sldId="280"/>
            <ac:spMk id="11" creationId="{0B24C4DD-8CDA-070A-18AE-8C9E293A7430}"/>
          </ac:spMkLst>
        </pc:spChg>
        <pc:spChg chg="add del mod modVis">
          <ac:chgData name="Oğuz Öztekin" userId="33c0df0f-d5fe-4bda-8f43-141ad7af67e3" providerId="ADAL" clId="{48B824AD-1B2A-47A8-8D92-6FE6E622A650}" dt="2024-12-16T09:12:26.934" v="10799"/>
          <ac:spMkLst>
            <pc:docMk/>
            <pc:sldMk cId="594020395" sldId="280"/>
            <ac:spMk id="12" creationId="{18406A53-8104-F7CE-9238-D4707DFC76BD}"/>
          </ac:spMkLst>
        </pc:spChg>
        <pc:spChg chg="add del mod modVis">
          <ac:chgData name="Oğuz Öztekin" userId="33c0df0f-d5fe-4bda-8f43-141ad7af67e3" providerId="ADAL" clId="{48B824AD-1B2A-47A8-8D92-6FE6E622A650}" dt="2024-12-16T16:10:47.295" v="85000"/>
          <ac:spMkLst>
            <pc:docMk/>
            <pc:sldMk cId="594020395" sldId="280"/>
            <ac:spMk id="12" creationId="{1DBD801B-93B2-2658-6399-7C80565EE456}"/>
          </ac:spMkLst>
        </pc:spChg>
        <pc:spChg chg="add del mod modVis">
          <ac:chgData name="Oğuz Öztekin" userId="33c0df0f-d5fe-4bda-8f43-141ad7af67e3" providerId="ADAL" clId="{48B824AD-1B2A-47A8-8D92-6FE6E622A650}" dt="2024-12-16T16:10:48.667" v="85027"/>
          <ac:spMkLst>
            <pc:docMk/>
            <pc:sldMk cId="594020395" sldId="280"/>
            <ac:spMk id="13" creationId="{15585127-064A-2BFA-A8AA-BFC1362B801F}"/>
          </ac:spMkLst>
        </pc:spChg>
        <pc:spChg chg="add del mod">
          <ac:chgData name="Oğuz Öztekin" userId="33c0df0f-d5fe-4bda-8f43-141ad7af67e3" providerId="ADAL" clId="{48B824AD-1B2A-47A8-8D92-6FE6E622A650}" dt="2024-12-16T09:12:27.647" v="10868"/>
          <ac:spMkLst>
            <pc:docMk/>
            <pc:sldMk cId="594020395" sldId="280"/>
            <ac:spMk id="13" creationId="{F381CB21-F749-2AA9-2639-A327F32EA6E5}"/>
          </ac:spMkLst>
        </pc:spChg>
        <pc:spChg chg="add del mod modVis">
          <ac:chgData name="Oğuz Öztekin" userId="33c0df0f-d5fe-4bda-8f43-141ad7af67e3" providerId="ADAL" clId="{48B824AD-1B2A-47A8-8D92-6FE6E622A650}" dt="2024-12-16T16:10:50.675" v="85059"/>
          <ac:spMkLst>
            <pc:docMk/>
            <pc:sldMk cId="594020395" sldId="280"/>
            <ac:spMk id="14" creationId="{39D0CA93-9CEC-2AD3-28AB-B36D9B18E6C6}"/>
          </ac:spMkLst>
        </pc:spChg>
        <pc:spChg chg="add del mod">
          <ac:chgData name="Oğuz Öztekin" userId="33c0df0f-d5fe-4bda-8f43-141ad7af67e3" providerId="ADAL" clId="{48B824AD-1B2A-47A8-8D92-6FE6E622A650}" dt="2024-12-16T09:12:27.648" v="10869"/>
          <ac:spMkLst>
            <pc:docMk/>
            <pc:sldMk cId="594020395" sldId="280"/>
            <ac:spMk id="14" creationId="{C5B4D18C-1F15-FD36-B2C9-BB49EF194C1D}"/>
          </ac:spMkLst>
        </pc:spChg>
        <pc:spChg chg="add del mod modVis">
          <ac:chgData name="Oğuz Öztekin" userId="33c0df0f-d5fe-4bda-8f43-141ad7af67e3" providerId="ADAL" clId="{48B824AD-1B2A-47A8-8D92-6FE6E622A650}" dt="2024-12-16T16:10:52.235" v="85084"/>
          <ac:spMkLst>
            <pc:docMk/>
            <pc:sldMk cId="594020395" sldId="280"/>
            <ac:spMk id="15" creationId="{8153AF55-F4D8-1DC3-5A93-FD0447B04E2D}"/>
          </ac:spMkLst>
        </pc:spChg>
        <pc:spChg chg="add del mod">
          <ac:chgData name="Oğuz Öztekin" userId="33c0df0f-d5fe-4bda-8f43-141ad7af67e3" providerId="ADAL" clId="{48B824AD-1B2A-47A8-8D92-6FE6E622A650}" dt="2024-12-16T09:12:27.648" v="10870"/>
          <ac:spMkLst>
            <pc:docMk/>
            <pc:sldMk cId="594020395" sldId="280"/>
            <ac:spMk id="15" creationId="{9C094452-7B29-A5E5-25F2-4B8A64D9F6AA}"/>
          </ac:spMkLst>
        </pc:spChg>
        <pc:spChg chg="add del mod">
          <ac:chgData name="Oğuz Öztekin" userId="33c0df0f-d5fe-4bda-8f43-141ad7af67e3" providerId="ADAL" clId="{48B824AD-1B2A-47A8-8D92-6FE6E622A650}" dt="2024-12-16T09:12:27.649" v="10871"/>
          <ac:spMkLst>
            <pc:docMk/>
            <pc:sldMk cId="594020395" sldId="280"/>
            <ac:spMk id="16" creationId="{62A1D600-9C2F-9F4F-C566-00332BAE7F63}"/>
          </ac:spMkLst>
        </pc:spChg>
        <pc:spChg chg="add del mod modVis">
          <ac:chgData name="Oğuz Öztekin" userId="33c0df0f-d5fe-4bda-8f43-141ad7af67e3" providerId="ADAL" clId="{48B824AD-1B2A-47A8-8D92-6FE6E622A650}" dt="2024-12-16T16:10:54.646" v="85110"/>
          <ac:spMkLst>
            <pc:docMk/>
            <pc:sldMk cId="594020395" sldId="280"/>
            <ac:spMk id="16" creationId="{89782E0B-9BB3-8A40-C70F-129EC4FE7D03}"/>
          </ac:spMkLst>
        </pc:spChg>
        <pc:spChg chg="add del mod">
          <ac:chgData name="Oğuz Öztekin" userId="33c0df0f-d5fe-4bda-8f43-141ad7af67e3" providerId="ADAL" clId="{48B824AD-1B2A-47A8-8D92-6FE6E622A650}" dt="2024-12-16T09:12:27.649" v="10872"/>
          <ac:spMkLst>
            <pc:docMk/>
            <pc:sldMk cId="594020395" sldId="280"/>
            <ac:spMk id="17" creationId="{39CAC708-484B-083E-D363-E6946D290B65}"/>
          </ac:spMkLst>
        </pc:spChg>
        <pc:spChg chg="add del mod modVis">
          <ac:chgData name="Oğuz Öztekin" userId="33c0df0f-d5fe-4bda-8f43-141ad7af67e3" providerId="ADAL" clId="{48B824AD-1B2A-47A8-8D92-6FE6E622A650}" dt="2024-12-16T16:10:55.751" v="85135"/>
          <ac:spMkLst>
            <pc:docMk/>
            <pc:sldMk cId="594020395" sldId="280"/>
            <ac:spMk id="17" creationId="{CB27FFA4-2DE0-0B04-B6FA-FFEA2FE82C18}"/>
          </ac:spMkLst>
        </pc:spChg>
        <pc:spChg chg="add del mod">
          <ac:chgData name="Oğuz Öztekin" userId="33c0df0f-d5fe-4bda-8f43-141ad7af67e3" providerId="ADAL" clId="{48B824AD-1B2A-47A8-8D92-6FE6E622A650}" dt="2024-12-16T09:12:27.650" v="10873"/>
          <ac:spMkLst>
            <pc:docMk/>
            <pc:sldMk cId="594020395" sldId="280"/>
            <ac:spMk id="18" creationId="{7FC192CD-F5DA-2E03-A284-0F97BEA94FA3}"/>
          </ac:spMkLst>
        </pc:spChg>
        <pc:spChg chg="add del mod modVis">
          <ac:chgData name="Oğuz Öztekin" userId="33c0df0f-d5fe-4bda-8f43-141ad7af67e3" providerId="ADAL" clId="{48B824AD-1B2A-47A8-8D92-6FE6E622A650}" dt="2024-12-16T16:10:59.890" v="85161"/>
          <ac:spMkLst>
            <pc:docMk/>
            <pc:sldMk cId="594020395" sldId="280"/>
            <ac:spMk id="18" creationId="{BC88CC71-718A-6F14-7302-3F399F854720}"/>
          </ac:spMkLst>
        </pc:spChg>
        <pc:spChg chg="add del mod modVis">
          <ac:chgData name="Oğuz Öztekin" userId="33c0df0f-d5fe-4bda-8f43-141ad7af67e3" providerId="ADAL" clId="{48B824AD-1B2A-47A8-8D92-6FE6E622A650}" dt="2024-12-16T16:11:18.906" v="85443"/>
          <ac:spMkLst>
            <pc:docMk/>
            <pc:sldMk cId="594020395" sldId="280"/>
            <ac:spMk id="19" creationId="{6D078FF8-5C30-CFB7-B9A2-6A21B975E1E5}"/>
          </ac:spMkLst>
        </pc:spChg>
        <pc:spChg chg="add del mod">
          <ac:chgData name="Oğuz Öztekin" userId="33c0df0f-d5fe-4bda-8f43-141ad7af67e3" providerId="ADAL" clId="{48B824AD-1B2A-47A8-8D92-6FE6E622A650}" dt="2024-12-16T09:12:27.650" v="10874"/>
          <ac:spMkLst>
            <pc:docMk/>
            <pc:sldMk cId="594020395" sldId="280"/>
            <ac:spMk id="19" creationId="{C5C3BE61-8943-17F6-FFDD-86739C2865D6}"/>
          </ac:spMkLst>
        </pc:spChg>
        <pc:spChg chg="add del mod">
          <ac:chgData name="Oğuz Öztekin" userId="33c0df0f-d5fe-4bda-8f43-141ad7af67e3" providerId="ADAL" clId="{48B824AD-1B2A-47A8-8D92-6FE6E622A650}" dt="2024-12-16T09:12:27.650" v="10875"/>
          <ac:spMkLst>
            <pc:docMk/>
            <pc:sldMk cId="594020395" sldId="280"/>
            <ac:spMk id="20" creationId="{8D8321E9-7C39-83AA-546E-3CE2E2C70813}"/>
          </ac:spMkLst>
        </pc:spChg>
        <pc:spChg chg="add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20" creationId="{DCA15E76-1FB5-2156-67F5-9DBA17FD86E2}"/>
          </ac:spMkLst>
        </pc:spChg>
        <pc:spChg chg="add del mod">
          <ac:chgData name="Oğuz Öztekin" userId="33c0df0f-d5fe-4bda-8f43-141ad7af67e3" providerId="ADAL" clId="{48B824AD-1B2A-47A8-8D92-6FE6E622A650}" dt="2024-12-16T09:12:27.651" v="10876"/>
          <ac:spMkLst>
            <pc:docMk/>
            <pc:sldMk cId="594020395" sldId="280"/>
            <ac:spMk id="21" creationId="{26FB2FC3-1F34-AAE1-6727-9DD31A9CA997}"/>
          </ac:spMkLst>
        </pc:spChg>
        <pc:spChg chg="add del mod">
          <ac:chgData name="Oğuz Öztekin" userId="33c0df0f-d5fe-4bda-8f43-141ad7af67e3" providerId="ADAL" clId="{48B824AD-1B2A-47A8-8D92-6FE6E622A650}" dt="2024-12-16T09:12:27.651" v="10877"/>
          <ac:spMkLst>
            <pc:docMk/>
            <pc:sldMk cId="594020395" sldId="280"/>
            <ac:spMk id="22" creationId="{8854AFC2-597B-1A0F-D2E5-F95F9E267D03}"/>
          </ac:spMkLst>
        </pc:spChg>
        <pc:spChg chg="add del mod modVis">
          <ac:chgData name="Oğuz Öztekin" userId="33c0df0f-d5fe-4bda-8f43-141ad7af67e3" providerId="ADAL" clId="{48B824AD-1B2A-47A8-8D92-6FE6E622A650}" dt="2024-12-16T16:11:21.918" v="85535"/>
          <ac:spMkLst>
            <pc:docMk/>
            <pc:sldMk cId="594020395" sldId="280"/>
            <ac:spMk id="22" creationId="{BE06BEEC-D355-38F7-5752-7DFE604E57D8}"/>
          </ac:spMkLst>
        </pc:spChg>
        <pc:spChg chg="add del mod">
          <ac:chgData name="Oğuz Öztekin" userId="33c0df0f-d5fe-4bda-8f43-141ad7af67e3" providerId="ADAL" clId="{48B824AD-1B2A-47A8-8D92-6FE6E622A650}" dt="2024-12-16T09:12:27.652" v="10878"/>
          <ac:spMkLst>
            <pc:docMk/>
            <pc:sldMk cId="594020395" sldId="280"/>
            <ac:spMk id="23" creationId="{D76C9C7E-C7A9-57A5-8A27-F29FBC52890A}"/>
          </ac:spMkLst>
        </pc:spChg>
        <pc:spChg chg="add del mod">
          <ac:chgData name="Oğuz Öztekin" userId="33c0df0f-d5fe-4bda-8f43-141ad7af67e3" providerId="ADAL" clId="{48B824AD-1B2A-47A8-8D92-6FE6E622A650}" dt="2024-12-16T09:12:27.653" v="10879"/>
          <ac:spMkLst>
            <pc:docMk/>
            <pc:sldMk cId="594020395" sldId="280"/>
            <ac:spMk id="24" creationId="{56C5965D-80A3-D217-688C-B273CBB96879}"/>
          </ac:spMkLst>
        </pc:spChg>
        <pc:spChg chg="add del mod modVis">
          <ac:chgData name="Oğuz Öztekin" userId="33c0df0f-d5fe-4bda-8f43-141ad7af67e3" providerId="ADAL" clId="{48B824AD-1B2A-47A8-8D92-6FE6E622A650}" dt="2024-12-16T16:11:25.095" v="85629"/>
          <ac:spMkLst>
            <pc:docMk/>
            <pc:sldMk cId="594020395" sldId="280"/>
            <ac:spMk id="24" creationId="{616C28DF-B689-DAA1-813D-5422A3D963F7}"/>
          </ac:spMkLst>
        </pc:spChg>
        <pc:spChg chg="add del mod">
          <ac:chgData name="Oğuz Öztekin" userId="33c0df0f-d5fe-4bda-8f43-141ad7af67e3" providerId="ADAL" clId="{48B824AD-1B2A-47A8-8D92-6FE6E622A650}" dt="2024-12-16T09:12:27.653" v="10880"/>
          <ac:spMkLst>
            <pc:docMk/>
            <pc:sldMk cId="594020395" sldId="280"/>
            <ac:spMk id="25" creationId="{AC2BE47B-ABF0-97AB-BD4B-A5F66859D765}"/>
          </ac:spMkLst>
        </pc:spChg>
        <pc:spChg chg="add del mod">
          <ac:chgData name="Oğuz Öztekin" userId="33c0df0f-d5fe-4bda-8f43-141ad7af67e3" providerId="ADAL" clId="{48B824AD-1B2A-47A8-8D92-6FE6E622A650}" dt="2024-12-16T09:12:27.654" v="10881"/>
          <ac:spMkLst>
            <pc:docMk/>
            <pc:sldMk cId="594020395" sldId="280"/>
            <ac:spMk id="26" creationId="{1C455A1E-DBB9-7469-DDAE-EEDAC3F50367}"/>
          </ac:spMkLst>
        </pc:spChg>
        <pc:spChg chg="add del mod modVis">
          <ac:chgData name="Oğuz Öztekin" userId="33c0df0f-d5fe-4bda-8f43-141ad7af67e3" providerId="ADAL" clId="{48B824AD-1B2A-47A8-8D92-6FE6E622A650}" dt="2024-12-16T16:11:26.161" v="85718"/>
          <ac:spMkLst>
            <pc:docMk/>
            <pc:sldMk cId="594020395" sldId="280"/>
            <ac:spMk id="26" creationId="{4FC0045B-26E4-E138-3A65-0144D8E65BC1}"/>
          </ac:spMkLst>
        </pc:spChg>
        <pc:spChg chg="add del mod modVis">
          <ac:chgData name="Oğuz Öztekin" userId="33c0df0f-d5fe-4bda-8f43-141ad7af67e3" providerId="ADAL" clId="{48B824AD-1B2A-47A8-8D92-6FE6E622A650}" dt="2024-12-16T09:12:27.686" v="10907"/>
          <ac:spMkLst>
            <pc:docMk/>
            <pc:sldMk cId="594020395" sldId="280"/>
            <ac:spMk id="28" creationId="{49C306B6-6CFB-FE4B-083F-4674544A62EA}"/>
          </ac:spMkLst>
        </pc:spChg>
        <pc:spChg chg="add del mod modVis">
          <ac:chgData name="Oğuz Öztekin" userId="33c0df0f-d5fe-4bda-8f43-141ad7af67e3" providerId="ADAL" clId="{48B824AD-1B2A-47A8-8D92-6FE6E622A650}" dt="2024-12-16T16:11:30.569" v="85858"/>
          <ac:spMkLst>
            <pc:docMk/>
            <pc:sldMk cId="594020395" sldId="280"/>
            <ac:spMk id="28" creationId="{5D181970-25F2-C869-F6A9-BA4FCD74FB98}"/>
          </ac:spMkLst>
        </pc:spChg>
        <pc:spChg chg="add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29" creationId="{C06F10B9-DDF2-EC1A-8A6A-05420FFBF403}"/>
          </ac:spMkLst>
        </pc:spChg>
        <pc:spChg chg="add del mod modVis">
          <ac:chgData name="Oğuz Öztekin" userId="33c0df0f-d5fe-4bda-8f43-141ad7af67e3" providerId="ADAL" clId="{48B824AD-1B2A-47A8-8D92-6FE6E622A650}" dt="2024-12-16T09:12:29.017" v="10991"/>
          <ac:spMkLst>
            <pc:docMk/>
            <pc:sldMk cId="594020395" sldId="280"/>
            <ac:spMk id="30" creationId="{7209C4FB-3F13-FFE4-7056-7B9D69987F7C}"/>
          </ac:spMkLst>
        </pc:spChg>
        <pc:spChg chg="add del mod modVis">
          <ac:chgData name="Oğuz Öztekin" userId="33c0df0f-d5fe-4bda-8f43-141ad7af67e3" providerId="ADAL" clId="{48B824AD-1B2A-47A8-8D92-6FE6E622A650}" dt="2024-12-16T16:11:33.731" v="85952"/>
          <ac:spMkLst>
            <pc:docMk/>
            <pc:sldMk cId="594020395" sldId="280"/>
            <ac:spMk id="31" creationId="{E0D72185-B7BE-F460-AB2E-553E5357FF17}"/>
          </ac:spMkLst>
        </pc:spChg>
        <pc:spChg chg="del mod">
          <ac:chgData name="Oğuz Öztekin" userId="33c0df0f-d5fe-4bda-8f43-141ad7af67e3" providerId="ADAL" clId="{48B824AD-1B2A-47A8-8D92-6FE6E622A650}" dt="2024-12-16T09:13:36.787" v="12468"/>
          <ac:spMkLst>
            <pc:docMk/>
            <pc:sldMk cId="594020395" sldId="280"/>
            <ac:spMk id="32" creationId="{F93F298F-2A59-3AE6-0F82-29D5BCF18E1B}"/>
          </ac:spMkLst>
        </pc:spChg>
        <pc:spChg chg="add del mod modVis">
          <ac:chgData name="Oğuz Öztekin" userId="33c0df0f-d5fe-4bda-8f43-141ad7af67e3" providerId="ADAL" clId="{48B824AD-1B2A-47A8-8D92-6FE6E622A650}" dt="2024-12-16T16:11:36.691" v="86063"/>
          <ac:spMkLst>
            <pc:docMk/>
            <pc:sldMk cId="594020395" sldId="280"/>
            <ac:spMk id="33" creationId="{8A35E7BC-D2FF-A494-1F05-A013D3970C53}"/>
          </ac:spMkLst>
        </pc:spChg>
        <pc:spChg chg="add del mod modVis">
          <ac:chgData name="Oğuz Öztekin" userId="33c0df0f-d5fe-4bda-8f43-141ad7af67e3" providerId="ADAL" clId="{48B824AD-1B2A-47A8-8D92-6FE6E622A650}" dt="2024-12-16T09:13:49.777" v="12703"/>
          <ac:spMkLst>
            <pc:docMk/>
            <pc:sldMk cId="594020395" sldId="280"/>
            <ac:spMk id="34" creationId="{CF54BEF7-4B78-14AE-C509-3DC5DF11EE79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35" creationId="{3E9F1F75-4021-E92C-3FB5-3259B6E56D9B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36" creationId="{398C4C45-3695-8C37-D5DF-7A406FD7B0F5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37" creationId="{F2FA9605-EB2E-6CD9-EE02-3C1527136C50}"/>
          </ac:spMkLst>
        </pc:spChg>
        <pc:spChg chg="add del mod modVis">
          <ac:chgData name="Oğuz Öztekin" userId="33c0df0f-d5fe-4bda-8f43-141ad7af67e3" providerId="ADAL" clId="{48B824AD-1B2A-47A8-8D92-6FE6E622A650}" dt="2024-12-16T16:11:42.094" v="86171"/>
          <ac:spMkLst>
            <pc:docMk/>
            <pc:sldMk cId="594020395" sldId="280"/>
            <ac:spMk id="38" creationId="{0A093129-4575-F874-9AE1-31131359AB84}"/>
          </ac:spMkLst>
        </pc:spChg>
        <pc:spChg chg="add del mod ord">
          <ac:chgData name="Oğuz Öztekin" userId="33c0df0f-d5fe-4bda-8f43-141ad7af67e3" providerId="ADAL" clId="{48B824AD-1B2A-47A8-8D92-6FE6E622A650}" dt="2024-12-16T09:15:50.230" v="15476"/>
          <ac:spMkLst>
            <pc:docMk/>
            <pc:sldMk cId="594020395" sldId="280"/>
            <ac:spMk id="38" creationId="{0CD60EF2-F8AD-F045-D170-5CF367366F09}"/>
          </ac:spMkLst>
        </pc:spChg>
        <pc:spChg chg="add del mod modVis">
          <ac:chgData name="Oğuz Öztekin" userId="33c0df0f-d5fe-4bda-8f43-141ad7af67e3" providerId="ADAL" clId="{48B824AD-1B2A-47A8-8D92-6FE6E622A650}" dt="2024-12-16T16:11:43.244" v="86262"/>
          <ac:spMkLst>
            <pc:docMk/>
            <pc:sldMk cId="594020395" sldId="280"/>
            <ac:spMk id="40" creationId="{8A6B338E-5753-8A9B-FB0D-AB421BA48A8F}"/>
          </ac:spMkLst>
        </pc:spChg>
        <pc:spChg chg="add del mod modVis">
          <ac:chgData name="Oğuz Öztekin" userId="33c0df0f-d5fe-4bda-8f43-141ad7af67e3" providerId="ADAL" clId="{48B824AD-1B2A-47A8-8D92-6FE6E622A650}" dt="2024-12-16T09:13:56.960" v="12829"/>
          <ac:spMkLst>
            <pc:docMk/>
            <pc:sldMk cId="594020395" sldId="280"/>
            <ac:spMk id="41" creationId="{6BE7A09F-D524-31A4-B4F2-FF0B080511B6}"/>
          </ac:spMkLst>
        </pc:spChg>
        <pc:spChg chg="add del mod modVis">
          <ac:chgData name="Oğuz Öztekin" userId="33c0df0f-d5fe-4bda-8f43-141ad7af67e3" providerId="ADAL" clId="{48B824AD-1B2A-47A8-8D92-6FE6E622A650}" dt="2024-12-16T16:11:46.379" v="86363"/>
          <ac:spMkLst>
            <pc:docMk/>
            <pc:sldMk cId="594020395" sldId="280"/>
            <ac:spMk id="42" creationId="{FD95833C-5514-26D9-F20A-C6D5349AF111}"/>
          </ac:spMkLst>
        </pc:spChg>
        <pc:spChg chg="add del mod modVis">
          <ac:chgData name="Oğuz Öztekin" userId="33c0df0f-d5fe-4bda-8f43-141ad7af67e3" providerId="ADAL" clId="{48B824AD-1B2A-47A8-8D92-6FE6E622A650}" dt="2024-12-16T09:14:04.920" v="12955"/>
          <ac:spMkLst>
            <pc:docMk/>
            <pc:sldMk cId="594020395" sldId="280"/>
            <ac:spMk id="44" creationId="{B19D8BC6-851F-4BD7-AFFF-E785AEFD00D8}"/>
          </ac:spMkLst>
        </pc:spChg>
        <pc:spChg chg="add del mod modVis">
          <ac:chgData name="Oğuz Öztekin" userId="33c0df0f-d5fe-4bda-8f43-141ad7af67e3" providerId="ADAL" clId="{48B824AD-1B2A-47A8-8D92-6FE6E622A650}" dt="2024-12-16T16:11:48.756" v="86461"/>
          <ac:spMkLst>
            <pc:docMk/>
            <pc:sldMk cId="594020395" sldId="280"/>
            <ac:spMk id="44" creationId="{C3D9BD95-FCAB-9288-E544-5527CB359389}"/>
          </ac:spMkLst>
        </pc:spChg>
        <pc:spChg chg="add del mod modVis">
          <ac:chgData name="Oğuz Öztekin" userId="33c0df0f-d5fe-4bda-8f43-141ad7af67e3" providerId="ADAL" clId="{48B824AD-1B2A-47A8-8D92-6FE6E622A650}" dt="2024-12-16T16:11:49.755" v="86554"/>
          <ac:spMkLst>
            <pc:docMk/>
            <pc:sldMk cId="594020395" sldId="280"/>
            <ac:spMk id="46" creationId="{0DB54634-D302-7BB2-E2F9-4C429571DF88}"/>
          </ac:spMkLst>
        </pc:spChg>
        <pc:spChg chg="add del mod modVis">
          <ac:chgData name="Oğuz Öztekin" userId="33c0df0f-d5fe-4bda-8f43-141ad7af67e3" providerId="ADAL" clId="{48B824AD-1B2A-47A8-8D92-6FE6E622A650}" dt="2024-12-16T09:14:07.678" v="13081"/>
          <ac:spMkLst>
            <pc:docMk/>
            <pc:sldMk cId="594020395" sldId="280"/>
            <ac:spMk id="46" creationId="{6C8FD2DD-E6CA-30CA-7122-930DBF1FA4F3}"/>
          </ac:spMkLst>
        </pc:spChg>
        <pc:spChg chg="add del mod modVis">
          <ac:chgData name="Oğuz Öztekin" userId="33c0df0f-d5fe-4bda-8f43-141ad7af67e3" providerId="ADAL" clId="{48B824AD-1B2A-47A8-8D92-6FE6E622A650}" dt="2024-12-16T09:14:12.165" v="13218"/>
          <ac:spMkLst>
            <pc:docMk/>
            <pc:sldMk cId="594020395" sldId="280"/>
            <ac:spMk id="48" creationId="{29C9C531-A16A-50D8-FBEF-21CB5F220049}"/>
          </ac:spMkLst>
        </pc:spChg>
        <pc:spChg chg="add del mod modVis">
          <ac:chgData name="Oğuz Öztekin" userId="33c0df0f-d5fe-4bda-8f43-141ad7af67e3" providerId="ADAL" clId="{48B824AD-1B2A-47A8-8D92-6FE6E622A650}" dt="2024-12-16T16:11:51.542" v="86648"/>
          <ac:spMkLst>
            <pc:docMk/>
            <pc:sldMk cId="594020395" sldId="280"/>
            <ac:spMk id="48" creationId="{FB5BA026-A527-9FA2-32C2-5FDE3A541B76}"/>
          </ac:spMkLst>
        </pc:spChg>
        <pc:spChg chg="add del mod modVis">
          <ac:chgData name="Oğuz Öztekin" userId="33c0df0f-d5fe-4bda-8f43-141ad7af67e3" providerId="ADAL" clId="{48B824AD-1B2A-47A8-8D92-6FE6E622A650}" dt="2024-12-16T09:14:15.560" v="13406"/>
          <ac:spMkLst>
            <pc:docMk/>
            <pc:sldMk cId="594020395" sldId="280"/>
            <ac:spMk id="50" creationId="{191F507A-7418-F997-D0B5-D6D6C9CB9715}"/>
          </ac:spMkLst>
        </pc:spChg>
        <pc:spChg chg="add del mod modVis">
          <ac:chgData name="Oğuz Öztekin" userId="33c0df0f-d5fe-4bda-8f43-141ad7af67e3" providerId="ADAL" clId="{48B824AD-1B2A-47A8-8D92-6FE6E622A650}" dt="2024-12-16T16:11:52.860" v="86739"/>
          <ac:spMkLst>
            <pc:docMk/>
            <pc:sldMk cId="594020395" sldId="280"/>
            <ac:spMk id="50" creationId="{8C46B4E2-E1BF-3EAA-8F99-DE8DE6675712}"/>
          </ac:spMkLst>
        </pc:spChg>
        <pc:spChg chg="add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51" creationId="{C371C815-064C-7820-BBDD-081A023339F2}"/>
          </ac:spMkLst>
        </pc:spChg>
        <pc:spChg chg="add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52" creationId="{975A46FA-97AE-1D8E-9B01-48A3F2917481}"/>
          </ac:spMkLst>
        </pc:spChg>
        <pc:spChg chg="add del mod modVis">
          <ac:chgData name="Oğuz Öztekin" userId="33c0df0f-d5fe-4bda-8f43-141ad7af67e3" providerId="ADAL" clId="{48B824AD-1B2A-47A8-8D92-6FE6E622A650}" dt="2024-12-16T09:14:23.204" v="13511"/>
          <ac:spMkLst>
            <pc:docMk/>
            <pc:sldMk cId="594020395" sldId="280"/>
            <ac:spMk id="55" creationId="{204E4DF7-8889-4015-875E-06D136A58271}"/>
          </ac:spMkLst>
        </pc:spChg>
        <pc:spChg chg="add del mod modVis">
          <ac:chgData name="Oğuz Öztekin" userId="33c0df0f-d5fe-4bda-8f43-141ad7af67e3" providerId="ADAL" clId="{48B824AD-1B2A-47A8-8D92-6FE6E622A650}" dt="2024-12-16T16:11:55.142" v="86835"/>
          <ac:spMkLst>
            <pc:docMk/>
            <pc:sldMk cId="594020395" sldId="280"/>
            <ac:spMk id="55" creationId="{A1AA6C25-C539-17C5-60A2-A9FD6F5E8B3B}"/>
          </ac:spMkLst>
        </pc:spChg>
        <pc:spChg chg="add del mod modVis">
          <ac:chgData name="Oğuz Öztekin" userId="33c0df0f-d5fe-4bda-8f43-141ad7af67e3" providerId="ADAL" clId="{48B824AD-1B2A-47A8-8D92-6FE6E622A650}" dt="2024-12-16T09:14:25.666" v="13616"/>
          <ac:spMkLst>
            <pc:docMk/>
            <pc:sldMk cId="594020395" sldId="280"/>
            <ac:spMk id="57" creationId="{1C0CDF68-2531-02E1-A1C1-1F8753EE5851}"/>
          </ac:spMkLst>
        </pc:spChg>
        <pc:spChg chg="add del mod modVis">
          <ac:chgData name="Oğuz Öztekin" userId="33c0df0f-d5fe-4bda-8f43-141ad7af67e3" providerId="ADAL" clId="{48B824AD-1B2A-47A8-8D92-6FE6E622A650}" dt="2024-12-16T16:11:57.721" v="86933"/>
          <ac:spMkLst>
            <pc:docMk/>
            <pc:sldMk cId="594020395" sldId="280"/>
            <ac:spMk id="57" creationId="{81CA0160-8076-7FFA-7F6F-F9A3D1A47497}"/>
          </ac:spMkLst>
        </pc:spChg>
        <pc:spChg chg="add del mod modVis">
          <ac:chgData name="Oğuz Öztekin" userId="33c0df0f-d5fe-4bda-8f43-141ad7af67e3" providerId="ADAL" clId="{48B824AD-1B2A-47A8-8D92-6FE6E622A650}" dt="2024-12-16T16:11:59.079" v="87026"/>
          <ac:spMkLst>
            <pc:docMk/>
            <pc:sldMk cId="594020395" sldId="280"/>
            <ac:spMk id="59" creationId="{84FE9ADA-9FE4-233F-9208-34C25B405681}"/>
          </ac:spMkLst>
        </pc:spChg>
        <pc:spChg chg="add del mod modVis">
          <ac:chgData name="Oğuz Öztekin" userId="33c0df0f-d5fe-4bda-8f43-141ad7af67e3" providerId="ADAL" clId="{48B824AD-1B2A-47A8-8D92-6FE6E622A650}" dt="2024-12-16T09:14:26.243" v="13721"/>
          <ac:spMkLst>
            <pc:docMk/>
            <pc:sldMk cId="594020395" sldId="280"/>
            <ac:spMk id="59" creationId="{AFF2848D-A92D-4B02-4719-34726EDA0F47}"/>
          </ac:spMkLst>
        </pc:spChg>
        <pc:spChg chg="add del mod modVis">
          <ac:chgData name="Oğuz Öztekin" userId="33c0df0f-d5fe-4bda-8f43-141ad7af67e3" providerId="ADAL" clId="{48B824AD-1B2A-47A8-8D92-6FE6E622A650}" dt="2024-12-16T16:12:00.567" v="87117"/>
          <ac:spMkLst>
            <pc:docMk/>
            <pc:sldMk cId="594020395" sldId="280"/>
            <ac:spMk id="61" creationId="{4F2E97A9-EACC-25AD-0308-31B9D86F6ED2}"/>
          </ac:spMkLst>
        </pc:spChg>
        <pc:spChg chg="add del mod modVis">
          <ac:chgData name="Oğuz Öztekin" userId="33c0df0f-d5fe-4bda-8f43-141ad7af67e3" providerId="ADAL" clId="{48B824AD-1B2A-47A8-8D92-6FE6E622A650}" dt="2024-12-16T09:14:27.273" v="13826"/>
          <ac:spMkLst>
            <pc:docMk/>
            <pc:sldMk cId="594020395" sldId="280"/>
            <ac:spMk id="61" creationId="{B0A0CF19-F7F8-9BA7-35EC-9D9DCF823B64}"/>
          </ac:spMkLst>
        </pc:spChg>
        <pc:spChg chg="add del mod modVis">
          <ac:chgData name="Oğuz Öztekin" userId="33c0df0f-d5fe-4bda-8f43-141ad7af67e3" providerId="ADAL" clId="{48B824AD-1B2A-47A8-8D92-6FE6E622A650}" dt="2024-12-16T16:12:05.052" v="87210"/>
          <ac:spMkLst>
            <pc:docMk/>
            <pc:sldMk cId="594020395" sldId="280"/>
            <ac:spMk id="63" creationId="{97D0FA9E-0A06-01A9-F046-AF369ECFCB9F}"/>
          </ac:spMkLst>
        </pc:spChg>
        <pc:spChg chg="add del mod modVis">
          <ac:chgData name="Oğuz Öztekin" userId="33c0df0f-d5fe-4bda-8f43-141ad7af67e3" providerId="ADAL" clId="{48B824AD-1B2A-47A8-8D92-6FE6E622A650}" dt="2024-12-16T09:14:34.657" v="13936"/>
          <ac:spMkLst>
            <pc:docMk/>
            <pc:sldMk cId="594020395" sldId="280"/>
            <ac:spMk id="63" creationId="{AD55C2EF-9C84-91D0-D200-607320F127C1}"/>
          </ac:spMkLst>
        </pc:spChg>
        <pc:spChg chg="add del mod modVis">
          <ac:chgData name="Oğuz Öztekin" userId="33c0df0f-d5fe-4bda-8f43-141ad7af67e3" providerId="ADAL" clId="{48B824AD-1B2A-47A8-8D92-6FE6E622A650}" dt="2024-12-16T16:12:06.835" v="87307"/>
          <ac:spMkLst>
            <pc:docMk/>
            <pc:sldMk cId="594020395" sldId="280"/>
            <ac:spMk id="65" creationId="{69E3CD82-3827-2CB0-9F80-5D9C578A6B63}"/>
          </ac:spMkLst>
        </pc:spChg>
        <pc:spChg chg="add del mod modVis">
          <ac:chgData name="Oğuz Öztekin" userId="33c0df0f-d5fe-4bda-8f43-141ad7af67e3" providerId="ADAL" clId="{48B824AD-1B2A-47A8-8D92-6FE6E622A650}" dt="2024-12-16T09:14:42.690" v="14048"/>
          <ac:spMkLst>
            <pc:docMk/>
            <pc:sldMk cId="594020395" sldId="280"/>
            <ac:spMk id="65" creationId="{C2F15EFE-C8B6-F027-4A89-4D97461FF8F5}"/>
          </ac:spMkLst>
        </pc:spChg>
        <pc:spChg chg="add del mod modVis">
          <ac:chgData name="Oğuz Öztekin" userId="33c0df0f-d5fe-4bda-8f43-141ad7af67e3" providerId="ADAL" clId="{48B824AD-1B2A-47A8-8D92-6FE6E622A650}" dt="2024-12-16T16:12:12.212" v="87418"/>
          <ac:spMkLst>
            <pc:docMk/>
            <pc:sldMk cId="594020395" sldId="280"/>
            <ac:spMk id="67" creationId="{4B2EB191-2D65-B54A-8BAB-D8267A6E004E}"/>
          </ac:spMkLst>
        </pc:spChg>
        <pc:spChg chg="add del mod modVis">
          <ac:chgData name="Oğuz Öztekin" userId="33c0df0f-d5fe-4bda-8f43-141ad7af67e3" providerId="ADAL" clId="{48B824AD-1B2A-47A8-8D92-6FE6E622A650}" dt="2024-12-16T09:14:56.457" v="14181"/>
          <ac:spMkLst>
            <pc:docMk/>
            <pc:sldMk cId="594020395" sldId="280"/>
            <ac:spMk id="67" creationId="{4E9254B4-F6BF-BD6A-AAF6-0D489FC671CD}"/>
          </ac:spMkLst>
        </pc:spChg>
        <pc:spChg chg="add del mod modVis">
          <ac:chgData name="Oğuz Öztekin" userId="33c0df0f-d5fe-4bda-8f43-141ad7af67e3" providerId="ADAL" clId="{48B824AD-1B2A-47A8-8D92-6FE6E622A650}" dt="2024-12-16T09:14:59.462" v="14314"/>
          <ac:spMkLst>
            <pc:docMk/>
            <pc:sldMk cId="594020395" sldId="280"/>
            <ac:spMk id="69" creationId="{B366A64A-6744-261A-938E-A96601005650}"/>
          </ac:spMkLst>
        </pc:spChg>
        <pc:spChg chg="add del mod modVis">
          <ac:chgData name="Oğuz Öztekin" userId="33c0df0f-d5fe-4bda-8f43-141ad7af67e3" providerId="ADAL" clId="{48B824AD-1B2A-47A8-8D92-6FE6E622A650}" dt="2024-12-16T16:12:13.163" v="87509"/>
          <ac:spMkLst>
            <pc:docMk/>
            <pc:sldMk cId="594020395" sldId="280"/>
            <ac:spMk id="69" creationId="{BDC60C40-9D6B-6FCF-90FD-45C03D8116D7}"/>
          </ac:spMkLst>
        </pc:spChg>
        <pc:spChg chg="add del mod modVis">
          <ac:chgData name="Oğuz Öztekin" userId="33c0df0f-d5fe-4bda-8f43-141ad7af67e3" providerId="ADAL" clId="{48B824AD-1B2A-47A8-8D92-6FE6E622A650}" dt="2024-12-16T16:12:14.096" v="87600"/>
          <ac:spMkLst>
            <pc:docMk/>
            <pc:sldMk cId="594020395" sldId="280"/>
            <ac:spMk id="71" creationId="{995BF787-32D0-2995-F329-634AA64DE33D}"/>
          </ac:spMkLst>
        </pc:spChg>
        <pc:spChg chg="add del mod modVis">
          <ac:chgData name="Oğuz Öztekin" userId="33c0df0f-d5fe-4bda-8f43-141ad7af67e3" providerId="ADAL" clId="{48B824AD-1B2A-47A8-8D92-6FE6E622A650}" dt="2024-12-16T09:15:26.651" v="14520"/>
          <ac:spMkLst>
            <pc:docMk/>
            <pc:sldMk cId="594020395" sldId="280"/>
            <ac:spMk id="71" creationId="{C97F4E20-1FA0-EDE7-D964-FC8D31EF5D68}"/>
          </ac:spMkLst>
        </pc:spChg>
        <pc:spChg chg="add del mod or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72" creationId="{217962B5-07D1-A6BB-D924-2FCFE734D1BA}"/>
          </ac:spMkLst>
        </pc:spChg>
        <pc:spChg chg="add del mod modVis">
          <ac:chgData name="Oğuz Öztekin" userId="33c0df0f-d5fe-4bda-8f43-141ad7af67e3" providerId="ADAL" clId="{48B824AD-1B2A-47A8-8D92-6FE6E622A650}" dt="2024-12-16T09:15:31.803" v="14797"/>
          <ac:spMkLst>
            <pc:docMk/>
            <pc:sldMk cId="594020395" sldId="280"/>
            <ac:spMk id="77" creationId="{1E40CE88-EC41-EA80-A225-B79576FC40C7}"/>
          </ac:spMkLst>
        </pc:spChg>
        <pc:spChg chg="add del mod modVis">
          <ac:chgData name="Oğuz Öztekin" userId="33c0df0f-d5fe-4bda-8f43-141ad7af67e3" providerId="ADAL" clId="{48B824AD-1B2A-47A8-8D92-6FE6E622A650}" dt="2024-12-16T16:12:15.893" v="87691"/>
          <ac:spMkLst>
            <pc:docMk/>
            <pc:sldMk cId="594020395" sldId="280"/>
            <ac:spMk id="77" creationId="{C0C48E03-5F22-2337-18C3-802E1AF7B307}"/>
          </ac:spMkLst>
        </pc:spChg>
        <pc:spChg chg="add del mod modVis">
          <ac:chgData name="Oğuz Öztekin" userId="33c0df0f-d5fe-4bda-8f43-141ad7af67e3" providerId="ADAL" clId="{48B824AD-1B2A-47A8-8D92-6FE6E622A650}" dt="2024-12-16T09:15:35.751" v="15102"/>
          <ac:spMkLst>
            <pc:docMk/>
            <pc:sldMk cId="594020395" sldId="280"/>
            <ac:spMk id="79" creationId="{1C5E2687-9933-70F2-DBDE-A8364A516C81}"/>
          </ac:spMkLst>
        </pc:spChg>
        <pc:spChg chg="add del mod modVis">
          <ac:chgData name="Oğuz Öztekin" userId="33c0df0f-d5fe-4bda-8f43-141ad7af67e3" providerId="ADAL" clId="{48B824AD-1B2A-47A8-8D92-6FE6E622A650}" dt="2024-12-16T16:12:16.467" v="87782"/>
          <ac:spMkLst>
            <pc:docMk/>
            <pc:sldMk cId="594020395" sldId="280"/>
            <ac:spMk id="79" creationId="{BC5FDC5E-AF53-2573-D028-8C842EA0A824}"/>
          </ac:spMkLst>
        </pc:spChg>
        <pc:spChg chg="add del mod modVis">
          <ac:chgData name="Oğuz Öztekin" userId="33c0df0f-d5fe-4bda-8f43-141ad7af67e3" providerId="ADAL" clId="{48B824AD-1B2A-47A8-8D92-6FE6E622A650}" dt="2024-12-16T09:15:41.525" v="15286"/>
          <ac:spMkLst>
            <pc:docMk/>
            <pc:sldMk cId="594020395" sldId="280"/>
            <ac:spMk id="81" creationId="{15B3BC6C-ADEC-75C4-6928-6CE1771CF524}"/>
          </ac:spMkLst>
        </pc:spChg>
        <pc:spChg chg="add del mod modVis">
          <ac:chgData name="Oğuz Öztekin" userId="33c0df0f-d5fe-4bda-8f43-141ad7af67e3" providerId="ADAL" clId="{48B824AD-1B2A-47A8-8D92-6FE6E622A650}" dt="2024-12-16T16:12:21.254" v="87874"/>
          <ac:spMkLst>
            <pc:docMk/>
            <pc:sldMk cId="594020395" sldId="280"/>
            <ac:spMk id="81" creationId="{1735C305-F182-EF64-05CA-3ACAFEAB6F5C}"/>
          </ac:spMkLst>
        </pc:spChg>
        <pc:spChg chg="add del mod modVis">
          <ac:chgData name="Oğuz Öztekin" userId="33c0df0f-d5fe-4bda-8f43-141ad7af67e3" providerId="ADAL" clId="{48B824AD-1B2A-47A8-8D92-6FE6E622A650}" dt="2024-12-16T16:12:28.464" v="87965"/>
          <ac:spMkLst>
            <pc:docMk/>
            <pc:sldMk cId="594020395" sldId="280"/>
            <ac:spMk id="83" creationId="{55F15140-0638-E1EA-6E6A-432D7ED4C20C}"/>
          </ac:spMkLst>
        </pc:spChg>
        <pc:spChg chg="add del mod modVis">
          <ac:chgData name="Oğuz Öztekin" userId="33c0df0f-d5fe-4bda-8f43-141ad7af67e3" providerId="ADAL" clId="{48B824AD-1B2A-47A8-8D92-6FE6E622A650}" dt="2024-12-16T09:15:44.543" v="15470"/>
          <ac:spMkLst>
            <pc:docMk/>
            <pc:sldMk cId="594020395" sldId="280"/>
            <ac:spMk id="83" creationId="{C48238D0-8E02-427E-37A8-DD27DA5138B9}"/>
          </ac:spMkLst>
        </pc:spChg>
        <pc:spChg chg="add del mod modVis">
          <ac:chgData name="Oğuz Öztekin" userId="33c0df0f-d5fe-4bda-8f43-141ad7af67e3" providerId="ADAL" clId="{48B824AD-1B2A-47A8-8D92-6FE6E622A650}" dt="2024-12-16T16:12:32.076" v="88057"/>
          <ac:spMkLst>
            <pc:docMk/>
            <pc:sldMk cId="594020395" sldId="280"/>
            <ac:spMk id="85" creationId="{6B86F846-8192-B6D3-331C-2D531D96FAC3}"/>
          </ac:spMkLst>
        </pc:spChg>
        <pc:spChg chg="add del mod modVis">
          <ac:chgData name="Oğuz Öztekin" userId="33c0df0f-d5fe-4bda-8f43-141ad7af67e3" providerId="ADAL" clId="{48B824AD-1B2A-47A8-8D92-6FE6E622A650}" dt="2024-12-16T09:15:50.290" v="15564"/>
          <ac:spMkLst>
            <pc:docMk/>
            <pc:sldMk cId="594020395" sldId="280"/>
            <ac:spMk id="85" creationId="{A364F48A-44D6-1451-51C3-F4E17C7E4B0B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86" creationId="{4398599D-315C-1B83-0AC7-A49EF39A88FA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87" creationId="{317A7B25-7BDD-13B5-300B-66A0DCE222F3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88" creationId="{11ACAB09-F112-8BB0-41D7-61A6DB96892C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89" creationId="{3BFC80D0-9BA7-5A34-05AC-5195C5B084B0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90" creationId="{D3A26D38-7D44-3AB5-F264-76C525055ABA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91" creationId="{86085410-C76B-EBD9-A398-9527CC61790C}"/>
          </ac:spMkLst>
        </pc:spChg>
        <pc:spChg chg="add del mod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92" creationId="{044543A5-1D2D-7E42-A7E9-0194FAFF5FF9}"/>
          </ac:spMkLst>
        </pc:spChg>
        <pc:spChg chg="add del mod modVis">
          <ac:chgData name="Oğuz Öztekin" userId="33c0df0f-d5fe-4bda-8f43-141ad7af67e3" providerId="ADAL" clId="{48B824AD-1B2A-47A8-8D92-6FE6E622A650}" dt="2024-12-16T09:15:55.538" v="15733"/>
          <ac:spMkLst>
            <pc:docMk/>
            <pc:sldMk cId="594020395" sldId="280"/>
            <ac:spMk id="94" creationId="{085BD675-3828-06BD-40A6-8CDC57B9A53E}"/>
          </ac:spMkLst>
        </pc:spChg>
        <pc:spChg chg="add del mod modVis">
          <ac:chgData name="Oğuz Öztekin" userId="33c0df0f-d5fe-4bda-8f43-141ad7af67e3" providerId="ADAL" clId="{48B824AD-1B2A-47A8-8D92-6FE6E622A650}" dt="2024-12-16T16:12:51.119" v="88196"/>
          <ac:spMkLst>
            <pc:docMk/>
            <pc:sldMk cId="594020395" sldId="280"/>
            <ac:spMk id="94" creationId="{7856B634-D2AA-6859-854F-903338B87D88}"/>
          </ac:spMkLst>
        </pc:spChg>
        <pc:spChg chg="add del mod modVis">
          <ac:chgData name="Oğuz Öztekin" userId="33c0df0f-d5fe-4bda-8f43-141ad7af67e3" providerId="ADAL" clId="{48B824AD-1B2A-47A8-8D92-6FE6E622A650}" dt="2024-12-16T16:19:02.302" v="95910"/>
          <ac:spMkLst>
            <pc:docMk/>
            <pc:sldMk cId="594020395" sldId="280"/>
            <ac:spMk id="96" creationId="{A6511EEB-37E7-948B-BDBF-007F04FE5C38}"/>
          </ac:spMkLst>
        </pc:spChg>
        <pc:spChg chg="add del mod modVis">
          <ac:chgData name="Oğuz Öztekin" userId="33c0df0f-d5fe-4bda-8f43-141ad7af67e3" providerId="ADAL" clId="{48B824AD-1B2A-47A8-8D92-6FE6E622A650}" dt="2024-12-16T16:19:08.716" v="96008"/>
          <ac:spMkLst>
            <pc:docMk/>
            <pc:sldMk cId="594020395" sldId="280"/>
            <ac:spMk id="98" creationId="{DFDDA530-E85F-E23A-967E-70E4884DFBCF}"/>
          </ac:spMkLst>
        </pc:spChg>
        <pc:spChg chg="add del mod modVis">
          <ac:chgData name="Oğuz Öztekin" userId="33c0df0f-d5fe-4bda-8f43-141ad7af67e3" providerId="ADAL" clId="{48B824AD-1B2A-47A8-8D92-6FE6E622A650}" dt="2024-12-16T16:19:11.189" v="96192"/>
          <ac:spMkLst>
            <pc:docMk/>
            <pc:sldMk cId="594020395" sldId="280"/>
            <ac:spMk id="100" creationId="{04550B7B-2AA0-BA56-4BEF-3B22DDE2650F}"/>
          </ac:spMkLst>
        </pc:spChg>
        <pc:spChg chg="add del mod modVis">
          <ac:chgData name="Oğuz Öztekin" userId="33c0df0f-d5fe-4bda-8f43-141ad7af67e3" providerId="ADAL" clId="{48B824AD-1B2A-47A8-8D92-6FE6E622A650}" dt="2024-12-16T17:33:40.800" v="112634"/>
          <ac:spMkLst>
            <pc:docMk/>
            <pc:sldMk cId="594020395" sldId="280"/>
            <ac:spMk id="102" creationId="{6251A80D-D192-5D66-8D19-A1F2FEA6FFEB}"/>
          </ac:spMkLst>
        </pc:spChg>
        <pc:spChg chg="add del mod modVis">
          <ac:chgData name="Oğuz Öztekin" userId="33c0df0f-d5fe-4bda-8f43-141ad7af67e3" providerId="ADAL" clId="{48B824AD-1B2A-47A8-8D92-6FE6E622A650}" dt="2024-12-16T09:15:57.685" v="15902"/>
          <ac:spMkLst>
            <pc:docMk/>
            <pc:sldMk cId="594020395" sldId="280"/>
            <ac:spMk id="160" creationId="{A9E003FE-4871-A545-8FDE-6F4AA9D61F31}"/>
          </ac:spMkLst>
        </pc:spChg>
        <pc:spChg chg="add del mod modVis">
          <ac:chgData name="Oğuz Öztekin" userId="33c0df0f-d5fe-4bda-8f43-141ad7af67e3" providerId="ADAL" clId="{48B824AD-1B2A-47A8-8D92-6FE6E622A650}" dt="2024-12-16T09:16:00.796" v="16082"/>
          <ac:spMkLst>
            <pc:docMk/>
            <pc:sldMk cId="594020395" sldId="280"/>
            <ac:spMk id="162" creationId="{B81E0E4B-4984-3D0D-5E45-21CA5EE8B2B5}"/>
          </ac:spMkLst>
        </pc:spChg>
        <pc:spChg chg="add del mod modVis">
          <ac:chgData name="Oğuz Öztekin" userId="33c0df0f-d5fe-4bda-8f43-141ad7af67e3" providerId="ADAL" clId="{48B824AD-1B2A-47A8-8D92-6FE6E622A650}" dt="2024-12-16T09:16:08.392" v="16331"/>
          <ac:spMkLst>
            <pc:docMk/>
            <pc:sldMk cId="594020395" sldId="280"/>
            <ac:spMk id="164" creationId="{D6DFE5A8-FD2F-F57C-8060-9D0C9233CD65}"/>
          </ac:spMkLst>
        </pc:spChg>
        <pc:spChg chg="add del mod modVis">
          <ac:chgData name="Oğuz Öztekin" userId="33c0df0f-d5fe-4bda-8f43-141ad7af67e3" providerId="ADAL" clId="{48B824AD-1B2A-47A8-8D92-6FE6E622A650}" dt="2024-12-16T09:16:13.111" v="16511"/>
          <ac:spMkLst>
            <pc:docMk/>
            <pc:sldMk cId="594020395" sldId="280"/>
            <ac:spMk id="166" creationId="{9F4D537B-76E6-1087-C976-4CE9C5645D1D}"/>
          </ac:spMkLst>
        </pc:spChg>
        <pc:spChg chg="add del mod modVis">
          <ac:chgData name="Oğuz Öztekin" userId="33c0df0f-d5fe-4bda-8f43-141ad7af67e3" providerId="ADAL" clId="{48B824AD-1B2A-47A8-8D92-6FE6E622A650}" dt="2024-12-16T09:16:14.965" v="16647"/>
          <ac:spMkLst>
            <pc:docMk/>
            <pc:sldMk cId="594020395" sldId="280"/>
            <ac:spMk id="168" creationId="{E2780D46-5B46-3657-786D-060DC91341D1}"/>
          </ac:spMkLst>
        </pc:spChg>
        <pc:spChg chg="add del mod modVis">
          <ac:chgData name="Oğuz Öztekin" userId="33c0df0f-d5fe-4bda-8f43-141ad7af67e3" providerId="ADAL" clId="{48B824AD-1B2A-47A8-8D92-6FE6E622A650}" dt="2024-12-16T09:16:17.858" v="16821"/>
          <ac:spMkLst>
            <pc:docMk/>
            <pc:sldMk cId="594020395" sldId="280"/>
            <ac:spMk id="170" creationId="{42593456-622B-2E8A-E4C2-1171C8772BC2}"/>
          </ac:spMkLst>
        </pc:spChg>
        <pc:spChg chg="add del mod modVis">
          <ac:chgData name="Oğuz Öztekin" userId="33c0df0f-d5fe-4bda-8f43-141ad7af67e3" providerId="ADAL" clId="{48B824AD-1B2A-47A8-8D92-6FE6E622A650}" dt="2024-12-16T09:16:20.190" v="16995"/>
          <ac:spMkLst>
            <pc:docMk/>
            <pc:sldMk cId="594020395" sldId="280"/>
            <ac:spMk id="172" creationId="{045EEE4C-8A65-A00E-5A0D-A5B80DA384B8}"/>
          </ac:spMkLst>
        </pc:spChg>
        <pc:spChg chg="add del mod modVis">
          <ac:chgData name="Oğuz Öztekin" userId="33c0df0f-d5fe-4bda-8f43-141ad7af67e3" providerId="ADAL" clId="{48B824AD-1B2A-47A8-8D92-6FE6E622A650}" dt="2024-12-16T09:16:22.882" v="17153"/>
          <ac:spMkLst>
            <pc:docMk/>
            <pc:sldMk cId="594020395" sldId="280"/>
            <ac:spMk id="174" creationId="{CD46A314-D504-A0F0-12B7-64382300BAFF}"/>
          </ac:spMkLst>
        </pc:spChg>
        <pc:spChg chg="add del mod modVis">
          <ac:chgData name="Oğuz Öztekin" userId="33c0df0f-d5fe-4bda-8f43-141ad7af67e3" providerId="ADAL" clId="{48B824AD-1B2A-47A8-8D92-6FE6E622A650}" dt="2024-12-16T09:16:27.924" v="17287"/>
          <ac:spMkLst>
            <pc:docMk/>
            <pc:sldMk cId="594020395" sldId="280"/>
            <ac:spMk id="176" creationId="{9EFF0879-19D8-E14B-5984-18CF3461B4AD}"/>
          </ac:spMkLst>
        </pc:spChg>
        <pc:spChg chg="add del mod modVis">
          <ac:chgData name="Oğuz Öztekin" userId="33c0df0f-d5fe-4bda-8f43-141ad7af67e3" providerId="ADAL" clId="{48B824AD-1B2A-47A8-8D92-6FE6E622A650}" dt="2024-12-16T09:16:57.216" v="17486"/>
          <ac:spMkLst>
            <pc:docMk/>
            <pc:sldMk cId="594020395" sldId="280"/>
            <ac:spMk id="178" creationId="{7BE679BD-74F7-876D-A877-88BA6EFF91A2}"/>
          </ac:spMkLst>
        </pc:spChg>
        <pc:spChg chg="add del mod modVis">
          <ac:chgData name="Oğuz Öztekin" userId="33c0df0f-d5fe-4bda-8f43-141ad7af67e3" providerId="ADAL" clId="{48B824AD-1B2A-47A8-8D92-6FE6E622A650}" dt="2024-12-16T09:17:10.725" v="17815"/>
          <ac:spMkLst>
            <pc:docMk/>
            <pc:sldMk cId="594020395" sldId="280"/>
            <ac:spMk id="180" creationId="{FA302303-240D-F073-EBF0-41CBD5FEB8D1}"/>
          </ac:spMkLst>
        </pc:spChg>
        <pc:spChg chg="add del mod">
          <ac:chgData name="Oğuz Öztekin" userId="33c0df0f-d5fe-4bda-8f43-141ad7af67e3" providerId="ADAL" clId="{48B824AD-1B2A-47A8-8D92-6FE6E622A650}" dt="2024-12-16T09:17:12.020" v="17875"/>
          <ac:spMkLst>
            <pc:docMk/>
            <pc:sldMk cId="594020395" sldId="280"/>
            <ac:spMk id="181" creationId="{34AF0572-9A1A-CE38-3B05-E78E068F788B}"/>
          </ac:spMkLst>
        </pc:spChg>
        <pc:spChg chg="add del mod">
          <ac:chgData name="Oğuz Öztekin" userId="33c0df0f-d5fe-4bda-8f43-141ad7af67e3" providerId="ADAL" clId="{48B824AD-1B2A-47A8-8D92-6FE6E622A650}" dt="2024-12-16T09:17:12.020" v="17876"/>
          <ac:spMkLst>
            <pc:docMk/>
            <pc:sldMk cId="594020395" sldId="280"/>
            <ac:spMk id="182" creationId="{464C6E21-D954-3492-D7DD-51161EC1B031}"/>
          </ac:spMkLst>
        </pc:spChg>
        <pc:spChg chg="add del mod">
          <ac:chgData name="Oğuz Öztekin" userId="33c0df0f-d5fe-4bda-8f43-141ad7af67e3" providerId="ADAL" clId="{48B824AD-1B2A-47A8-8D92-6FE6E622A650}" dt="2024-12-16T09:17:12.021" v="17877"/>
          <ac:spMkLst>
            <pc:docMk/>
            <pc:sldMk cId="594020395" sldId="280"/>
            <ac:spMk id="183" creationId="{AEE74517-BF1E-AAA2-0319-C22B0FAB9FEF}"/>
          </ac:spMkLst>
        </pc:spChg>
        <pc:spChg chg="add del mod">
          <ac:chgData name="Oğuz Öztekin" userId="33c0df0f-d5fe-4bda-8f43-141ad7af67e3" providerId="ADAL" clId="{48B824AD-1B2A-47A8-8D92-6FE6E622A650}" dt="2024-12-16T09:17:12.021" v="17878"/>
          <ac:spMkLst>
            <pc:docMk/>
            <pc:sldMk cId="594020395" sldId="280"/>
            <ac:spMk id="184" creationId="{5D608B1E-ABFD-8A09-255B-E8EA2237C9A1}"/>
          </ac:spMkLst>
        </pc:spChg>
        <pc:spChg chg="add del mod">
          <ac:chgData name="Oğuz Öztekin" userId="33c0df0f-d5fe-4bda-8f43-141ad7af67e3" providerId="ADAL" clId="{48B824AD-1B2A-47A8-8D92-6FE6E622A650}" dt="2024-12-16T09:17:12.021" v="17879"/>
          <ac:spMkLst>
            <pc:docMk/>
            <pc:sldMk cId="594020395" sldId="280"/>
            <ac:spMk id="185" creationId="{9FC7F473-F5C0-2880-0482-D554AFB09526}"/>
          </ac:spMkLst>
        </pc:spChg>
        <pc:spChg chg="add del mod modVis">
          <ac:chgData name="Oğuz Öztekin" userId="33c0df0f-d5fe-4bda-8f43-141ad7af67e3" providerId="ADAL" clId="{48B824AD-1B2A-47A8-8D92-6FE6E622A650}" dt="2024-12-16T09:17:12.053" v="17915"/>
          <ac:spMkLst>
            <pc:docMk/>
            <pc:sldMk cId="594020395" sldId="280"/>
            <ac:spMk id="187" creationId="{F057C1F5-E293-944C-C492-38F68A47FE18}"/>
          </ac:spMkLst>
        </pc:spChg>
        <pc:spChg chg="del">
          <ac:chgData name="Oğuz Öztekin" userId="33c0df0f-d5fe-4bda-8f43-141ad7af67e3" providerId="ADAL" clId="{48B824AD-1B2A-47A8-8D92-6FE6E622A650}" dt="2024-12-16T09:11:58.822" v="9643"/>
          <ac:spMkLst>
            <pc:docMk/>
            <pc:sldMk cId="594020395" sldId="280"/>
            <ac:spMk id="191" creationId="{6B3CCA0E-A0BF-0922-0284-96A0D5DD03EB}"/>
          </ac:spMkLst>
        </pc:spChg>
        <pc:spChg chg="del">
          <ac:chgData name="Oğuz Öztekin" userId="33c0df0f-d5fe-4bda-8f43-141ad7af67e3" providerId="ADAL" clId="{48B824AD-1B2A-47A8-8D92-6FE6E622A650}" dt="2024-12-16T09:11:58.823" v="9646"/>
          <ac:spMkLst>
            <pc:docMk/>
            <pc:sldMk cId="594020395" sldId="280"/>
            <ac:spMk id="192" creationId="{3786ECD7-82C4-383A-5F60-6B1D8941C134}"/>
          </ac:spMkLst>
        </pc:spChg>
        <pc:spChg chg="add del mod modVis">
          <ac:chgData name="Oğuz Öztekin" userId="33c0df0f-d5fe-4bda-8f43-141ad7af67e3" providerId="ADAL" clId="{48B824AD-1B2A-47A8-8D92-6FE6E622A650}" dt="2024-12-16T09:12:30.867" v="11073"/>
          <ac:spMkLst>
            <pc:docMk/>
            <pc:sldMk cId="594020395" sldId="280"/>
            <ac:spMk id="224" creationId="{7D6C6A39-7AD9-FF9B-B80B-F064C2C9105F}"/>
          </ac:spMkLst>
        </pc:spChg>
        <pc:spChg chg="add del mod modVis">
          <ac:chgData name="Oğuz Öztekin" userId="33c0df0f-d5fe-4bda-8f43-141ad7af67e3" providerId="ADAL" clId="{48B824AD-1B2A-47A8-8D92-6FE6E622A650}" dt="2024-12-16T09:12:33.537" v="11177"/>
          <ac:spMkLst>
            <pc:docMk/>
            <pc:sldMk cId="594020395" sldId="280"/>
            <ac:spMk id="226" creationId="{1A237EB7-0A81-FE21-2EAA-A3FF9B3AFAAA}"/>
          </ac:spMkLst>
        </pc:spChg>
        <pc:spChg chg="add del mod modVis">
          <ac:chgData name="Oğuz Öztekin" userId="33c0df0f-d5fe-4bda-8f43-141ad7af67e3" providerId="ADAL" clId="{48B824AD-1B2A-47A8-8D92-6FE6E622A650}" dt="2024-12-16T09:12:35.159" v="11269"/>
          <ac:spMkLst>
            <pc:docMk/>
            <pc:sldMk cId="594020395" sldId="280"/>
            <ac:spMk id="228" creationId="{5973651B-568B-7312-DA1B-E760F711CDF4}"/>
          </ac:spMkLst>
        </pc:spChg>
        <pc:spChg chg="add del mod modVis">
          <ac:chgData name="Oğuz Öztekin" userId="33c0df0f-d5fe-4bda-8f43-141ad7af67e3" providerId="ADAL" clId="{48B824AD-1B2A-47A8-8D92-6FE6E622A650}" dt="2024-12-16T09:12:44.538" v="11363"/>
          <ac:spMkLst>
            <pc:docMk/>
            <pc:sldMk cId="594020395" sldId="280"/>
            <ac:spMk id="230" creationId="{DABBFFFC-1496-1B54-8603-EFC10F02FBF4}"/>
          </ac:spMkLst>
        </pc:spChg>
        <pc:spChg chg="add del mod modVis">
          <ac:chgData name="Oğuz Öztekin" userId="33c0df0f-d5fe-4bda-8f43-141ad7af67e3" providerId="ADAL" clId="{48B824AD-1B2A-47A8-8D92-6FE6E622A650}" dt="2024-12-16T09:12:47.082" v="11447"/>
          <ac:spMkLst>
            <pc:docMk/>
            <pc:sldMk cId="594020395" sldId="280"/>
            <ac:spMk id="232" creationId="{2F999B16-0E4C-5803-FC14-79E1E5AF049F}"/>
          </ac:spMkLst>
        </pc:spChg>
        <pc:spChg chg="add del mod modVis">
          <ac:chgData name="Oğuz Öztekin" userId="33c0df0f-d5fe-4bda-8f43-141ad7af67e3" providerId="ADAL" clId="{48B824AD-1B2A-47A8-8D92-6FE6E622A650}" dt="2024-12-16T09:12:50.662" v="11547"/>
          <ac:spMkLst>
            <pc:docMk/>
            <pc:sldMk cId="594020395" sldId="280"/>
            <ac:spMk id="234" creationId="{7A87CCBA-1343-9209-AD56-28C971344F32}"/>
          </ac:spMkLst>
        </pc:spChg>
        <pc:spChg chg="add del mod modVis">
          <ac:chgData name="Oğuz Öztekin" userId="33c0df0f-d5fe-4bda-8f43-141ad7af67e3" providerId="ADAL" clId="{48B824AD-1B2A-47A8-8D92-6FE6E622A650}" dt="2024-12-16T09:12:53.061" v="11686"/>
          <ac:spMkLst>
            <pc:docMk/>
            <pc:sldMk cId="594020395" sldId="280"/>
            <ac:spMk id="236" creationId="{91ECD388-19C0-23FE-3D09-C25B40E91F65}"/>
          </ac:spMkLst>
        </pc:spChg>
        <pc:spChg chg="add del mod">
          <ac:chgData name="Oğuz Öztekin" userId="33c0df0f-d5fe-4bda-8f43-141ad7af67e3" providerId="ADAL" clId="{48B824AD-1B2A-47A8-8D92-6FE6E622A650}" dt="2024-12-16T09:12:54.740" v="11742"/>
          <ac:spMkLst>
            <pc:docMk/>
            <pc:sldMk cId="594020395" sldId="280"/>
            <ac:spMk id="237" creationId="{02E780F6-6345-B8A8-56C0-080D099A4CC9}"/>
          </ac:spMkLst>
        </pc:spChg>
        <pc:spChg chg="add del mod modVis">
          <ac:chgData name="Oğuz Öztekin" userId="33c0df0f-d5fe-4bda-8f43-141ad7af67e3" providerId="ADAL" clId="{48B824AD-1B2A-47A8-8D92-6FE6E622A650}" dt="2024-12-16T09:12:54.762" v="11768"/>
          <ac:spMkLst>
            <pc:docMk/>
            <pc:sldMk cId="594020395" sldId="280"/>
            <ac:spMk id="239" creationId="{6F20D782-7F84-FE17-C60A-B873F960E1E5}"/>
          </ac:spMkLst>
        </pc:spChg>
        <pc:spChg chg="add del mod modVis">
          <ac:chgData name="Oğuz Öztekin" userId="33c0df0f-d5fe-4bda-8f43-141ad7af67e3" providerId="ADAL" clId="{48B824AD-1B2A-47A8-8D92-6FE6E622A650}" dt="2024-12-16T09:12:56.542" v="11848"/>
          <ac:spMkLst>
            <pc:docMk/>
            <pc:sldMk cId="594020395" sldId="280"/>
            <ac:spMk id="241" creationId="{28212591-0267-BF47-B075-68A52F782694}"/>
          </ac:spMkLst>
        </pc:spChg>
        <pc:spChg chg="add del mod modVis">
          <ac:chgData name="Oğuz Öztekin" userId="33c0df0f-d5fe-4bda-8f43-141ad7af67e3" providerId="ADAL" clId="{48B824AD-1B2A-47A8-8D92-6FE6E622A650}" dt="2024-12-16T09:13:01.673" v="11942"/>
          <ac:spMkLst>
            <pc:docMk/>
            <pc:sldMk cId="594020395" sldId="280"/>
            <ac:spMk id="243" creationId="{0BCED887-54B5-3339-35DD-2DC140F6ADCE}"/>
          </ac:spMkLst>
        </pc:spChg>
        <pc:spChg chg="add del mod modVis">
          <ac:chgData name="Oğuz Öztekin" userId="33c0df0f-d5fe-4bda-8f43-141ad7af67e3" providerId="ADAL" clId="{48B824AD-1B2A-47A8-8D92-6FE6E622A650}" dt="2024-12-16T09:13:05.978" v="12022"/>
          <ac:spMkLst>
            <pc:docMk/>
            <pc:sldMk cId="594020395" sldId="280"/>
            <ac:spMk id="245" creationId="{2835FA9A-37D6-7566-9859-7C704FC9C611}"/>
          </ac:spMkLst>
        </pc:spChg>
        <pc:spChg chg="add del mod modVis">
          <ac:chgData name="Oğuz Öztekin" userId="33c0df0f-d5fe-4bda-8f43-141ad7af67e3" providerId="ADAL" clId="{48B824AD-1B2A-47A8-8D92-6FE6E622A650}" dt="2024-12-16T09:13:15.800" v="12137"/>
          <ac:spMkLst>
            <pc:docMk/>
            <pc:sldMk cId="594020395" sldId="280"/>
            <ac:spMk id="247" creationId="{0D90D123-9998-8916-52FB-EC8ECFD19EF5}"/>
          </ac:spMkLst>
        </pc:spChg>
        <pc:spChg chg="add del mod ord">
          <ac:chgData name="Oğuz Öztekin" userId="33c0df0f-d5fe-4bda-8f43-141ad7af67e3" providerId="ADAL" clId="{48B824AD-1B2A-47A8-8D92-6FE6E622A650}" dt="2024-12-16T09:13:19.438" v="12218"/>
          <ac:spMkLst>
            <pc:docMk/>
            <pc:sldMk cId="594020395" sldId="280"/>
            <ac:spMk id="250" creationId="{ADC7FE6B-71BD-56FF-FF2F-18271D62D969}"/>
          </ac:spMkLst>
        </pc:spChg>
        <pc:spChg chg="add del mod modVis">
          <ac:chgData name="Oğuz Öztekin" userId="33c0df0f-d5fe-4bda-8f43-141ad7af67e3" providerId="ADAL" clId="{48B824AD-1B2A-47A8-8D92-6FE6E622A650}" dt="2024-12-16T09:13:19.442" v="12237"/>
          <ac:spMkLst>
            <pc:docMk/>
            <pc:sldMk cId="594020395" sldId="280"/>
            <ac:spMk id="251" creationId="{2E15C042-6BFB-3EB7-F9E1-E168A37592F9}"/>
          </ac:spMkLst>
        </pc:spChg>
        <pc:spChg chg="add del mod modVis">
          <ac:chgData name="Oğuz Öztekin" userId="33c0df0f-d5fe-4bda-8f43-141ad7af67e3" providerId="ADAL" clId="{48B824AD-1B2A-47A8-8D92-6FE6E622A650}" dt="2024-12-16T09:13:22.553" v="12331"/>
          <ac:spMkLst>
            <pc:docMk/>
            <pc:sldMk cId="594020395" sldId="280"/>
            <ac:spMk id="253" creationId="{B069B16F-D3A3-13BD-DC3A-FADD089BBE89}"/>
          </ac:spMkLst>
        </pc:spChg>
        <pc:spChg chg="add del mod modVis">
          <ac:chgData name="Oğuz Öztekin" userId="33c0df0f-d5fe-4bda-8f43-141ad7af67e3" providerId="ADAL" clId="{48B824AD-1B2A-47A8-8D92-6FE6E622A650}" dt="2024-12-16T09:13:33.164" v="12463"/>
          <ac:spMkLst>
            <pc:docMk/>
            <pc:sldMk cId="594020395" sldId="280"/>
            <ac:spMk id="255" creationId="{051205A2-C8F0-3EBA-292B-AF660435269A}"/>
          </ac:spMkLst>
        </pc:spChg>
        <pc:graphicFrameChg chg="mod">
          <ac:chgData name="Oğuz Öztekin" userId="33c0df0f-d5fe-4bda-8f43-141ad7af67e3" providerId="ADAL" clId="{48B824AD-1B2A-47A8-8D92-6FE6E622A650}" dt="2024-12-16T17:33:40.809" v="112636"/>
          <ac:graphicFrameMkLst>
            <pc:docMk/>
            <pc:sldMk cId="594020395" sldId="280"/>
            <ac:graphicFrameMk id="3" creationId="{9471CF8A-CAF2-6EBA-5368-90434991C2A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18.880" v="85400"/>
          <ac:graphicFrameMkLst>
            <pc:docMk/>
            <pc:sldMk cId="594020395" sldId="280"/>
            <ac:graphicFrameMk id="5" creationId="{C35F7C84-A014-E33B-109C-3353F85F911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15.490" v="9885"/>
          <ac:graphicFrameMkLst>
            <pc:docMk/>
            <pc:sldMk cId="594020395" sldId="280"/>
            <ac:graphicFrameMk id="5" creationId="{F597DE37-69B8-7928-9B80-2125542CBEA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18.168" v="9971"/>
          <ac:graphicFrameMkLst>
            <pc:docMk/>
            <pc:sldMk cId="594020395" sldId="280"/>
            <ac:graphicFrameMk id="7" creationId="{3397E2E5-352E-A122-8E32-FDD5E8B676E2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0:56:10.119" v="31242"/>
          <ac:graphicFrameMkLst>
            <pc:docMk/>
            <pc:sldMk cId="594020395" sldId="280"/>
            <ac:graphicFrameMk id="7" creationId="{4AD3C2BE-3419-9469-73B4-DC7CB57582C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3.904" v="10051"/>
          <ac:graphicFrameMkLst>
            <pc:docMk/>
            <pc:sldMk cId="594020395" sldId="280"/>
            <ac:graphicFrameMk id="9" creationId="{CB9C48AF-839B-7857-DB11-B4FCC30E272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6.904" v="10751"/>
          <ac:graphicFrameMkLst>
            <pc:docMk/>
            <pc:sldMk cId="594020395" sldId="280"/>
            <ac:graphicFrameMk id="11" creationId="{11966F4A-F215-EF8E-CDC8-433E679620A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21.897" v="85501"/>
          <ac:graphicFrameMkLst>
            <pc:docMk/>
            <pc:sldMk cId="594020395" sldId="280"/>
            <ac:graphicFrameMk id="21" creationId="{9546108E-283C-D3A9-81DC-2B942C6468C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25.074" v="85595"/>
          <ac:graphicFrameMkLst>
            <pc:docMk/>
            <pc:sldMk cId="594020395" sldId="280"/>
            <ac:graphicFrameMk id="23" creationId="{1776665C-45F8-67EA-9E9D-12086F9278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26.140" v="85684"/>
          <ac:graphicFrameMkLst>
            <pc:docMk/>
            <pc:sldMk cId="594020395" sldId="280"/>
            <ac:graphicFrameMk id="25" creationId="{05BB0770-B752-8950-71C1-A2A487B234F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30.543" v="85815"/>
          <ac:graphicFrameMkLst>
            <pc:docMk/>
            <pc:sldMk cId="594020395" sldId="280"/>
            <ac:graphicFrameMk id="27" creationId="{5772514C-A97E-D333-EDE2-2B7B94B0E5D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7.657" v="10883"/>
          <ac:graphicFrameMkLst>
            <pc:docMk/>
            <pc:sldMk cId="594020395" sldId="280"/>
            <ac:graphicFrameMk id="27" creationId="{67F302B1-9772-0000-8909-245B4CC0316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8.999" v="10967"/>
          <ac:graphicFrameMkLst>
            <pc:docMk/>
            <pc:sldMk cId="594020395" sldId="280"/>
            <ac:graphicFrameMk id="29" creationId="{0A75054C-6385-0E94-7E25-80F93054CBD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33.711" v="85917"/>
          <ac:graphicFrameMkLst>
            <pc:docMk/>
            <pc:sldMk cId="594020395" sldId="280"/>
            <ac:graphicFrameMk id="30" creationId="{A0B93DFE-ADB5-BAF9-7CE7-79E05BC1E31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30.850" v="11049"/>
          <ac:graphicFrameMkLst>
            <pc:docMk/>
            <pc:sldMk cId="594020395" sldId="280"/>
            <ac:graphicFrameMk id="31" creationId="{FAA878FA-9B8B-34D8-B31B-CB832121C67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36.664" v="86019"/>
          <ac:graphicFrameMkLst>
            <pc:docMk/>
            <pc:sldMk cId="594020395" sldId="280"/>
            <ac:graphicFrameMk id="32" creationId="{1A65FFB8-E5F9-2700-B262-42DEC59C85AD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3:33.164" v="12463"/>
          <ac:graphicFrameMkLst>
            <pc:docMk/>
            <pc:sldMk cId="594020395" sldId="280"/>
            <ac:graphicFrameMk id="33" creationId="{4A0493F6-D6B8-2BEA-005F-B25A2BF94E4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42.072" v="86136"/>
          <ac:graphicFrameMkLst>
            <pc:docMk/>
            <pc:sldMk cId="594020395" sldId="280"/>
            <ac:graphicFrameMk id="34" creationId="{E7F8EBD0-87D5-C78B-22A6-A24EDEEB6CA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43.223" v="86227"/>
          <ac:graphicFrameMkLst>
            <pc:docMk/>
            <pc:sldMk cId="594020395" sldId="280"/>
            <ac:graphicFrameMk id="39" creationId="{A27DB278-1174-BD3F-D54F-D74F7FB87AC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56.935" v="12793"/>
          <ac:graphicFrameMkLst>
            <pc:docMk/>
            <pc:sldMk cId="594020395" sldId="280"/>
            <ac:graphicFrameMk id="40" creationId="{482AABED-A10B-DA22-31DD-77EA26BFB84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46.358" v="86328"/>
          <ac:graphicFrameMkLst>
            <pc:docMk/>
            <pc:sldMk cId="594020395" sldId="280"/>
            <ac:graphicFrameMk id="41" creationId="{D8BACC84-2603-FF1C-7351-4020DA0E235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04.896" v="12919"/>
          <ac:graphicFrameMkLst>
            <pc:docMk/>
            <pc:sldMk cId="594020395" sldId="280"/>
            <ac:graphicFrameMk id="43" creationId="{34B422DC-6964-B9C2-EED3-A161AD94F14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48.735" v="86426"/>
          <ac:graphicFrameMkLst>
            <pc:docMk/>
            <pc:sldMk cId="594020395" sldId="280"/>
            <ac:graphicFrameMk id="43" creationId="{70E45D28-E7D9-F6CE-B2D9-0E39615B95C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07.654" v="13045"/>
          <ac:graphicFrameMkLst>
            <pc:docMk/>
            <pc:sldMk cId="594020395" sldId="280"/>
            <ac:graphicFrameMk id="45" creationId="{979F9DDD-2B67-9CD0-CD7A-58354D6839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49.733" v="86519"/>
          <ac:graphicFrameMkLst>
            <pc:docMk/>
            <pc:sldMk cId="594020395" sldId="280"/>
            <ac:graphicFrameMk id="45" creationId="{BDC2A086-C783-0B3E-4894-DA1004DEF8F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12.146" v="13193"/>
          <ac:graphicFrameMkLst>
            <pc:docMk/>
            <pc:sldMk cId="594020395" sldId="280"/>
            <ac:graphicFrameMk id="47" creationId="{188B0A67-591F-A044-EB38-18E93AADDE4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51.521" v="86613"/>
          <ac:graphicFrameMkLst>
            <pc:docMk/>
            <pc:sldMk cId="594020395" sldId="280"/>
            <ac:graphicFrameMk id="47" creationId="{A9BEF8A8-2E08-6662-7B4E-83C70942B69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52.839" v="86704"/>
          <ac:graphicFrameMkLst>
            <pc:docMk/>
            <pc:sldMk cId="594020395" sldId="280"/>
            <ac:graphicFrameMk id="49" creationId="{00388A94-F984-C31C-5ED6-4381E676A58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15.533" v="13367"/>
          <ac:graphicFrameMkLst>
            <pc:docMk/>
            <pc:sldMk cId="594020395" sldId="280"/>
            <ac:graphicFrameMk id="49" creationId="{0E9B360B-B2D7-3EEB-1586-48ABFA5C153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55.121" v="86800"/>
          <ac:graphicFrameMkLst>
            <pc:docMk/>
            <pc:sldMk cId="594020395" sldId="280"/>
            <ac:graphicFrameMk id="54" creationId="{57C53893-EE26-BAEC-BD39-47356380524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3.178" v="13472"/>
          <ac:graphicFrameMkLst>
            <pc:docMk/>
            <pc:sldMk cId="594020395" sldId="280"/>
            <ac:graphicFrameMk id="54" creationId="{690C23D3-02AC-8F46-915B-3D072F2F331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57.697" v="86898"/>
          <ac:graphicFrameMkLst>
            <pc:docMk/>
            <pc:sldMk cId="594020395" sldId="280"/>
            <ac:graphicFrameMk id="56" creationId="{01FB04C0-E9FF-8DB5-82BA-60D0A718280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5.640" v="13577"/>
          <ac:graphicFrameMkLst>
            <pc:docMk/>
            <pc:sldMk cId="594020395" sldId="280"/>
            <ac:graphicFrameMk id="56" creationId="{3192E547-2CB7-3E20-60F1-551E10E57E9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6.218" v="13682"/>
          <ac:graphicFrameMkLst>
            <pc:docMk/>
            <pc:sldMk cId="594020395" sldId="280"/>
            <ac:graphicFrameMk id="58" creationId="{2B5E1477-E1BF-3B37-11FE-CC0777F8D6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1:59.057" v="86991"/>
          <ac:graphicFrameMkLst>
            <pc:docMk/>
            <pc:sldMk cId="594020395" sldId="280"/>
            <ac:graphicFrameMk id="58" creationId="{36EAEC1F-75B9-0B2B-C901-4EE08B8EB18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00.546" v="87082"/>
          <ac:graphicFrameMkLst>
            <pc:docMk/>
            <pc:sldMk cId="594020395" sldId="280"/>
            <ac:graphicFrameMk id="60" creationId="{52068E87-9060-032A-27B8-101D644EFC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7.248" v="13787"/>
          <ac:graphicFrameMkLst>
            <pc:docMk/>
            <pc:sldMk cId="594020395" sldId="280"/>
            <ac:graphicFrameMk id="60" creationId="{FA9E153F-99E1-AE38-7F69-2D2FBCA2359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05.029" v="87175"/>
          <ac:graphicFrameMkLst>
            <pc:docMk/>
            <pc:sldMk cId="594020395" sldId="280"/>
            <ac:graphicFrameMk id="62" creationId="{26A7ECA1-A12A-FDBB-95E3-4B9992589A2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34.637" v="13907"/>
          <ac:graphicFrameMkLst>
            <pc:docMk/>
            <pc:sldMk cId="594020395" sldId="280"/>
            <ac:graphicFrameMk id="62" creationId="{6C3B0E19-167F-AC3B-3759-A4639FD6F9C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42.671" v="14019"/>
          <ac:graphicFrameMkLst>
            <pc:docMk/>
            <pc:sldMk cId="594020395" sldId="280"/>
            <ac:graphicFrameMk id="64" creationId="{70066F89-3225-FFCB-3B97-0CEB4617174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06.813" v="87272"/>
          <ac:graphicFrameMkLst>
            <pc:docMk/>
            <pc:sldMk cId="594020395" sldId="280"/>
            <ac:graphicFrameMk id="64" creationId="{D4A024A5-2C0D-89F1-B7F3-7E2A3583075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56.431" v="14139"/>
          <ac:graphicFrameMkLst>
            <pc:docMk/>
            <pc:sldMk cId="594020395" sldId="280"/>
            <ac:graphicFrameMk id="66" creationId="{C584D0C0-FB58-2BFA-909C-C93618D2DA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12.190" v="87383"/>
          <ac:graphicFrameMkLst>
            <pc:docMk/>
            <pc:sldMk cId="594020395" sldId="280"/>
            <ac:graphicFrameMk id="66" creationId="{F0B99727-5B9F-218A-95DA-D3817B5D5A6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13.140" v="87474"/>
          <ac:graphicFrameMkLst>
            <pc:docMk/>
            <pc:sldMk cId="594020395" sldId="280"/>
            <ac:graphicFrameMk id="68" creationId="{2CFD4493-16E9-7A1C-6BA9-337F24BA77F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59.434" v="14272"/>
          <ac:graphicFrameMkLst>
            <pc:docMk/>
            <pc:sldMk cId="594020395" sldId="280"/>
            <ac:graphicFrameMk id="68" creationId="{51A14197-7D74-AFB5-A283-239506DC2F6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26.622" v="14470"/>
          <ac:graphicFrameMkLst>
            <pc:docMk/>
            <pc:sldMk cId="594020395" sldId="280"/>
            <ac:graphicFrameMk id="70" creationId="{5C4A418C-7331-29E6-2AE0-7B0E0D584EC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14.073" v="87565"/>
          <ac:graphicFrameMkLst>
            <pc:docMk/>
            <pc:sldMk cId="594020395" sldId="280"/>
            <ac:graphicFrameMk id="70" creationId="{B76567A7-B216-C2E3-C0F5-7B57B5D94E3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35.716" v="15052"/>
          <ac:graphicFrameMkLst>
            <pc:docMk/>
            <pc:sldMk cId="594020395" sldId="280"/>
            <ac:graphicFrameMk id="76" creationId="{2C7EF3FE-DF11-624D-B4E4-83E06BB598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15.871" v="87656"/>
          <ac:graphicFrameMkLst>
            <pc:docMk/>
            <pc:sldMk cId="594020395" sldId="280"/>
            <ac:graphicFrameMk id="76" creationId="{46CBE46B-E4D1-0992-0E5B-C6346BF073AD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5:31.803" v="14797"/>
          <ac:graphicFrameMkLst>
            <pc:docMk/>
            <pc:sldMk cId="594020395" sldId="280"/>
            <ac:graphicFrameMk id="78" creationId="{27D75786-8D92-4F1A-008C-D511452E6E5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16.446" v="87747"/>
          <ac:graphicFrameMkLst>
            <pc:docMk/>
            <pc:sldMk cId="594020395" sldId="280"/>
            <ac:graphicFrameMk id="78" creationId="{7D531992-4BA8-FA55-75B0-2648D54FA67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41.495" v="15236"/>
          <ac:graphicFrameMkLst>
            <pc:docMk/>
            <pc:sldMk cId="594020395" sldId="280"/>
            <ac:graphicFrameMk id="80" creationId="{735A2FCB-94EA-2CEB-F562-60D96B0A13E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21.234" v="87839"/>
          <ac:graphicFrameMkLst>
            <pc:docMk/>
            <pc:sldMk cId="594020395" sldId="280"/>
            <ac:graphicFrameMk id="80" creationId="{C430F980-B559-3323-B97E-7B6A6E38E59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44.515" v="15420"/>
          <ac:graphicFrameMkLst>
            <pc:docMk/>
            <pc:sldMk cId="594020395" sldId="280"/>
            <ac:graphicFrameMk id="82" creationId="{3B86262E-9333-17BC-409B-23517A6869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28.443" v="87930"/>
          <ac:graphicFrameMkLst>
            <pc:docMk/>
            <pc:sldMk cId="594020395" sldId="280"/>
            <ac:graphicFrameMk id="82" creationId="{54FF74EB-B469-385F-076A-7A360183B3F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50.270" v="15531"/>
          <ac:graphicFrameMkLst>
            <pc:docMk/>
            <pc:sldMk cId="594020395" sldId="280"/>
            <ac:graphicFrameMk id="84" creationId="{17F51D5F-C06B-4AA0-755E-835C591145C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32.055" v="88022"/>
          <ac:graphicFrameMkLst>
            <pc:docMk/>
            <pc:sldMk cId="594020395" sldId="280"/>
            <ac:graphicFrameMk id="84" creationId="{AFF9C784-B980-54B5-6F8B-AE79922297C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2:51.097" v="88161"/>
          <ac:graphicFrameMkLst>
            <pc:docMk/>
            <pc:sldMk cId="594020395" sldId="280"/>
            <ac:graphicFrameMk id="93" creationId="{4D8E5E2E-54A5-0B9A-EE49-2314C33F8CA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55.511" v="15687"/>
          <ac:graphicFrameMkLst>
            <pc:docMk/>
            <pc:sldMk cId="594020395" sldId="280"/>
            <ac:graphicFrameMk id="93" creationId="{6F434414-2F11-46E2-89F5-5BF841A4E8F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57.657" v="15856"/>
          <ac:graphicFrameMkLst>
            <pc:docMk/>
            <pc:sldMk cId="594020395" sldId="280"/>
            <ac:graphicFrameMk id="95" creationId="{BCF51403-59F3-627A-5E68-384A3B3C302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9:02.280" v="95875"/>
          <ac:graphicFrameMkLst>
            <pc:docMk/>
            <pc:sldMk cId="594020395" sldId="280"/>
            <ac:graphicFrameMk id="95" creationId="{DD5E7B95-8040-9825-DF8A-4BC00381DA6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9:08.694" v="95973"/>
          <ac:graphicFrameMkLst>
            <pc:docMk/>
            <pc:sldMk cId="594020395" sldId="280"/>
            <ac:graphicFrameMk id="97" creationId="{C5D6498F-DF00-03BD-D03D-07B99EA46BE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9:11.169" v="96157"/>
          <ac:graphicFrameMkLst>
            <pc:docMk/>
            <pc:sldMk cId="594020395" sldId="280"/>
            <ac:graphicFrameMk id="99" creationId="{CEE2D846-B84D-D781-B0BE-00ED29421A1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33:40.800" v="112634"/>
          <ac:graphicFrameMkLst>
            <pc:docMk/>
            <pc:sldMk cId="594020395" sldId="280"/>
            <ac:graphicFrameMk id="101" creationId="{717BF20B-4037-B20B-8E9F-9681B8B6806A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7:33:40.800" v="112634"/>
          <ac:graphicFrameMkLst>
            <pc:docMk/>
            <pc:sldMk cId="594020395" sldId="280"/>
            <ac:graphicFrameMk id="103" creationId="{12542CF5-1DA4-843C-CB26-920E5EB9BD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00.774" v="16049"/>
          <ac:graphicFrameMkLst>
            <pc:docMk/>
            <pc:sldMk cId="594020395" sldId="280"/>
            <ac:graphicFrameMk id="161" creationId="{E0C4C361-C3A3-FAC1-644E-F4F2B13D2E3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08.363" v="16285"/>
          <ac:graphicFrameMkLst>
            <pc:docMk/>
            <pc:sldMk cId="594020395" sldId="280"/>
            <ac:graphicFrameMk id="163" creationId="{179F2429-C012-0DD1-1940-EEBD8C8B376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13.093" v="16478"/>
          <ac:graphicFrameMkLst>
            <pc:docMk/>
            <pc:sldMk cId="594020395" sldId="280"/>
            <ac:graphicFrameMk id="165" creationId="{BDE60E64-61C0-C2CB-4115-A7B026B3032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14.945" v="16614"/>
          <ac:graphicFrameMkLst>
            <pc:docMk/>
            <pc:sldMk cId="594020395" sldId="280"/>
            <ac:graphicFrameMk id="167" creationId="{C0E5826D-DF9C-B0C7-4BC1-1BEEC8968DA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17.830" v="16775"/>
          <ac:graphicFrameMkLst>
            <pc:docMk/>
            <pc:sldMk cId="594020395" sldId="280"/>
            <ac:graphicFrameMk id="169" creationId="{DCD6E7DD-B679-A03A-A33C-F959FD6128F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20.162" v="16949"/>
          <ac:graphicFrameMkLst>
            <pc:docMk/>
            <pc:sldMk cId="594020395" sldId="280"/>
            <ac:graphicFrameMk id="171" creationId="{6DD5058B-481B-ED27-BC29-C652F96F349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22.855" v="17107"/>
          <ac:graphicFrameMkLst>
            <pc:docMk/>
            <pc:sldMk cId="594020395" sldId="280"/>
            <ac:graphicFrameMk id="173" creationId="{DBB16C87-67BF-396C-2FAA-E76CA3E4D3F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57.189" v="17440"/>
          <ac:graphicFrameMkLst>
            <pc:docMk/>
            <pc:sldMk cId="594020395" sldId="280"/>
            <ac:graphicFrameMk id="175" creationId="{7B537A09-FDF8-FAC9-569D-25AD8C53D469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6:27.924" v="17287"/>
          <ac:graphicFrameMkLst>
            <pc:docMk/>
            <pc:sldMk cId="594020395" sldId="280"/>
            <ac:graphicFrameMk id="177" creationId="{E4DB16BD-CB37-A6B8-D517-7A316B258F8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10.696" v="17767"/>
          <ac:graphicFrameMkLst>
            <pc:docMk/>
            <pc:sldMk cId="594020395" sldId="280"/>
            <ac:graphicFrameMk id="179" creationId="{6EF46033-2F0D-B0DA-124B-D13790A8190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12.026" v="17882"/>
          <ac:graphicFrameMkLst>
            <pc:docMk/>
            <pc:sldMk cId="594020395" sldId="280"/>
            <ac:graphicFrameMk id="186" creationId="{49352FB7-559F-0648-014B-769FF51B5B7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6:02.707" v="30990"/>
          <ac:graphicFrameMkLst>
            <pc:docMk/>
            <pc:sldMk cId="594020395" sldId="280"/>
            <ac:graphicFrameMk id="188" creationId="{278139D3-6CE8-2DA6-CF73-8F1934249C1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33.520" v="11153"/>
          <ac:graphicFrameMkLst>
            <pc:docMk/>
            <pc:sldMk cId="594020395" sldId="280"/>
            <ac:graphicFrameMk id="225" creationId="{26802ECE-0628-DE43-4EFF-F72F2601403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35.141" v="11245"/>
          <ac:graphicFrameMkLst>
            <pc:docMk/>
            <pc:sldMk cId="594020395" sldId="280"/>
            <ac:graphicFrameMk id="227" creationId="{776B0521-E341-A9CC-6E55-3D549C680B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44.522" v="11339"/>
          <ac:graphicFrameMkLst>
            <pc:docMk/>
            <pc:sldMk cId="594020395" sldId="280"/>
            <ac:graphicFrameMk id="229" creationId="{86F4D581-59F4-E2E0-6F24-B7E9412EB9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47.065" v="11423"/>
          <ac:graphicFrameMkLst>
            <pc:docMk/>
            <pc:sldMk cId="594020395" sldId="280"/>
            <ac:graphicFrameMk id="231" creationId="{97A71E5B-A1D0-31CE-C21A-21DB4A40DBC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0.644" v="11523"/>
          <ac:graphicFrameMkLst>
            <pc:docMk/>
            <pc:sldMk cId="594020395" sldId="280"/>
            <ac:graphicFrameMk id="233" creationId="{4CE33D69-27A4-0422-94D5-DA56967B46B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3.035" v="11651"/>
          <ac:graphicFrameMkLst>
            <pc:docMk/>
            <pc:sldMk cId="594020395" sldId="280"/>
            <ac:graphicFrameMk id="235" creationId="{0F62C9B9-E487-872A-A302-3EDEC482BE0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4.741" v="11744"/>
          <ac:graphicFrameMkLst>
            <pc:docMk/>
            <pc:sldMk cId="594020395" sldId="280"/>
            <ac:graphicFrameMk id="238" creationId="{B02687FB-C87B-A128-2796-1966C948BCF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6.523" v="11824"/>
          <ac:graphicFrameMkLst>
            <pc:docMk/>
            <pc:sldMk cId="594020395" sldId="280"/>
            <ac:graphicFrameMk id="240" creationId="{9ACE674D-70F9-9E55-AC5C-EB26A7AA563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01.650" v="11904"/>
          <ac:graphicFrameMkLst>
            <pc:docMk/>
            <pc:sldMk cId="594020395" sldId="280"/>
            <ac:graphicFrameMk id="242" creationId="{F04D1C49-F056-1585-2964-401B119969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05.960" v="11998"/>
          <ac:graphicFrameMkLst>
            <pc:docMk/>
            <pc:sldMk cId="594020395" sldId="280"/>
            <ac:graphicFrameMk id="244" creationId="{9B6BE294-E793-0BD2-FDA9-DE725ECB902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15.771" v="12078"/>
          <ac:graphicFrameMkLst>
            <pc:docMk/>
            <pc:sldMk cId="594020395" sldId="280"/>
            <ac:graphicFrameMk id="246" creationId="{B1D91329-F6F8-9635-9A28-BB8B5F243F9A}"/>
          </ac:graphicFrameMkLst>
        </pc:graphicFrameChg>
        <pc:graphicFrameChg chg="del">
          <ac:chgData name="Oğuz Öztekin" userId="33c0df0f-d5fe-4bda-8f43-141ad7af67e3" providerId="ADAL" clId="{48B824AD-1B2A-47A8-8D92-6FE6E622A650}" dt="2024-12-16T09:11:58.936" v="9784"/>
          <ac:graphicFrameMkLst>
            <pc:docMk/>
            <pc:sldMk cId="594020395" sldId="280"/>
            <ac:graphicFrameMk id="248" creationId="{EE42CB26-C10E-C18F-5188-9169007068E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19.418" v="12193"/>
          <ac:graphicFrameMkLst>
            <pc:docMk/>
            <pc:sldMk cId="594020395" sldId="280"/>
            <ac:graphicFrameMk id="249" creationId="{02AEBB6C-439E-6C1A-B125-C2829422BFC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22.529" v="12293"/>
          <ac:graphicFrameMkLst>
            <pc:docMk/>
            <pc:sldMk cId="594020395" sldId="280"/>
            <ac:graphicFrameMk id="252" creationId="{6F42BD26-7164-4EE4-35BC-F4B5FC03DF5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49.752" v="12667"/>
          <ac:graphicFrameMkLst>
            <pc:docMk/>
            <pc:sldMk cId="594020395" sldId="280"/>
            <ac:graphicFrameMk id="254" creationId="{B0425EDE-BD60-7A75-FD7D-5AD49F8AD61B}"/>
          </ac:graphicFrameMkLst>
        </pc:graphicFrameChg>
        <pc:cxnChg chg="add del mod ord">
          <ac:chgData name="Oğuz Öztekin" userId="33c0df0f-d5fe-4bda-8f43-141ad7af67e3" providerId="ADAL" clId="{48B824AD-1B2A-47A8-8D92-6FE6E622A650}" dt="2024-12-16T09:15:50.228" v="15474"/>
          <ac:cxnSpMkLst>
            <pc:docMk/>
            <pc:sldMk cId="594020395" sldId="280"/>
            <ac:cxnSpMk id="39" creationId="{9DF10AA0-8691-4B3F-9718-D1B969A16231}"/>
          </ac:cxnSpMkLst>
        </pc:cxnChg>
        <pc:cxnChg chg="del mod ord">
          <ac:chgData name="Oğuz Öztekin" userId="33c0df0f-d5fe-4bda-8f43-141ad7af67e3" providerId="ADAL" clId="{48B824AD-1B2A-47A8-8D92-6FE6E622A650}" dt="2024-12-16T09:13:36.786" v="12467"/>
          <ac:cxnSpMkLst>
            <pc:docMk/>
            <pc:sldMk cId="594020395" sldId="280"/>
            <ac:cxnSpMk id="42" creationId="{3B15E158-7370-44CA-6CB6-4CAADF41DB0A}"/>
          </ac:cxnSpMkLst>
        </pc:cxnChg>
        <pc:cxnChg chg="add mod ord">
          <ac:chgData name="Oğuz Öztekin" userId="33c0df0f-d5fe-4bda-8f43-141ad7af67e3" providerId="ADAL" clId="{48B824AD-1B2A-47A8-8D92-6FE6E622A650}" dt="2024-12-16T17:33:40.800" v="112634"/>
          <ac:cxnSpMkLst>
            <pc:docMk/>
            <pc:sldMk cId="594020395" sldId="280"/>
            <ac:cxnSpMk id="53" creationId="{2875D970-3812-1F62-D9C4-AAC585971062}"/>
          </ac:cxnSpMkLst>
        </pc:cxnChg>
        <pc:cxnChg chg="add mod ord">
          <ac:chgData name="Oğuz Öztekin" userId="33c0df0f-d5fe-4bda-8f43-141ad7af67e3" providerId="ADAL" clId="{48B824AD-1B2A-47A8-8D92-6FE6E622A650}" dt="2024-12-16T17:33:40.800" v="112634"/>
          <ac:cxnSpMkLst>
            <pc:docMk/>
            <pc:sldMk cId="594020395" sldId="280"/>
            <ac:cxnSpMk id="73" creationId="{8C5FA7D5-0E7B-A16C-9F4E-1ED6241A3919}"/>
          </ac:cxnSpMkLst>
        </pc:cxnChg>
        <pc:cxnChg chg="add mod ord">
          <ac:chgData name="Oğuz Öztekin" userId="33c0df0f-d5fe-4bda-8f43-141ad7af67e3" providerId="ADAL" clId="{48B824AD-1B2A-47A8-8D92-6FE6E622A650}" dt="2024-12-16T17:33:40.800" v="112634"/>
          <ac:cxnSpMkLst>
            <pc:docMk/>
            <pc:sldMk cId="594020395" sldId="280"/>
            <ac:cxnSpMk id="74" creationId="{49375BB7-EDCC-42B2-18E8-C1FF93477826}"/>
          </ac:cxnSpMkLst>
        </pc:cxnChg>
        <pc:cxnChg chg="add mod ord">
          <ac:chgData name="Oğuz Öztekin" userId="33c0df0f-d5fe-4bda-8f43-141ad7af67e3" providerId="ADAL" clId="{48B824AD-1B2A-47A8-8D92-6FE6E622A650}" dt="2024-12-16T17:33:40.800" v="112634"/>
          <ac:cxnSpMkLst>
            <pc:docMk/>
            <pc:sldMk cId="594020395" sldId="280"/>
            <ac:cxnSpMk id="75" creationId="{07D80620-E2C9-0154-66BB-DEA9F949D7A3}"/>
          </ac:cxnSpMkLst>
        </pc:cxnChg>
        <pc:cxnChg chg="del">
          <ac:chgData name="Oğuz Öztekin" userId="33c0df0f-d5fe-4bda-8f43-141ad7af67e3" providerId="ADAL" clId="{48B824AD-1B2A-47A8-8D92-6FE6E622A650}" dt="2024-12-16T09:11:58.820" v="9642"/>
          <ac:cxnSpMkLst>
            <pc:docMk/>
            <pc:sldMk cId="594020395" sldId="280"/>
            <ac:cxnSpMk id="211" creationId="{5B28F6FD-8223-9192-66E4-D9EAF3DDE415}"/>
          </ac:cxnSpMkLst>
        </pc:cxnChg>
        <pc:cxnChg chg="del">
          <ac:chgData name="Oğuz Öztekin" userId="33c0df0f-d5fe-4bda-8f43-141ad7af67e3" providerId="ADAL" clId="{48B824AD-1B2A-47A8-8D92-6FE6E622A650}" dt="2024-12-16T09:11:58.823" v="9645"/>
          <ac:cxnSpMkLst>
            <pc:docMk/>
            <pc:sldMk cId="594020395" sldId="280"/>
            <ac:cxnSpMk id="212" creationId="{C3885B0F-52C6-0DD7-A81E-F6740FABA76A}"/>
          </ac:cxnSpMkLst>
        </pc:cxnChg>
      </pc:sldChg>
      <pc:sldChg chg="del">
        <pc:chgData name="Oğuz Öztekin" userId="33c0df0f-d5fe-4bda-8f43-141ad7af67e3" providerId="ADAL" clId="{48B824AD-1B2A-47A8-8D92-6FE6E622A650}" dt="2024-12-16T09:07:38.450" v="34" actId="2696"/>
        <pc:sldMkLst>
          <pc:docMk/>
          <pc:sldMk cId="2634187742" sldId="280"/>
        </pc:sldMkLst>
      </pc:sldChg>
      <pc:sldChg chg="del">
        <pc:chgData name="Oğuz Öztekin" userId="33c0df0f-d5fe-4bda-8f43-141ad7af67e3" providerId="ADAL" clId="{48B824AD-1B2A-47A8-8D92-6FE6E622A650}" dt="2024-12-16T09:07:42.439" v="35" actId="2696"/>
        <pc:sldMkLst>
          <pc:docMk/>
          <pc:sldMk cId="221109731" sldId="281"/>
        </pc:sldMkLst>
      </pc:sldChg>
      <pc:sldChg chg="addSp delSp modSp add mod">
        <pc:chgData name="Oğuz Öztekin" userId="33c0df0f-d5fe-4bda-8f43-141ad7af67e3" providerId="ADAL" clId="{48B824AD-1B2A-47A8-8D92-6FE6E622A650}" dt="2024-12-16T16:27:08.861" v="103372"/>
        <pc:sldMkLst>
          <pc:docMk/>
          <pc:sldMk cId="515243903" sldId="281"/>
        </pc:sldMkLst>
        <pc:spChg chg="mod ord">
          <ac:chgData name="Oğuz Öztekin" userId="33c0df0f-d5fe-4bda-8f43-141ad7af67e3" providerId="ADAL" clId="{48B824AD-1B2A-47A8-8D92-6FE6E622A650}" dt="2024-12-16T16:27:08.847" v="103316"/>
          <ac:spMkLst>
            <pc:docMk/>
            <pc:sldMk cId="515243903" sldId="281"/>
            <ac:spMk id="2" creationId="{68C1AABC-6CC5-02E9-F3DD-F4BFD466774C}"/>
          </ac:spMkLst>
        </pc:spChg>
        <pc:spChg chg="add del mod modVis">
          <ac:chgData name="Oğuz Öztekin" userId="33c0df0f-d5fe-4bda-8f43-141ad7af67e3" providerId="ADAL" clId="{48B824AD-1B2A-47A8-8D92-6FE6E622A650}" dt="2024-12-16T16:13:07.330" v="88239"/>
          <ac:spMkLst>
            <pc:docMk/>
            <pc:sldMk cId="515243903" sldId="281"/>
            <ac:spMk id="4" creationId="{7A5FA24A-9D75-EFFD-1AE3-188E098CC7BD}"/>
          </ac:spMkLst>
        </pc:spChg>
        <pc:spChg chg="add del mod modVis">
          <ac:chgData name="Oğuz Öztekin" userId="33c0df0f-d5fe-4bda-8f43-141ad7af67e3" providerId="ADAL" clId="{48B824AD-1B2A-47A8-8D92-6FE6E622A650}" dt="2024-12-16T10:50:39.704" v="26304"/>
          <ac:spMkLst>
            <pc:docMk/>
            <pc:sldMk cId="515243903" sldId="281"/>
            <ac:spMk id="4" creationId="{D88DB25F-30FF-83E6-2FB9-A1131DFC3D6A}"/>
          </ac:spMkLst>
        </pc:spChg>
        <pc:spChg chg="add del mod modVis">
          <ac:chgData name="Oğuz Öztekin" userId="33c0df0f-d5fe-4bda-8f43-141ad7af67e3" providerId="ADAL" clId="{48B824AD-1B2A-47A8-8D92-6FE6E622A650}" dt="2024-12-16T16:13:09.470" v="88270"/>
          <ac:spMkLst>
            <pc:docMk/>
            <pc:sldMk cId="515243903" sldId="281"/>
            <ac:spMk id="5" creationId="{54C5FB33-5792-7375-9AFD-06115C7F7D86}"/>
          </ac:spMkLst>
        </pc:spChg>
        <pc:spChg chg="add del mod modVis">
          <ac:chgData name="Oğuz Öztekin" userId="33c0df0f-d5fe-4bda-8f43-141ad7af67e3" providerId="ADAL" clId="{48B824AD-1B2A-47A8-8D92-6FE6E622A650}" dt="2024-12-16T16:13:13.198" v="88502"/>
          <ac:spMkLst>
            <pc:docMk/>
            <pc:sldMk cId="515243903" sldId="281"/>
            <ac:spMk id="6" creationId="{7104EC0C-889F-D307-36BD-47D18D380639}"/>
          </ac:spMkLst>
        </pc:spChg>
        <pc:spChg chg="add mod">
          <ac:chgData name="Oğuz Öztekin" userId="33c0df0f-d5fe-4bda-8f43-141ad7af67e3" providerId="ADAL" clId="{48B824AD-1B2A-47A8-8D92-6FE6E622A650}" dt="2024-12-16T16:27:08.855" v="103351"/>
          <ac:spMkLst>
            <pc:docMk/>
            <pc:sldMk cId="515243903" sldId="281"/>
            <ac:spMk id="10" creationId="{A7665FFF-CB0F-D826-8274-2313E34C3E72}"/>
          </ac:spMkLst>
        </pc:spChg>
        <pc:spChg chg="add mod">
          <ac:chgData name="Oğuz Öztekin" userId="33c0df0f-d5fe-4bda-8f43-141ad7af67e3" providerId="ADAL" clId="{48B824AD-1B2A-47A8-8D92-6FE6E622A650}" dt="2024-12-16T16:27:08.856" v="103355"/>
          <ac:spMkLst>
            <pc:docMk/>
            <pc:sldMk cId="515243903" sldId="281"/>
            <ac:spMk id="12" creationId="{D703991E-76BA-0BD3-C28D-83BFD21E90C1}"/>
          </ac:spMkLst>
        </pc:spChg>
        <pc:spChg chg="add mod">
          <ac:chgData name="Oğuz Öztekin" userId="33c0df0f-d5fe-4bda-8f43-141ad7af67e3" providerId="ADAL" clId="{48B824AD-1B2A-47A8-8D92-6FE6E622A650}" dt="2024-12-16T16:27:08.856" v="103356"/>
          <ac:spMkLst>
            <pc:docMk/>
            <pc:sldMk cId="515243903" sldId="281"/>
            <ac:spMk id="13" creationId="{86D23D93-1A2E-C2AD-71BF-5B05361FA0A3}"/>
          </ac:spMkLst>
        </pc:spChg>
        <pc:spChg chg="add mod">
          <ac:chgData name="Oğuz Öztekin" userId="33c0df0f-d5fe-4bda-8f43-141ad7af67e3" providerId="ADAL" clId="{48B824AD-1B2A-47A8-8D92-6FE6E622A650}" dt="2024-12-16T16:27:08.857" v="103357"/>
          <ac:spMkLst>
            <pc:docMk/>
            <pc:sldMk cId="515243903" sldId="281"/>
            <ac:spMk id="14" creationId="{A9797DBF-984A-4D62-CB84-094F31E5CB8D}"/>
          </ac:spMkLst>
        </pc:spChg>
        <pc:spChg chg="add mod">
          <ac:chgData name="Oğuz Öztekin" userId="33c0df0f-d5fe-4bda-8f43-141ad7af67e3" providerId="ADAL" clId="{48B824AD-1B2A-47A8-8D92-6FE6E622A650}" dt="2024-12-16T16:27:08.857" v="103358"/>
          <ac:spMkLst>
            <pc:docMk/>
            <pc:sldMk cId="515243903" sldId="281"/>
            <ac:spMk id="15" creationId="{D66E255B-F3F0-9F81-C4EC-FC4C8C158940}"/>
          </ac:spMkLst>
        </pc:spChg>
        <pc:spChg chg="add mod">
          <ac:chgData name="Oğuz Öztekin" userId="33c0df0f-d5fe-4bda-8f43-141ad7af67e3" providerId="ADAL" clId="{48B824AD-1B2A-47A8-8D92-6FE6E622A650}" dt="2024-12-16T16:27:08.857" v="103359"/>
          <ac:spMkLst>
            <pc:docMk/>
            <pc:sldMk cId="515243903" sldId="281"/>
            <ac:spMk id="16" creationId="{919A1B5B-61CE-47B0-3793-6CECC6B83F6C}"/>
          </ac:spMkLst>
        </pc:spChg>
        <pc:spChg chg="add mod">
          <ac:chgData name="Oğuz Öztekin" userId="33c0df0f-d5fe-4bda-8f43-141ad7af67e3" providerId="ADAL" clId="{48B824AD-1B2A-47A8-8D92-6FE6E622A650}" dt="2024-12-16T16:27:08.858" v="103360"/>
          <ac:spMkLst>
            <pc:docMk/>
            <pc:sldMk cId="515243903" sldId="281"/>
            <ac:spMk id="17" creationId="{E5AC2EB3-1B3F-2C00-C036-5AAAA817EC9F}"/>
          </ac:spMkLst>
        </pc:spChg>
        <pc:spChg chg="add mod">
          <ac:chgData name="Oğuz Öztekin" userId="33c0df0f-d5fe-4bda-8f43-141ad7af67e3" providerId="ADAL" clId="{48B824AD-1B2A-47A8-8D92-6FE6E622A650}" dt="2024-12-16T16:27:08.858" v="103361"/>
          <ac:spMkLst>
            <pc:docMk/>
            <pc:sldMk cId="515243903" sldId="281"/>
            <ac:spMk id="18" creationId="{40FB4F58-59F9-6476-C62F-1FAB78D9E1BC}"/>
          </ac:spMkLst>
        </pc:spChg>
        <pc:spChg chg="add mod">
          <ac:chgData name="Oğuz Öztekin" userId="33c0df0f-d5fe-4bda-8f43-141ad7af67e3" providerId="ADAL" clId="{48B824AD-1B2A-47A8-8D92-6FE6E622A650}" dt="2024-12-16T16:27:08.858" v="103362"/>
          <ac:spMkLst>
            <pc:docMk/>
            <pc:sldMk cId="515243903" sldId="281"/>
            <ac:spMk id="19" creationId="{7EDF7D6A-323B-07E5-878B-2E9D0023DF2B}"/>
          </ac:spMkLst>
        </pc:spChg>
        <pc:spChg chg="add mod">
          <ac:chgData name="Oğuz Öztekin" userId="33c0df0f-d5fe-4bda-8f43-141ad7af67e3" providerId="ADAL" clId="{48B824AD-1B2A-47A8-8D92-6FE6E622A650}" dt="2024-12-16T16:27:08.858" v="103363"/>
          <ac:spMkLst>
            <pc:docMk/>
            <pc:sldMk cId="515243903" sldId="281"/>
            <ac:spMk id="20" creationId="{1FB323DD-5B43-6402-CADA-089F87A996F9}"/>
          </ac:spMkLst>
        </pc:spChg>
        <pc:spChg chg="add mod">
          <ac:chgData name="Oğuz Öztekin" userId="33c0df0f-d5fe-4bda-8f43-141ad7af67e3" providerId="ADAL" clId="{48B824AD-1B2A-47A8-8D92-6FE6E622A650}" dt="2024-12-16T16:27:08.859" v="103364"/>
          <ac:spMkLst>
            <pc:docMk/>
            <pc:sldMk cId="515243903" sldId="281"/>
            <ac:spMk id="21" creationId="{2FCD7163-CB20-5ED9-3492-6AB049C86535}"/>
          </ac:spMkLst>
        </pc:spChg>
        <pc:spChg chg="add mod">
          <ac:chgData name="Oğuz Öztekin" userId="33c0df0f-d5fe-4bda-8f43-141ad7af67e3" providerId="ADAL" clId="{48B824AD-1B2A-47A8-8D92-6FE6E622A650}" dt="2024-12-16T16:27:08.859" v="103365"/>
          <ac:spMkLst>
            <pc:docMk/>
            <pc:sldMk cId="515243903" sldId="281"/>
            <ac:spMk id="22" creationId="{0313BAE1-796D-B74D-B914-FF1A48EFFF69}"/>
          </ac:spMkLst>
        </pc:spChg>
        <pc:spChg chg="add mod ord">
          <ac:chgData name="Oğuz Öztekin" userId="33c0df0f-d5fe-4bda-8f43-141ad7af67e3" providerId="ADAL" clId="{48B824AD-1B2A-47A8-8D92-6FE6E622A650}" dt="2024-12-16T16:27:08.860" v="103368"/>
          <ac:spMkLst>
            <pc:docMk/>
            <pc:sldMk cId="515243903" sldId="281"/>
            <ac:spMk id="23" creationId="{76208E3D-24B5-F93B-F4E2-EE44827629A9}"/>
          </ac:spMkLst>
        </pc:spChg>
        <pc:spChg chg="add del mod modVis">
          <ac:chgData name="Oğuz Öztekin" userId="33c0df0f-d5fe-4bda-8f43-141ad7af67e3" providerId="ADAL" clId="{48B824AD-1B2A-47A8-8D92-6FE6E622A650}" dt="2024-12-16T10:50:45.816" v="26734"/>
          <ac:spMkLst>
            <pc:docMk/>
            <pc:sldMk cId="515243903" sldId="281"/>
            <ac:spMk id="24" creationId="{01AC3A66-78E2-5CAD-EF70-2DF47042B8B0}"/>
          </ac:spMkLst>
        </pc:spChg>
        <pc:spChg chg="add del mod">
          <ac:chgData name="Oğuz Öztekin" userId="33c0df0f-d5fe-4bda-8f43-141ad7af67e3" providerId="ADAL" clId="{48B824AD-1B2A-47A8-8D92-6FE6E622A650}" dt="2024-12-16T16:27:08.849" v="103328"/>
          <ac:spMkLst>
            <pc:docMk/>
            <pc:sldMk cId="515243903" sldId="281"/>
            <ac:spMk id="24" creationId="{2041EE66-3192-5C0D-73B7-1B169358CDBF}"/>
          </ac:spMkLst>
        </pc:spChg>
        <pc:spChg chg="add del mod modVis">
          <ac:chgData name="Oğuz Öztekin" userId="33c0df0f-d5fe-4bda-8f43-141ad7af67e3" providerId="ADAL" clId="{48B824AD-1B2A-47A8-8D92-6FE6E622A650}" dt="2024-12-16T10:50:48.663" v="26895"/>
          <ac:spMkLst>
            <pc:docMk/>
            <pc:sldMk cId="515243903" sldId="281"/>
            <ac:spMk id="26" creationId="{6F67A65E-6EA9-16D0-0AF1-C120D4EC5E50}"/>
          </ac:spMkLst>
        </pc:spChg>
        <pc:spChg chg="add del mod modVis">
          <ac:chgData name="Oğuz Öztekin" userId="33c0df0f-d5fe-4bda-8f43-141ad7af67e3" providerId="ADAL" clId="{48B824AD-1B2A-47A8-8D92-6FE6E622A650}" dt="2024-12-16T16:13:16.657" v="88617"/>
          <ac:spMkLst>
            <pc:docMk/>
            <pc:sldMk cId="515243903" sldId="281"/>
            <ac:spMk id="26" creationId="{BA13C679-40C2-C725-1543-FD543C9B9421}"/>
          </ac:spMkLst>
        </pc:spChg>
        <pc:spChg chg="add del mod modVis">
          <ac:chgData name="Oğuz Öztekin" userId="33c0df0f-d5fe-4bda-8f43-141ad7af67e3" providerId="ADAL" clId="{48B824AD-1B2A-47A8-8D92-6FE6E622A650}" dt="2024-12-16T16:13:17.234" v="88730"/>
          <ac:spMkLst>
            <pc:docMk/>
            <pc:sldMk cId="515243903" sldId="281"/>
            <ac:spMk id="28" creationId="{64A7345D-624A-842D-2FFB-1E48AFC20B24}"/>
          </ac:spMkLst>
        </pc:spChg>
        <pc:spChg chg="add del mod modVis">
          <ac:chgData name="Oğuz Öztekin" userId="33c0df0f-d5fe-4bda-8f43-141ad7af67e3" providerId="ADAL" clId="{48B824AD-1B2A-47A8-8D92-6FE6E622A650}" dt="2024-12-16T10:50:51.201" v="27050"/>
          <ac:spMkLst>
            <pc:docMk/>
            <pc:sldMk cId="515243903" sldId="281"/>
            <ac:spMk id="28" creationId="{F09469B2-B570-00BC-D3D9-A8682FA8A25E}"/>
          </ac:spMkLst>
        </pc:spChg>
        <pc:spChg chg="add del mod modVis">
          <ac:chgData name="Oğuz Öztekin" userId="33c0df0f-d5fe-4bda-8f43-141ad7af67e3" providerId="ADAL" clId="{48B824AD-1B2A-47A8-8D92-6FE6E622A650}" dt="2024-12-16T10:50:52.182" v="27205"/>
          <ac:spMkLst>
            <pc:docMk/>
            <pc:sldMk cId="515243903" sldId="281"/>
            <ac:spMk id="30" creationId="{11D95371-6523-D014-DC76-459F28257EAC}"/>
          </ac:spMkLst>
        </pc:spChg>
        <pc:spChg chg="add del mod modVis">
          <ac:chgData name="Oğuz Öztekin" userId="33c0df0f-d5fe-4bda-8f43-141ad7af67e3" providerId="ADAL" clId="{48B824AD-1B2A-47A8-8D92-6FE6E622A650}" dt="2024-12-16T16:13:20.198" v="88846"/>
          <ac:spMkLst>
            <pc:docMk/>
            <pc:sldMk cId="515243903" sldId="281"/>
            <ac:spMk id="30" creationId="{13C62317-40A5-117C-9A02-87ABD304272E}"/>
          </ac:spMkLst>
        </pc:spChg>
        <pc:spChg chg="add del mod modVis">
          <ac:chgData name="Oğuz Öztekin" userId="33c0df0f-d5fe-4bda-8f43-141ad7af67e3" providerId="ADAL" clId="{48B824AD-1B2A-47A8-8D92-6FE6E622A650}" dt="2024-12-16T16:13:30.991" v="89071"/>
          <ac:spMkLst>
            <pc:docMk/>
            <pc:sldMk cId="515243903" sldId="281"/>
            <ac:spMk id="32" creationId="{6A587107-39BD-E181-FB93-4B161B57AFA3}"/>
          </ac:spMkLst>
        </pc:spChg>
        <pc:spChg chg="add del mod modVis">
          <ac:chgData name="Oğuz Öztekin" userId="33c0df0f-d5fe-4bda-8f43-141ad7af67e3" providerId="ADAL" clId="{48B824AD-1B2A-47A8-8D92-6FE6E622A650}" dt="2024-12-16T10:50:53.521" v="27360"/>
          <ac:spMkLst>
            <pc:docMk/>
            <pc:sldMk cId="515243903" sldId="281"/>
            <ac:spMk id="32" creationId="{E8D22426-1B3A-6EF8-A631-7FCCE1DF700A}"/>
          </ac:spMkLst>
        </pc:spChg>
        <pc:spChg chg="add mod">
          <ac:chgData name="Oğuz Öztekin" userId="33c0df0f-d5fe-4bda-8f43-141ad7af67e3" providerId="ADAL" clId="{48B824AD-1B2A-47A8-8D92-6FE6E622A650}" dt="2024-12-16T16:27:08.856" v="103354"/>
          <ac:spMkLst>
            <pc:docMk/>
            <pc:sldMk cId="515243903" sldId="281"/>
            <ac:spMk id="33" creationId="{36FE4F18-5530-50D0-4B28-9EABA9DCA7D4}"/>
          </ac:spMkLst>
        </pc:spChg>
        <pc:spChg chg="add del mod modVis">
          <ac:chgData name="Oğuz Öztekin" userId="33c0df0f-d5fe-4bda-8f43-141ad7af67e3" providerId="ADAL" clId="{48B824AD-1B2A-47A8-8D92-6FE6E622A650}" dt="2024-12-16T10:50:58.959" v="27515"/>
          <ac:spMkLst>
            <pc:docMk/>
            <pc:sldMk cId="515243903" sldId="281"/>
            <ac:spMk id="34" creationId="{0F780E2B-1EC9-62BF-5F54-95A0C0FD87A2}"/>
          </ac:spMkLst>
        </pc:spChg>
        <pc:spChg chg="mod">
          <ac:chgData name="Oğuz Öztekin" userId="33c0df0f-d5fe-4bda-8f43-141ad7af67e3" providerId="ADAL" clId="{48B824AD-1B2A-47A8-8D92-6FE6E622A650}" dt="2024-12-16T16:27:08.850" v="103329"/>
          <ac:spMkLst>
            <pc:docMk/>
            <pc:sldMk cId="515243903" sldId="281"/>
            <ac:spMk id="35" creationId="{FA2D5528-DEEF-B2C1-6E84-9779BD3A847E}"/>
          </ac:spMkLst>
        </pc:spChg>
        <pc:spChg chg="mod">
          <ac:chgData name="Oğuz Öztekin" userId="33c0df0f-d5fe-4bda-8f43-141ad7af67e3" providerId="ADAL" clId="{48B824AD-1B2A-47A8-8D92-6FE6E622A650}" dt="2024-12-16T16:27:08.850" v="103330"/>
          <ac:spMkLst>
            <pc:docMk/>
            <pc:sldMk cId="515243903" sldId="281"/>
            <ac:spMk id="36" creationId="{6C58AB59-612A-7359-6DC7-B2BC85FBD01B}"/>
          </ac:spMkLst>
        </pc:spChg>
        <pc:spChg chg="mod">
          <ac:chgData name="Oğuz Öztekin" userId="33c0df0f-d5fe-4bda-8f43-141ad7af67e3" providerId="ADAL" clId="{48B824AD-1B2A-47A8-8D92-6FE6E622A650}" dt="2024-12-16T16:27:08.850" v="103331"/>
          <ac:spMkLst>
            <pc:docMk/>
            <pc:sldMk cId="515243903" sldId="281"/>
            <ac:spMk id="37" creationId="{F9F50942-6E48-65F3-53A8-70AB3D64670C}"/>
          </ac:spMkLst>
        </pc:spChg>
        <pc:spChg chg="add del mod modVis">
          <ac:chgData name="Oğuz Öztekin" userId="33c0df0f-d5fe-4bda-8f43-141ad7af67e3" providerId="ADAL" clId="{48B824AD-1B2A-47A8-8D92-6FE6E622A650}" dt="2024-12-16T16:13:33.829" v="89184"/>
          <ac:spMkLst>
            <pc:docMk/>
            <pc:sldMk cId="515243903" sldId="281"/>
            <ac:spMk id="38" creationId="{437CF757-7BB8-2242-695E-FFCC39CD3BFB}"/>
          </ac:spMkLst>
        </pc:spChg>
        <pc:spChg chg="add del mod modVis">
          <ac:chgData name="Oğuz Öztekin" userId="33c0df0f-d5fe-4bda-8f43-141ad7af67e3" providerId="ADAL" clId="{48B824AD-1B2A-47A8-8D92-6FE6E622A650}" dt="2024-12-16T10:51:03.589" v="27719"/>
          <ac:spMkLst>
            <pc:docMk/>
            <pc:sldMk cId="515243903" sldId="281"/>
            <ac:spMk id="39" creationId="{3C6E2187-6472-FDB0-1199-580741E63AE4}"/>
          </ac:spMkLst>
        </pc:spChg>
        <pc:spChg chg="add del mod modVis">
          <ac:chgData name="Oğuz Öztekin" userId="33c0df0f-d5fe-4bda-8f43-141ad7af67e3" providerId="ADAL" clId="{48B824AD-1B2A-47A8-8D92-6FE6E622A650}" dt="2024-12-16T16:13:36.888" v="89299"/>
          <ac:spMkLst>
            <pc:docMk/>
            <pc:sldMk cId="515243903" sldId="281"/>
            <ac:spMk id="40" creationId="{03A83671-430D-B35C-865C-58A47CFAE58A}"/>
          </ac:spMkLst>
        </pc:spChg>
        <pc:spChg chg="add del mod modVis">
          <ac:chgData name="Oğuz Öztekin" userId="33c0df0f-d5fe-4bda-8f43-141ad7af67e3" providerId="ADAL" clId="{48B824AD-1B2A-47A8-8D92-6FE6E622A650}" dt="2024-12-16T10:51:06.095" v="27860"/>
          <ac:spMkLst>
            <pc:docMk/>
            <pc:sldMk cId="515243903" sldId="281"/>
            <ac:spMk id="41" creationId="{4B545C78-5312-84D7-A767-4B5A4964E1FA}"/>
          </ac:spMkLst>
        </pc:spChg>
        <pc:spChg chg="add del mod modVis">
          <ac:chgData name="Oğuz Öztekin" userId="33c0df0f-d5fe-4bda-8f43-141ad7af67e3" providerId="ADAL" clId="{48B824AD-1B2A-47A8-8D92-6FE6E622A650}" dt="2024-12-16T16:13:37.586" v="89409"/>
          <ac:spMkLst>
            <pc:docMk/>
            <pc:sldMk cId="515243903" sldId="281"/>
            <ac:spMk id="42" creationId="{1BDADF2C-E6E6-5B3E-050D-23BC3DA25D9B}"/>
          </ac:spMkLst>
        </pc:spChg>
        <pc:spChg chg="add del mod modVis">
          <ac:chgData name="Oğuz Öztekin" userId="33c0df0f-d5fe-4bda-8f43-141ad7af67e3" providerId="ADAL" clId="{48B824AD-1B2A-47A8-8D92-6FE6E622A650}" dt="2024-12-16T10:51:29.948" v="28031"/>
          <ac:spMkLst>
            <pc:docMk/>
            <pc:sldMk cId="515243903" sldId="281"/>
            <ac:spMk id="43" creationId="{8B38F31D-6F23-C786-E858-645DD24F07BE}"/>
          </ac:spMkLst>
        </pc:spChg>
        <pc:spChg chg="add del mod modVis">
          <ac:chgData name="Oğuz Öztekin" userId="33c0df0f-d5fe-4bda-8f43-141ad7af67e3" providerId="ADAL" clId="{48B824AD-1B2A-47A8-8D92-6FE6E622A650}" dt="2024-12-16T16:13:42.169" v="89565"/>
          <ac:spMkLst>
            <pc:docMk/>
            <pc:sldMk cId="515243903" sldId="281"/>
            <ac:spMk id="44" creationId="{6530D840-D248-6187-C641-930DF4A92A77}"/>
          </ac:spMkLst>
        </pc:spChg>
        <pc:spChg chg="add del mod modVis">
          <ac:chgData name="Oğuz Öztekin" userId="33c0df0f-d5fe-4bda-8f43-141ad7af67e3" providerId="ADAL" clId="{48B824AD-1B2A-47A8-8D92-6FE6E622A650}" dt="2024-12-16T10:51:33.117" v="28186"/>
          <ac:spMkLst>
            <pc:docMk/>
            <pc:sldMk cId="515243903" sldId="281"/>
            <ac:spMk id="45" creationId="{64123747-F2EA-6F91-530B-4CDBB6A1BB28}"/>
          </ac:spMkLst>
        </pc:spChg>
        <pc:spChg chg="add del mod modVis">
          <ac:chgData name="Oğuz Öztekin" userId="33c0df0f-d5fe-4bda-8f43-141ad7af67e3" providerId="ADAL" clId="{48B824AD-1B2A-47A8-8D92-6FE6E622A650}" dt="2024-12-16T16:13:44.499" v="89725"/>
          <ac:spMkLst>
            <pc:docMk/>
            <pc:sldMk cId="515243903" sldId="281"/>
            <ac:spMk id="46" creationId="{6402F37E-F291-ACB3-F59D-F7AF32EA11C5}"/>
          </ac:spMkLst>
        </pc:spChg>
        <pc:spChg chg="add del mod modVis">
          <ac:chgData name="Oğuz Öztekin" userId="33c0df0f-d5fe-4bda-8f43-141ad7af67e3" providerId="ADAL" clId="{48B824AD-1B2A-47A8-8D92-6FE6E622A650}" dt="2024-12-16T10:51:36.135" v="28357"/>
          <ac:spMkLst>
            <pc:docMk/>
            <pc:sldMk cId="515243903" sldId="281"/>
            <ac:spMk id="47" creationId="{2385A7E7-83A1-D50E-7861-C4FECEB58705}"/>
          </ac:spMkLst>
        </pc:spChg>
        <pc:spChg chg="add del mod modVis">
          <ac:chgData name="Oğuz Öztekin" userId="33c0df0f-d5fe-4bda-8f43-141ad7af67e3" providerId="ADAL" clId="{48B824AD-1B2A-47A8-8D92-6FE6E622A650}" dt="2024-12-16T16:14:07.538" v="89878"/>
          <ac:spMkLst>
            <pc:docMk/>
            <pc:sldMk cId="515243903" sldId="281"/>
            <ac:spMk id="48" creationId="{0C5E889B-2ECD-9D09-17C6-AA4192C568E9}"/>
          </ac:spMkLst>
        </pc:spChg>
        <pc:spChg chg="add del mod modVis">
          <ac:chgData name="Oğuz Öztekin" userId="33c0df0f-d5fe-4bda-8f43-141ad7af67e3" providerId="ADAL" clId="{48B824AD-1B2A-47A8-8D92-6FE6E622A650}" dt="2024-12-16T10:51:49.613" v="28505"/>
          <ac:spMkLst>
            <pc:docMk/>
            <pc:sldMk cId="515243903" sldId="281"/>
            <ac:spMk id="49" creationId="{BB4E0DC9-464D-2971-7719-81B726E5E9E6}"/>
          </ac:spMkLst>
        </pc:spChg>
        <pc:spChg chg="add del mod modVis">
          <ac:chgData name="Oğuz Öztekin" userId="33c0df0f-d5fe-4bda-8f43-141ad7af67e3" providerId="ADAL" clId="{48B824AD-1B2A-47A8-8D92-6FE6E622A650}" dt="2024-12-16T16:14:44.174" v="89903"/>
          <ac:spMkLst>
            <pc:docMk/>
            <pc:sldMk cId="515243903" sldId="281"/>
            <ac:spMk id="50" creationId="{4919786A-0F54-F09E-2BD3-E01AF8536603}"/>
          </ac:spMkLst>
        </pc:spChg>
        <pc:spChg chg="add del mod">
          <ac:chgData name="Oğuz Öztekin" userId="33c0df0f-d5fe-4bda-8f43-141ad7af67e3" providerId="ADAL" clId="{48B824AD-1B2A-47A8-8D92-6FE6E622A650}" dt="2024-12-16T16:27:08.852" v="103339"/>
          <ac:spMkLst>
            <pc:docMk/>
            <pc:sldMk cId="515243903" sldId="281"/>
            <ac:spMk id="51" creationId="{E829F8D0-B922-9926-7BF3-B89D3B2A7843}"/>
          </ac:spMkLst>
        </pc:spChg>
        <pc:spChg chg="add del mod">
          <ac:chgData name="Oğuz Öztekin" userId="33c0df0f-d5fe-4bda-8f43-141ad7af67e3" providerId="ADAL" clId="{48B824AD-1B2A-47A8-8D92-6FE6E622A650}" dt="2024-12-16T16:27:08.849" v="103325"/>
          <ac:spMkLst>
            <pc:docMk/>
            <pc:sldMk cId="515243903" sldId="281"/>
            <ac:spMk id="52" creationId="{963CB4EA-6FD1-6595-17B5-AD6C0AF37502}"/>
          </ac:spMkLst>
        </pc:spChg>
        <pc:spChg chg="add del mod modVis">
          <ac:chgData name="Oğuz Öztekin" userId="33c0df0f-d5fe-4bda-8f43-141ad7af67e3" providerId="ADAL" clId="{48B824AD-1B2A-47A8-8D92-6FE6E622A650}" dt="2024-12-16T16:14:45.974" v="89929"/>
          <ac:spMkLst>
            <pc:docMk/>
            <pc:sldMk cId="515243903" sldId="281"/>
            <ac:spMk id="54" creationId="{47E575AB-1E96-8E31-3E68-2BC52BDC1A1C}"/>
          </ac:spMkLst>
        </pc:spChg>
        <pc:spChg chg="add del mod modVis">
          <ac:chgData name="Oğuz Öztekin" userId="33c0df0f-d5fe-4bda-8f43-141ad7af67e3" providerId="ADAL" clId="{48B824AD-1B2A-47A8-8D92-6FE6E622A650}" dt="2024-12-16T10:52:02.166" v="28694"/>
          <ac:spMkLst>
            <pc:docMk/>
            <pc:sldMk cId="515243903" sldId="281"/>
            <ac:spMk id="54" creationId="{512ADE4B-EE6B-2709-75FE-0F6D110A97A5}"/>
          </ac:spMkLst>
        </pc:spChg>
        <pc:spChg chg="add del mod modVis">
          <ac:chgData name="Oğuz Öztekin" userId="33c0df0f-d5fe-4bda-8f43-141ad7af67e3" providerId="ADAL" clId="{48B824AD-1B2A-47A8-8D92-6FE6E622A650}" dt="2024-12-16T16:14:48.369" v="89960"/>
          <ac:spMkLst>
            <pc:docMk/>
            <pc:sldMk cId="515243903" sldId="281"/>
            <ac:spMk id="55" creationId="{94485B9A-94F1-7696-C5D1-D97BED1DD70B}"/>
          </ac:spMkLst>
        </pc:spChg>
        <pc:spChg chg="add del mod modVis">
          <ac:chgData name="Oğuz Öztekin" userId="33c0df0f-d5fe-4bda-8f43-141ad7af67e3" providerId="ADAL" clId="{48B824AD-1B2A-47A8-8D92-6FE6E622A650}" dt="2024-12-16T10:52:04.733" v="28802"/>
          <ac:spMkLst>
            <pc:docMk/>
            <pc:sldMk cId="515243903" sldId="281"/>
            <ac:spMk id="56" creationId="{17D3E960-3F76-0A09-B160-1E862EBBC0AB}"/>
          </ac:spMkLst>
        </pc:spChg>
        <pc:spChg chg="add del mod modVis">
          <ac:chgData name="Oğuz Öztekin" userId="33c0df0f-d5fe-4bda-8f43-141ad7af67e3" providerId="ADAL" clId="{48B824AD-1B2A-47A8-8D92-6FE6E622A650}" dt="2024-12-16T16:14:56.625" v="89985"/>
          <ac:spMkLst>
            <pc:docMk/>
            <pc:sldMk cId="515243903" sldId="281"/>
            <ac:spMk id="56" creationId="{A9F334DF-7BE9-DF7C-3C5D-792C44E3D72E}"/>
          </ac:spMkLst>
        </pc:spChg>
        <pc:spChg chg="add del mod modVis">
          <ac:chgData name="Oğuz Öztekin" userId="33c0df0f-d5fe-4bda-8f43-141ad7af67e3" providerId="ADAL" clId="{48B824AD-1B2A-47A8-8D92-6FE6E622A650}" dt="2024-12-16T16:14:58.451" v="90015"/>
          <ac:spMkLst>
            <pc:docMk/>
            <pc:sldMk cId="515243903" sldId="281"/>
            <ac:spMk id="57" creationId="{332731EB-3F4A-C167-B7E9-C008B6D40442}"/>
          </ac:spMkLst>
        </pc:spChg>
        <pc:spChg chg="add del mod modVis">
          <ac:chgData name="Oğuz Öztekin" userId="33c0df0f-d5fe-4bda-8f43-141ad7af67e3" providerId="ADAL" clId="{48B824AD-1B2A-47A8-8D92-6FE6E622A650}" dt="2024-12-16T16:15:00.138" v="90044"/>
          <ac:spMkLst>
            <pc:docMk/>
            <pc:sldMk cId="515243903" sldId="281"/>
            <ac:spMk id="58" creationId="{2479AA2D-6699-8618-F745-DE22608A828F}"/>
          </ac:spMkLst>
        </pc:spChg>
        <pc:spChg chg="add del mod modVis">
          <ac:chgData name="Oğuz Öztekin" userId="33c0df0f-d5fe-4bda-8f43-141ad7af67e3" providerId="ADAL" clId="{48B824AD-1B2A-47A8-8D92-6FE6E622A650}" dt="2024-12-16T10:52:25.259" v="28952"/>
          <ac:spMkLst>
            <pc:docMk/>
            <pc:sldMk cId="515243903" sldId="281"/>
            <ac:spMk id="58" creationId="{F1E97495-21F2-9999-BB0A-B073EB5408B8}"/>
          </ac:spMkLst>
        </pc:spChg>
        <pc:spChg chg="add del mod modVis">
          <ac:chgData name="Oğuz Öztekin" userId="33c0df0f-d5fe-4bda-8f43-141ad7af67e3" providerId="ADAL" clId="{48B824AD-1B2A-47A8-8D92-6FE6E622A650}" dt="2024-12-16T16:15:00.903" v="90069"/>
          <ac:spMkLst>
            <pc:docMk/>
            <pc:sldMk cId="515243903" sldId="281"/>
            <ac:spMk id="59" creationId="{9FEBF998-7A9D-A6D4-5254-7BAD5280FF2E}"/>
          </ac:spMkLst>
        </pc:spChg>
        <pc:spChg chg="add del mod modVis">
          <ac:chgData name="Oğuz Öztekin" userId="33c0df0f-d5fe-4bda-8f43-141ad7af67e3" providerId="ADAL" clId="{48B824AD-1B2A-47A8-8D92-6FE6E622A650}" dt="2024-12-16T16:15:05.099" v="90109"/>
          <ac:spMkLst>
            <pc:docMk/>
            <pc:sldMk cId="515243903" sldId="281"/>
            <ac:spMk id="60" creationId="{C1B8D493-5CFD-2727-1F6A-21AFED263906}"/>
          </ac:spMkLst>
        </pc:spChg>
        <pc:spChg chg="add del mod modVis">
          <ac:chgData name="Oğuz Öztekin" userId="33c0df0f-d5fe-4bda-8f43-141ad7af67e3" providerId="ADAL" clId="{48B824AD-1B2A-47A8-8D92-6FE6E622A650}" dt="2024-12-16T10:52:29.861" v="29135"/>
          <ac:spMkLst>
            <pc:docMk/>
            <pc:sldMk cId="515243903" sldId="281"/>
            <ac:spMk id="60" creationId="{D223B8B3-E247-27BA-F1C3-246CC4829262}"/>
          </ac:spMkLst>
        </pc:spChg>
        <pc:spChg chg="add del mod modVis">
          <ac:chgData name="Oğuz Öztekin" userId="33c0df0f-d5fe-4bda-8f43-141ad7af67e3" providerId="ADAL" clId="{48B824AD-1B2A-47A8-8D92-6FE6E622A650}" dt="2024-12-16T16:15:06.119" v="90136"/>
          <ac:spMkLst>
            <pc:docMk/>
            <pc:sldMk cId="515243903" sldId="281"/>
            <ac:spMk id="61" creationId="{F48276AB-F09C-E859-1A8E-E955665AEDEE}"/>
          </ac:spMkLst>
        </pc:spChg>
        <pc:spChg chg="add del mod modVis">
          <ac:chgData name="Oğuz Öztekin" userId="33c0df0f-d5fe-4bda-8f43-141ad7af67e3" providerId="ADAL" clId="{48B824AD-1B2A-47A8-8D92-6FE6E622A650}" dt="2024-12-16T10:52:33.915" v="29243"/>
          <ac:spMkLst>
            <pc:docMk/>
            <pc:sldMk cId="515243903" sldId="281"/>
            <ac:spMk id="62" creationId="{5BBFF338-0589-FF4B-4061-DDFD7B50288C}"/>
          </ac:spMkLst>
        </pc:spChg>
        <pc:spChg chg="add del mod modVis">
          <ac:chgData name="Oğuz Öztekin" userId="33c0df0f-d5fe-4bda-8f43-141ad7af67e3" providerId="ADAL" clId="{48B824AD-1B2A-47A8-8D92-6FE6E622A650}" dt="2024-12-16T16:15:06.846" v="90161"/>
          <ac:spMkLst>
            <pc:docMk/>
            <pc:sldMk cId="515243903" sldId="281"/>
            <ac:spMk id="62" creationId="{5D7EFA65-F6F9-30AE-FE98-33AD1213F478}"/>
          </ac:spMkLst>
        </pc:spChg>
        <pc:spChg chg="add del mod modVis">
          <ac:chgData name="Oğuz Öztekin" userId="33c0df0f-d5fe-4bda-8f43-141ad7af67e3" providerId="ADAL" clId="{48B824AD-1B2A-47A8-8D92-6FE6E622A650}" dt="2024-12-16T16:15:07.719" v="90186"/>
          <ac:spMkLst>
            <pc:docMk/>
            <pc:sldMk cId="515243903" sldId="281"/>
            <ac:spMk id="63" creationId="{AF84AB2A-94B5-4C81-056E-FB3D08E98E4A}"/>
          </ac:spMkLst>
        </pc:spChg>
        <pc:spChg chg="add del mod modVis">
          <ac:chgData name="Oğuz Öztekin" userId="33c0df0f-d5fe-4bda-8f43-141ad7af67e3" providerId="ADAL" clId="{48B824AD-1B2A-47A8-8D92-6FE6E622A650}" dt="2024-12-16T10:52:38.653" v="29392"/>
          <ac:spMkLst>
            <pc:docMk/>
            <pc:sldMk cId="515243903" sldId="281"/>
            <ac:spMk id="64" creationId="{00C8CAC3-1D6D-F369-66B1-A38D39D04A99}"/>
          </ac:spMkLst>
        </pc:spChg>
        <pc:spChg chg="add del mod modVis">
          <ac:chgData name="Oğuz Öztekin" userId="33c0df0f-d5fe-4bda-8f43-141ad7af67e3" providerId="ADAL" clId="{48B824AD-1B2A-47A8-8D92-6FE6E622A650}" dt="2024-12-16T16:15:12.330" v="90233"/>
          <ac:spMkLst>
            <pc:docMk/>
            <pc:sldMk cId="515243903" sldId="281"/>
            <ac:spMk id="64" creationId="{A4CFDC00-6088-4AF5-B6B2-6B817F49594B}"/>
          </ac:spMkLst>
        </pc:spChg>
        <pc:spChg chg="add del mod modVis">
          <ac:chgData name="Oğuz Öztekin" userId="33c0df0f-d5fe-4bda-8f43-141ad7af67e3" providerId="ADAL" clId="{48B824AD-1B2A-47A8-8D92-6FE6E622A650}" dt="2024-12-16T16:15:14.089" v="90259"/>
          <ac:spMkLst>
            <pc:docMk/>
            <pc:sldMk cId="515243903" sldId="281"/>
            <ac:spMk id="65" creationId="{CFFE466E-B926-DA16-4AFA-D03F7876462A}"/>
          </ac:spMkLst>
        </pc:spChg>
        <pc:spChg chg="add del mod modVis">
          <ac:chgData name="Oğuz Öztekin" userId="33c0df0f-d5fe-4bda-8f43-141ad7af67e3" providerId="ADAL" clId="{48B824AD-1B2A-47A8-8D92-6FE6E622A650}" dt="2024-12-16T10:52:43.227" v="29557"/>
          <ac:spMkLst>
            <pc:docMk/>
            <pc:sldMk cId="515243903" sldId="281"/>
            <ac:spMk id="66" creationId="{7A237BCD-AEFE-01AD-9729-C3822304F18B}"/>
          </ac:spMkLst>
        </pc:spChg>
        <pc:spChg chg="add del mod modVis">
          <ac:chgData name="Oğuz Öztekin" userId="33c0df0f-d5fe-4bda-8f43-141ad7af67e3" providerId="ADAL" clId="{48B824AD-1B2A-47A8-8D92-6FE6E622A650}" dt="2024-12-16T16:15:31.928" v="91044"/>
          <ac:spMkLst>
            <pc:docMk/>
            <pc:sldMk cId="515243903" sldId="281"/>
            <ac:spMk id="66" creationId="{C6E3D2FC-DE64-56B3-4AA5-7323FD0720E2}"/>
          </ac:spMkLst>
        </pc:spChg>
        <pc:spChg chg="add mod">
          <ac:chgData name="Oğuz Öztekin" userId="33c0df0f-d5fe-4bda-8f43-141ad7af67e3" providerId="ADAL" clId="{48B824AD-1B2A-47A8-8D92-6FE6E622A650}" dt="2024-12-16T16:15:31.928" v="91044"/>
          <ac:spMkLst>
            <pc:docMk/>
            <pc:sldMk cId="515243903" sldId="281"/>
            <ac:spMk id="67" creationId="{7945DA98-D441-D2FB-8528-AF0B9BCCF628}"/>
          </ac:spMkLst>
        </pc:spChg>
        <pc:spChg chg="add del mod modVis">
          <ac:chgData name="Oğuz Öztekin" userId="33c0df0f-d5fe-4bda-8f43-141ad7af67e3" providerId="ADAL" clId="{48B824AD-1B2A-47A8-8D92-6FE6E622A650}" dt="2024-12-16T10:52:45.717" v="29947"/>
          <ac:spMkLst>
            <pc:docMk/>
            <pc:sldMk cId="515243903" sldId="281"/>
            <ac:spMk id="68" creationId="{8AAAB500-A839-60BA-20BD-95FA2BEFB948}"/>
          </ac:spMkLst>
        </pc:spChg>
        <pc:spChg chg="add mod">
          <ac:chgData name="Oğuz Öztekin" userId="33c0df0f-d5fe-4bda-8f43-141ad7af67e3" providerId="ADAL" clId="{48B824AD-1B2A-47A8-8D92-6FE6E622A650}" dt="2024-12-16T16:15:31.928" v="91044"/>
          <ac:spMkLst>
            <pc:docMk/>
            <pc:sldMk cId="515243903" sldId="281"/>
            <ac:spMk id="68" creationId="{E3CA0876-7E2F-9AAF-8CB8-E1CB2F92F065}"/>
          </ac:spMkLst>
        </pc:spChg>
        <pc:spChg chg="add del mod">
          <ac:chgData name="Oğuz Öztekin" userId="33c0df0f-d5fe-4bda-8f43-141ad7af67e3" providerId="ADAL" clId="{48B824AD-1B2A-47A8-8D92-6FE6E622A650}" dt="2024-12-16T10:52:48.581" v="30002"/>
          <ac:spMkLst>
            <pc:docMk/>
            <pc:sldMk cId="515243903" sldId="281"/>
            <ac:spMk id="69" creationId="{81611558-57D1-2C8A-30A9-E597684B3511}"/>
          </ac:spMkLst>
        </pc:spChg>
        <pc:spChg chg="add mod">
          <ac:chgData name="Oğuz Öztekin" userId="33c0df0f-d5fe-4bda-8f43-141ad7af67e3" providerId="ADAL" clId="{48B824AD-1B2A-47A8-8D92-6FE6E622A650}" dt="2024-12-16T16:15:31.928" v="91044"/>
          <ac:spMkLst>
            <pc:docMk/>
            <pc:sldMk cId="515243903" sldId="281"/>
            <ac:spMk id="69" creationId="{96078CAD-F6D1-D41C-2C42-95995951B504}"/>
          </ac:spMkLst>
        </pc:spChg>
        <pc:spChg chg="add mod">
          <ac:chgData name="Oğuz Öztekin" userId="33c0df0f-d5fe-4bda-8f43-141ad7af67e3" providerId="ADAL" clId="{48B824AD-1B2A-47A8-8D92-6FE6E622A650}" dt="2024-12-16T16:15:31.928" v="91044"/>
          <ac:spMkLst>
            <pc:docMk/>
            <pc:sldMk cId="515243903" sldId="281"/>
            <ac:spMk id="70" creationId="{36155360-B69A-69AB-4CBB-48EEEB377BD2}"/>
          </ac:spMkLst>
        </pc:spChg>
        <pc:spChg chg="add del mod">
          <ac:chgData name="Oğuz Öztekin" userId="33c0df0f-d5fe-4bda-8f43-141ad7af67e3" providerId="ADAL" clId="{48B824AD-1B2A-47A8-8D92-6FE6E622A650}" dt="2024-12-16T10:52:48.582" v="30003"/>
          <ac:spMkLst>
            <pc:docMk/>
            <pc:sldMk cId="515243903" sldId="281"/>
            <ac:spMk id="70" creationId="{50067BAF-5210-DE94-BADE-2F311D194BFE}"/>
          </ac:spMkLst>
        </pc:spChg>
        <pc:spChg chg="add mod">
          <ac:chgData name="Oğuz Öztekin" userId="33c0df0f-d5fe-4bda-8f43-141ad7af67e3" providerId="ADAL" clId="{48B824AD-1B2A-47A8-8D92-6FE6E622A650}" dt="2024-12-16T16:15:31.928" v="91044"/>
          <ac:spMkLst>
            <pc:docMk/>
            <pc:sldMk cId="515243903" sldId="281"/>
            <ac:spMk id="71" creationId="{52A6569C-2F96-F9F8-5464-9A2C10E5111D}"/>
          </ac:spMkLst>
        </pc:spChg>
        <pc:spChg chg="add del mod">
          <ac:chgData name="Oğuz Öztekin" userId="33c0df0f-d5fe-4bda-8f43-141ad7af67e3" providerId="ADAL" clId="{48B824AD-1B2A-47A8-8D92-6FE6E622A650}" dt="2024-12-16T10:52:48.582" v="30004"/>
          <ac:spMkLst>
            <pc:docMk/>
            <pc:sldMk cId="515243903" sldId="281"/>
            <ac:spMk id="71" creationId="{CCFE0E1B-300E-6975-2C8F-84D1326E0BA7}"/>
          </ac:spMkLst>
        </pc:spChg>
        <pc:spChg chg="mod ord">
          <ac:chgData name="Oğuz Öztekin" userId="33c0df0f-d5fe-4bda-8f43-141ad7af67e3" providerId="ADAL" clId="{48B824AD-1B2A-47A8-8D92-6FE6E622A650}" dt="2024-12-16T16:27:08.854" v="103342"/>
          <ac:spMkLst>
            <pc:docMk/>
            <pc:sldMk cId="515243903" sldId="281"/>
            <ac:spMk id="72" creationId="{47F4AF3A-7808-79F4-BB30-459383D5E01A}"/>
          </ac:spMkLst>
        </pc:spChg>
        <pc:spChg chg="add mod">
          <ac:chgData name="Oğuz Öztekin" userId="33c0df0f-d5fe-4bda-8f43-141ad7af67e3" providerId="ADAL" clId="{48B824AD-1B2A-47A8-8D92-6FE6E622A650}" dt="2024-12-16T16:15:31.928" v="91044"/>
          <ac:spMkLst>
            <pc:docMk/>
            <pc:sldMk cId="515243903" sldId="281"/>
            <ac:spMk id="76" creationId="{32138E86-15F5-6DDA-ECD3-02F03DD89E52}"/>
          </ac:spMkLst>
        </pc:spChg>
        <pc:spChg chg="add del mod">
          <ac:chgData name="Oğuz Öztekin" userId="33c0df0f-d5fe-4bda-8f43-141ad7af67e3" providerId="ADAL" clId="{48B824AD-1B2A-47A8-8D92-6FE6E622A650}" dt="2024-12-16T10:52:48.583" v="30005"/>
          <ac:spMkLst>
            <pc:docMk/>
            <pc:sldMk cId="515243903" sldId="281"/>
            <ac:spMk id="76" creationId="{C728BECF-5FA2-60A9-B013-57D161B6F4E6}"/>
          </ac:spMkLst>
        </pc:spChg>
        <pc:spChg chg="add del mod">
          <ac:chgData name="Oğuz Öztekin" userId="33c0df0f-d5fe-4bda-8f43-141ad7af67e3" providerId="ADAL" clId="{48B824AD-1B2A-47A8-8D92-6FE6E622A650}" dt="2024-12-16T10:52:48.583" v="30006"/>
          <ac:spMkLst>
            <pc:docMk/>
            <pc:sldMk cId="515243903" sldId="281"/>
            <ac:spMk id="77" creationId="{2D33059F-6D13-8C2F-38DB-50E7F5E08FC3}"/>
          </ac:spMkLst>
        </pc:spChg>
        <pc:spChg chg="add del mod">
          <ac:chgData name="Oğuz Öztekin" userId="33c0df0f-d5fe-4bda-8f43-141ad7af67e3" providerId="ADAL" clId="{48B824AD-1B2A-47A8-8D92-6FE6E622A650}" dt="2024-12-16T10:52:48.584" v="30007"/>
          <ac:spMkLst>
            <pc:docMk/>
            <pc:sldMk cId="515243903" sldId="281"/>
            <ac:spMk id="78" creationId="{368DE6C8-0192-9286-0AD1-81B81625B6BB}"/>
          </ac:spMkLst>
        </pc:spChg>
        <pc:spChg chg="add del mod modVis">
          <ac:chgData name="Oğuz Öztekin" userId="33c0df0f-d5fe-4bda-8f43-141ad7af67e3" providerId="ADAL" clId="{48B824AD-1B2A-47A8-8D92-6FE6E622A650}" dt="2024-12-16T10:52:48.633" v="30067"/>
          <ac:spMkLst>
            <pc:docMk/>
            <pc:sldMk cId="515243903" sldId="281"/>
            <ac:spMk id="80" creationId="{2290F6A6-526C-5C9E-997F-33518B376DE6}"/>
          </ac:spMkLst>
        </pc:spChg>
        <pc:spChg chg="add del mod modVis">
          <ac:chgData name="Oğuz Öztekin" userId="33c0df0f-d5fe-4bda-8f43-141ad7af67e3" providerId="ADAL" clId="{48B824AD-1B2A-47A8-8D92-6FE6E622A650}" dt="2024-12-16T16:15:38.297" v="91253"/>
          <ac:spMkLst>
            <pc:docMk/>
            <pc:sldMk cId="515243903" sldId="281"/>
            <ac:spMk id="81" creationId="{39C23369-0950-A195-36F3-A6BFB807485F}"/>
          </ac:spMkLst>
        </pc:spChg>
        <pc:spChg chg="add del mod modVis">
          <ac:chgData name="Oğuz Öztekin" userId="33c0df0f-d5fe-4bda-8f43-141ad7af67e3" providerId="ADAL" clId="{48B824AD-1B2A-47A8-8D92-6FE6E622A650}" dt="2024-12-16T10:53:12.991" v="30370"/>
          <ac:spMkLst>
            <pc:docMk/>
            <pc:sldMk cId="515243903" sldId="281"/>
            <ac:spMk id="82" creationId="{B0469C3E-04C7-2DB3-D9D2-0BB4ED6935A2}"/>
          </ac:spMkLst>
        </pc:spChg>
        <pc:spChg chg="add del mod modVis">
          <ac:chgData name="Oğuz Öztekin" userId="33c0df0f-d5fe-4bda-8f43-141ad7af67e3" providerId="ADAL" clId="{48B824AD-1B2A-47A8-8D92-6FE6E622A650}" dt="2024-12-16T16:15:42.161" v="91446"/>
          <ac:spMkLst>
            <pc:docMk/>
            <pc:sldMk cId="515243903" sldId="281"/>
            <ac:spMk id="83" creationId="{5EF6179A-2814-D554-49E5-1D9371E5BA68}"/>
          </ac:spMkLst>
        </pc:spChg>
        <pc:spChg chg="add del mod modVis">
          <ac:chgData name="Oğuz Öztekin" userId="33c0df0f-d5fe-4bda-8f43-141ad7af67e3" providerId="ADAL" clId="{48B824AD-1B2A-47A8-8D92-6FE6E622A650}" dt="2024-12-16T10:53:44.752" v="30555"/>
          <ac:spMkLst>
            <pc:docMk/>
            <pc:sldMk cId="515243903" sldId="281"/>
            <ac:spMk id="84" creationId="{60E9C204-36B6-3862-1F04-75501F6A0EE0}"/>
          </ac:spMkLst>
        </pc:spChg>
        <pc:spChg chg="add del mod modVis">
          <ac:chgData name="Oğuz Öztekin" userId="33c0df0f-d5fe-4bda-8f43-141ad7af67e3" providerId="ADAL" clId="{48B824AD-1B2A-47A8-8D92-6FE6E622A650}" dt="2024-12-16T16:15:43.383" v="91780"/>
          <ac:spMkLst>
            <pc:docMk/>
            <pc:sldMk cId="515243903" sldId="281"/>
            <ac:spMk id="85" creationId="{7C842939-3342-90B2-6070-F6751AB2CE4F}"/>
          </ac:spMkLst>
        </pc:spChg>
        <pc:spChg chg="mod">
          <ac:chgData name="Oğuz Öztekin" userId="33c0df0f-d5fe-4bda-8f43-141ad7af67e3" providerId="ADAL" clId="{48B824AD-1B2A-47A8-8D92-6FE6E622A650}" dt="2024-12-16T16:27:08.851" v="103332"/>
          <ac:spMkLst>
            <pc:docMk/>
            <pc:sldMk cId="515243903" sldId="281"/>
            <ac:spMk id="86" creationId="{5DB2F648-646E-5E64-2D72-28E258F690BB}"/>
          </ac:spMkLst>
        </pc:spChg>
        <pc:spChg chg="mod">
          <ac:chgData name="Oğuz Öztekin" userId="33c0df0f-d5fe-4bda-8f43-141ad7af67e3" providerId="ADAL" clId="{48B824AD-1B2A-47A8-8D92-6FE6E622A650}" dt="2024-12-16T16:27:08.851" v="103333"/>
          <ac:spMkLst>
            <pc:docMk/>
            <pc:sldMk cId="515243903" sldId="281"/>
            <ac:spMk id="87" creationId="{BC7DD847-AAF7-307F-362A-7587D75E94E9}"/>
          </ac:spMkLst>
        </pc:spChg>
        <pc:spChg chg="mod">
          <ac:chgData name="Oğuz Öztekin" userId="33c0df0f-d5fe-4bda-8f43-141ad7af67e3" providerId="ADAL" clId="{48B824AD-1B2A-47A8-8D92-6FE6E622A650}" dt="2024-12-16T16:27:08.851" v="103334"/>
          <ac:spMkLst>
            <pc:docMk/>
            <pc:sldMk cId="515243903" sldId="281"/>
            <ac:spMk id="88" creationId="{7D35223A-6CFD-4D47-AF31-AC8E6BD6DD9F}"/>
          </ac:spMkLst>
        </pc:spChg>
        <pc:spChg chg="mod">
          <ac:chgData name="Oğuz Öztekin" userId="33c0df0f-d5fe-4bda-8f43-141ad7af67e3" providerId="ADAL" clId="{48B824AD-1B2A-47A8-8D92-6FE6E622A650}" dt="2024-12-16T16:27:08.851" v="103335"/>
          <ac:spMkLst>
            <pc:docMk/>
            <pc:sldMk cId="515243903" sldId="281"/>
            <ac:spMk id="89" creationId="{A667CF5B-4640-ECB4-CA46-0BE16959D8D3}"/>
          </ac:spMkLst>
        </pc:spChg>
        <pc:spChg chg="mod">
          <ac:chgData name="Oğuz Öztekin" userId="33c0df0f-d5fe-4bda-8f43-141ad7af67e3" providerId="ADAL" clId="{48B824AD-1B2A-47A8-8D92-6FE6E622A650}" dt="2024-12-16T16:27:08.852" v="103336"/>
          <ac:spMkLst>
            <pc:docMk/>
            <pc:sldMk cId="515243903" sldId="281"/>
            <ac:spMk id="90" creationId="{16BF7F31-E3E7-52EF-1D77-3505E28AD867}"/>
          </ac:spMkLst>
        </pc:spChg>
        <pc:spChg chg="mod">
          <ac:chgData name="Oğuz Öztekin" userId="33c0df0f-d5fe-4bda-8f43-141ad7af67e3" providerId="ADAL" clId="{48B824AD-1B2A-47A8-8D92-6FE6E622A650}" dt="2024-12-16T16:27:08.852" v="103337"/>
          <ac:spMkLst>
            <pc:docMk/>
            <pc:sldMk cId="515243903" sldId="281"/>
            <ac:spMk id="91" creationId="{5AA8E9E9-8999-81A0-9424-068D977BF374}"/>
          </ac:spMkLst>
        </pc:spChg>
        <pc:spChg chg="mod">
          <ac:chgData name="Oğuz Öztekin" userId="33c0df0f-d5fe-4bda-8f43-141ad7af67e3" providerId="ADAL" clId="{48B824AD-1B2A-47A8-8D92-6FE6E622A650}" dt="2024-12-16T16:27:08.852" v="103338"/>
          <ac:spMkLst>
            <pc:docMk/>
            <pc:sldMk cId="515243903" sldId="281"/>
            <ac:spMk id="92" creationId="{2787DA9C-0DA0-3301-B0C0-67576D5DD97C}"/>
          </ac:spMkLst>
        </pc:spChg>
        <pc:spChg chg="add del mod modVis">
          <ac:chgData name="Oğuz Öztekin" userId="33c0df0f-d5fe-4bda-8f43-141ad7af67e3" providerId="ADAL" clId="{48B824AD-1B2A-47A8-8D92-6FE6E622A650}" dt="2024-12-16T10:53:48.529" v="30735"/>
          <ac:spMkLst>
            <pc:docMk/>
            <pc:sldMk cId="515243903" sldId="281"/>
            <ac:spMk id="93" creationId="{68632F1F-E1E5-B0E2-4EF9-1663A44D1A0D}"/>
          </ac:spMkLst>
        </pc:spChg>
        <pc:spChg chg="add del mod">
          <ac:chgData name="Oğuz Öztekin" userId="33c0df0f-d5fe-4bda-8f43-141ad7af67e3" providerId="ADAL" clId="{48B824AD-1B2A-47A8-8D92-6FE6E622A650}" dt="2024-12-16T16:15:44.628" v="91829"/>
          <ac:spMkLst>
            <pc:docMk/>
            <pc:sldMk cId="515243903" sldId="281"/>
            <ac:spMk id="93" creationId="{DF0E03AA-BC8D-0B2F-1BA3-0BFBC11D9D12}"/>
          </ac:spMkLst>
        </pc:spChg>
        <pc:spChg chg="add del mod">
          <ac:chgData name="Oğuz Öztekin" userId="33c0df0f-d5fe-4bda-8f43-141ad7af67e3" providerId="ADAL" clId="{48B824AD-1B2A-47A8-8D92-6FE6E622A650}" dt="2024-12-16T16:15:44.628" v="91830"/>
          <ac:spMkLst>
            <pc:docMk/>
            <pc:sldMk cId="515243903" sldId="281"/>
            <ac:spMk id="94" creationId="{F0F3D060-AF1E-9156-035F-D55749B81A27}"/>
          </ac:spMkLst>
        </pc:spChg>
        <pc:spChg chg="add del mod modVis">
          <ac:chgData name="Oğuz Öztekin" userId="33c0df0f-d5fe-4bda-8f43-141ad7af67e3" providerId="ADAL" clId="{48B824AD-1B2A-47A8-8D92-6FE6E622A650}" dt="2024-12-16T10:54:00.182" v="30760"/>
          <ac:spMkLst>
            <pc:docMk/>
            <pc:sldMk cId="515243903" sldId="281"/>
            <ac:spMk id="95" creationId="{7063C094-A931-E119-45D3-C7A72DC2E49D}"/>
          </ac:spMkLst>
        </pc:spChg>
        <pc:spChg chg="add del mod">
          <ac:chgData name="Oğuz Öztekin" userId="33c0df0f-d5fe-4bda-8f43-141ad7af67e3" providerId="ADAL" clId="{48B824AD-1B2A-47A8-8D92-6FE6E622A650}" dt="2024-12-16T16:15:44.629" v="91831"/>
          <ac:spMkLst>
            <pc:docMk/>
            <pc:sldMk cId="515243903" sldId="281"/>
            <ac:spMk id="95" creationId="{AD21D060-1D7D-C002-15BE-9282AC16E558}"/>
          </ac:spMkLst>
        </pc:spChg>
        <pc:spChg chg="add del mod modVis">
          <ac:chgData name="Oğuz Öztekin" userId="33c0df0f-d5fe-4bda-8f43-141ad7af67e3" providerId="ADAL" clId="{48B824AD-1B2A-47A8-8D92-6FE6E622A650}" dt="2024-12-16T10:54:03.700" v="30798"/>
          <ac:spMkLst>
            <pc:docMk/>
            <pc:sldMk cId="515243903" sldId="281"/>
            <ac:spMk id="160" creationId="{706B9B0B-DA46-E60A-0B1E-A8DAB87E6DC0}"/>
          </ac:spMkLst>
        </pc:spChg>
        <pc:spChg chg="add del mod">
          <ac:chgData name="Oğuz Öztekin" userId="33c0df0f-d5fe-4bda-8f43-141ad7af67e3" providerId="ADAL" clId="{48B824AD-1B2A-47A8-8D92-6FE6E622A650}" dt="2024-12-16T16:15:44.629" v="91832"/>
          <ac:spMkLst>
            <pc:docMk/>
            <pc:sldMk cId="515243903" sldId="281"/>
            <ac:spMk id="160" creationId="{BFCA69C3-210F-B5E2-2FE2-314F62245FD1}"/>
          </ac:spMkLst>
        </pc:spChg>
        <pc:spChg chg="add del mod modVis">
          <ac:chgData name="Oğuz Öztekin" userId="33c0df0f-d5fe-4bda-8f43-141ad7af67e3" providerId="ADAL" clId="{48B824AD-1B2A-47A8-8D92-6FE6E622A650}" dt="2024-12-16T10:54:05.506" v="30828"/>
          <ac:spMkLst>
            <pc:docMk/>
            <pc:sldMk cId="515243903" sldId="281"/>
            <ac:spMk id="161" creationId="{565A07FF-01BD-0FA3-D5A5-BD742E8ECC65}"/>
          </ac:spMkLst>
        </pc:spChg>
        <pc:spChg chg="add del mod">
          <ac:chgData name="Oğuz Öztekin" userId="33c0df0f-d5fe-4bda-8f43-141ad7af67e3" providerId="ADAL" clId="{48B824AD-1B2A-47A8-8D92-6FE6E622A650}" dt="2024-12-16T16:15:44.630" v="91833"/>
          <ac:spMkLst>
            <pc:docMk/>
            <pc:sldMk cId="515243903" sldId="281"/>
            <ac:spMk id="161" creationId="{CDFAD3C7-3F02-88D1-4129-3626EE3B8E09}"/>
          </ac:spMkLst>
        </pc:spChg>
        <pc:spChg chg="add del mod modVis">
          <ac:chgData name="Oğuz Öztekin" userId="33c0df0f-d5fe-4bda-8f43-141ad7af67e3" providerId="ADAL" clId="{48B824AD-1B2A-47A8-8D92-6FE6E622A650}" dt="2024-12-16T10:54:06.756" v="30856"/>
          <ac:spMkLst>
            <pc:docMk/>
            <pc:sldMk cId="515243903" sldId="281"/>
            <ac:spMk id="162" creationId="{D799F28F-B338-130B-6ADC-9B4B0B935CEA}"/>
          </ac:spMkLst>
        </pc:spChg>
        <pc:spChg chg="add del mod ord">
          <ac:chgData name="Oğuz Öztekin" userId="33c0df0f-d5fe-4bda-8f43-141ad7af67e3" providerId="ADAL" clId="{48B824AD-1B2A-47A8-8D92-6FE6E622A650}" dt="2024-12-16T16:13:57.414" v="89728" actId="478"/>
          <ac:spMkLst>
            <pc:docMk/>
            <pc:sldMk cId="515243903" sldId="281"/>
            <ac:spMk id="163" creationId="{8A484EF9-59CF-D878-C91F-D608ABDBD66E}"/>
          </ac:spMkLst>
        </pc:spChg>
        <pc:spChg chg="add del mod modVis">
          <ac:chgData name="Oğuz Öztekin" userId="33c0df0f-d5fe-4bda-8f43-141ad7af67e3" providerId="ADAL" clId="{48B824AD-1B2A-47A8-8D92-6FE6E622A650}" dt="2024-12-16T16:15:44.671" v="91895"/>
          <ac:spMkLst>
            <pc:docMk/>
            <pc:sldMk cId="515243903" sldId="281"/>
            <ac:spMk id="164" creationId="{2D78CE48-C4AC-E008-4BCD-7DF5468326D4}"/>
          </ac:spMkLst>
        </pc:spChg>
        <pc:spChg chg="add del mod modVis">
          <ac:chgData name="Oğuz Öztekin" userId="33c0df0f-d5fe-4bda-8f43-141ad7af67e3" providerId="ADAL" clId="{48B824AD-1B2A-47A8-8D92-6FE6E622A650}" dt="2024-12-16T11:00:05.130" v="31407"/>
          <ac:spMkLst>
            <pc:docMk/>
            <pc:sldMk cId="515243903" sldId="281"/>
            <ac:spMk id="164" creationId="{8B7A3388-3660-130C-DBD6-401DB0108C4D}"/>
          </ac:spMkLst>
        </pc:spChg>
        <pc:spChg chg="add del mod modVis">
          <ac:chgData name="Oğuz Öztekin" userId="33c0df0f-d5fe-4bda-8f43-141ad7af67e3" providerId="ADAL" clId="{48B824AD-1B2A-47A8-8D92-6FE6E622A650}" dt="2024-12-16T11:00:11.836" v="31586"/>
          <ac:spMkLst>
            <pc:docMk/>
            <pc:sldMk cId="515243903" sldId="281"/>
            <ac:spMk id="166" creationId="{1D22E19C-D4F0-B9F9-7467-6E7E3A3801AB}"/>
          </ac:spMkLst>
        </pc:spChg>
        <pc:spChg chg="add del mod modVis">
          <ac:chgData name="Oğuz Öztekin" userId="33c0df0f-d5fe-4bda-8f43-141ad7af67e3" providerId="ADAL" clId="{48B824AD-1B2A-47A8-8D92-6FE6E622A650}" dt="2024-12-16T16:15:45.569" v="92054"/>
          <ac:spMkLst>
            <pc:docMk/>
            <pc:sldMk cId="515243903" sldId="281"/>
            <ac:spMk id="166" creationId="{A5EB7826-4802-5E75-AE1E-3A4582A1C5C8}"/>
          </ac:spMkLst>
        </pc:spChg>
        <pc:spChg chg="add mod">
          <ac:chgData name="Oğuz Öztekin" userId="33c0df0f-d5fe-4bda-8f43-141ad7af67e3" providerId="ADAL" clId="{48B824AD-1B2A-47A8-8D92-6FE6E622A650}" dt="2024-12-16T16:27:08.859" v="103366"/>
          <ac:spMkLst>
            <pc:docMk/>
            <pc:sldMk cId="515243903" sldId="281"/>
            <ac:spMk id="167" creationId="{F0A9E10A-8029-E669-E4C9-D5A5C7918E4C}"/>
          </ac:spMkLst>
        </pc:spChg>
        <pc:spChg chg="add del mod modVis">
          <ac:chgData name="Oğuz Öztekin" userId="33c0df0f-d5fe-4bda-8f43-141ad7af67e3" providerId="ADAL" clId="{48B824AD-1B2A-47A8-8D92-6FE6E622A650}" dt="2024-12-16T11:00:15.228" v="31694"/>
          <ac:spMkLst>
            <pc:docMk/>
            <pc:sldMk cId="515243903" sldId="281"/>
            <ac:spMk id="168" creationId="{101D93C8-9E67-7ADF-D166-6BBBF93F22B7}"/>
          </ac:spMkLst>
        </pc:spChg>
        <pc:spChg chg="add del mod modVis">
          <ac:chgData name="Oğuz Öztekin" userId="33c0df0f-d5fe-4bda-8f43-141ad7af67e3" providerId="ADAL" clId="{48B824AD-1B2A-47A8-8D92-6FE6E622A650}" dt="2024-12-16T11:00:37.530" v="31836"/>
          <ac:spMkLst>
            <pc:docMk/>
            <pc:sldMk cId="515243903" sldId="281"/>
            <ac:spMk id="170" creationId="{204C9FB4-9023-8F64-8945-8CE4A957DBBF}"/>
          </ac:spMkLst>
        </pc:spChg>
        <pc:spChg chg="add del mod modVis">
          <ac:chgData name="Oğuz Öztekin" userId="33c0df0f-d5fe-4bda-8f43-141ad7af67e3" providerId="ADAL" clId="{48B824AD-1B2A-47A8-8D92-6FE6E622A650}" dt="2024-12-16T16:15:49.336" v="92167"/>
          <ac:spMkLst>
            <pc:docMk/>
            <pc:sldMk cId="515243903" sldId="281"/>
            <ac:spMk id="170" creationId="{8052BF70-F476-6A28-68F3-72351BA58CAD}"/>
          </ac:spMkLst>
        </pc:spChg>
        <pc:spChg chg="add del mod modVis">
          <ac:chgData name="Oğuz Öztekin" userId="33c0df0f-d5fe-4bda-8f43-141ad7af67e3" providerId="ADAL" clId="{48B824AD-1B2A-47A8-8D92-6FE6E622A650}" dt="2024-12-16T16:15:51.540" v="92297"/>
          <ac:spMkLst>
            <pc:docMk/>
            <pc:sldMk cId="515243903" sldId="281"/>
            <ac:spMk id="172" creationId="{4DEDAE82-F830-1FE1-9235-FC5CAA413D7E}"/>
          </ac:spMkLst>
        </pc:spChg>
        <pc:spChg chg="add del mod modVis">
          <ac:chgData name="Oğuz Öztekin" userId="33c0df0f-d5fe-4bda-8f43-141ad7af67e3" providerId="ADAL" clId="{48B824AD-1B2A-47A8-8D92-6FE6E622A650}" dt="2024-12-16T11:00:41.967" v="32013"/>
          <ac:spMkLst>
            <pc:docMk/>
            <pc:sldMk cId="515243903" sldId="281"/>
            <ac:spMk id="172" creationId="{56186AF5-04B7-2563-8100-FAF209D650D9}"/>
          </ac:spMkLst>
        </pc:spChg>
        <pc:spChg chg="add del mod modVis">
          <ac:chgData name="Oğuz Öztekin" userId="33c0df0f-d5fe-4bda-8f43-141ad7af67e3" providerId="ADAL" clId="{48B824AD-1B2A-47A8-8D92-6FE6E622A650}" dt="2024-12-16T16:15:55.309" v="92409"/>
          <ac:spMkLst>
            <pc:docMk/>
            <pc:sldMk cId="515243903" sldId="281"/>
            <ac:spMk id="174" creationId="{98D60086-A808-C161-12FF-DE26ADE04F2F}"/>
          </ac:spMkLst>
        </pc:spChg>
        <pc:spChg chg="add del mod modVis">
          <ac:chgData name="Oğuz Öztekin" userId="33c0df0f-d5fe-4bda-8f43-141ad7af67e3" providerId="ADAL" clId="{48B824AD-1B2A-47A8-8D92-6FE6E622A650}" dt="2024-12-16T11:00:44.269" v="32117"/>
          <ac:spMkLst>
            <pc:docMk/>
            <pc:sldMk cId="515243903" sldId="281"/>
            <ac:spMk id="174" creationId="{C63F9872-C884-31BE-36B7-8E98F5E398BA}"/>
          </ac:spMkLst>
        </pc:spChg>
        <pc:spChg chg="add del mod modVis">
          <ac:chgData name="Oğuz Öztekin" userId="33c0df0f-d5fe-4bda-8f43-141ad7af67e3" providerId="ADAL" clId="{48B824AD-1B2A-47A8-8D92-6FE6E622A650}" dt="2024-12-16T16:16:01.765" v="92525"/>
          <ac:spMkLst>
            <pc:docMk/>
            <pc:sldMk cId="515243903" sldId="281"/>
            <ac:spMk id="176" creationId="{072675CB-CAF0-6EF5-A6BB-94788D6B0026}"/>
          </ac:spMkLst>
        </pc:spChg>
        <pc:spChg chg="add del mod modVis">
          <ac:chgData name="Oğuz Öztekin" userId="33c0df0f-d5fe-4bda-8f43-141ad7af67e3" providerId="ADAL" clId="{48B824AD-1B2A-47A8-8D92-6FE6E622A650}" dt="2024-12-16T11:00:48.647" v="32221"/>
          <ac:spMkLst>
            <pc:docMk/>
            <pc:sldMk cId="515243903" sldId="281"/>
            <ac:spMk id="176" creationId="{EFA8A279-603C-7DDE-AF7D-93224027A120}"/>
          </ac:spMkLst>
        </pc:spChg>
        <pc:spChg chg="add del mod modVis">
          <ac:chgData name="Oğuz Öztekin" userId="33c0df0f-d5fe-4bda-8f43-141ad7af67e3" providerId="ADAL" clId="{48B824AD-1B2A-47A8-8D92-6FE6E622A650}" dt="2024-12-16T11:01:08.038" v="32256"/>
          <ac:spMkLst>
            <pc:docMk/>
            <pc:sldMk cId="515243903" sldId="281"/>
            <ac:spMk id="178" creationId="{F32B295F-7AC4-EF7B-763B-7719855AC9F7}"/>
          </ac:spMkLst>
        </pc:spChg>
        <pc:spChg chg="add del mod modVis">
          <ac:chgData name="Oğuz Öztekin" userId="33c0df0f-d5fe-4bda-8f43-141ad7af67e3" providerId="ADAL" clId="{48B824AD-1B2A-47A8-8D92-6FE6E622A650}" dt="2024-12-16T11:01:09.112" v="32281"/>
          <ac:spMkLst>
            <pc:docMk/>
            <pc:sldMk cId="515243903" sldId="281"/>
            <ac:spMk id="179" creationId="{A9BC3010-4417-1E60-9180-1374934C8E7E}"/>
          </ac:spMkLst>
        </pc:spChg>
        <pc:spChg chg="add del mod modVis">
          <ac:chgData name="Oğuz Öztekin" userId="33c0df0f-d5fe-4bda-8f43-141ad7af67e3" providerId="ADAL" clId="{48B824AD-1B2A-47A8-8D92-6FE6E622A650}" dt="2024-12-16T16:16:02.797" v="92638"/>
          <ac:spMkLst>
            <pc:docMk/>
            <pc:sldMk cId="515243903" sldId="281"/>
            <ac:spMk id="179" creationId="{D4EF9E13-3FFD-6B81-8FA0-A4BF9519BD8E}"/>
          </ac:spMkLst>
        </pc:spChg>
        <pc:spChg chg="add del mod modVis">
          <ac:chgData name="Oğuz Öztekin" userId="33c0df0f-d5fe-4bda-8f43-141ad7af67e3" providerId="ADAL" clId="{48B824AD-1B2A-47A8-8D92-6FE6E622A650}" dt="2024-12-16T11:01:12.097" v="32317"/>
          <ac:spMkLst>
            <pc:docMk/>
            <pc:sldMk cId="515243903" sldId="281"/>
            <ac:spMk id="180" creationId="{ED42E267-2C8D-50AB-80E3-B961A4B70C31}"/>
          </ac:spMkLst>
        </pc:spChg>
        <pc:spChg chg="add del mod modVis">
          <ac:chgData name="Oğuz Öztekin" userId="33c0df0f-d5fe-4bda-8f43-141ad7af67e3" providerId="ADAL" clId="{48B824AD-1B2A-47A8-8D92-6FE6E622A650}" dt="2024-12-16T11:01:15.307" v="32359" actId="962"/>
          <ac:spMkLst>
            <pc:docMk/>
            <pc:sldMk cId="515243903" sldId="281"/>
            <ac:spMk id="181" creationId="{4DD3B57D-0F46-6185-77C6-44FED375259C}"/>
          </ac:spMkLst>
        </pc:spChg>
        <pc:spChg chg="add del mod modVis">
          <ac:chgData name="Oğuz Öztekin" userId="33c0df0f-d5fe-4bda-8f43-141ad7af67e3" providerId="ADAL" clId="{48B824AD-1B2A-47A8-8D92-6FE6E622A650}" dt="2024-12-16T16:16:10.434" v="92748"/>
          <ac:spMkLst>
            <pc:docMk/>
            <pc:sldMk cId="515243903" sldId="281"/>
            <ac:spMk id="181" creationId="{848EF46F-4F56-CDF9-F24C-26A2E69A05B8}"/>
          </ac:spMkLst>
        </pc:spChg>
        <pc:spChg chg="add del mod modVis">
          <ac:chgData name="Oğuz Öztekin" userId="33c0df0f-d5fe-4bda-8f43-141ad7af67e3" providerId="ADAL" clId="{48B824AD-1B2A-47A8-8D92-6FE6E622A650}" dt="2024-12-16T11:01:17.232" v="32388"/>
          <ac:spMkLst>
            <pc:docMk/>
            <pc:sldMk cId="515243903" sldId="281"/>
            <ac:spMk id="182" creationId="{4D4ED8D5-5206-000B-F792-1293473177BE}"/>
          </ac:spMkLst>
        </pc:spChg>
        <pc:spChg chg="add del mod modVis">
          <ac:chgData name="Oğuz Öztekin" userId="33c0df0f-d5fe-4bda-8f43-141ad7af67e3" providerId="ADAL" clId="{48B824AD-1B2A-47A8-8D92-6FE6E622A650}" dt="2024-12-16T16:16:13.752" v="92865"/>
          <ac:spMkLst>
            <pc:docMk/>
            <pc:sldMk cId="515243903" sldId="281"/>
            <ac:spMk id="183" creationId="{F19A7E0A-62E8-D050-C270-A6002DFB46BC}"/>
          </ac:spMkLst>
        </pc:spChg>
        <pc:spChg chg="add del mod modVis">
          <ac:chgData name="Oğuz Öztekin" userId="33c0df0f-d5fe-4bda-8f43-141ad7af67e3" providerId="ADAL" clId="{48B824AD-1B2A-47A8-8D92-6FE6E622A650}" dt="2024-12-16T16:16:20.595" v="92990"/>
          <ac:spMkLst>
            <pc:docMk/>
            <pc:sldMk cId="515243903" sldId="281"/>
            <ac:spMk id="185" creationId="{3D910654-E5F4-208A-7E78-11D12742C243}"/>
          </ac:spMkLst>
        </pc:spChg>
        <pc:spChg chg="add del mod modVis">
          <ac:chgData name="Oğuz Öztekin" userId="33c0df0f-d5fe-4bda-8f43-141ad7af67e3" providerId="ADAL" clId="{48B824AD-1B2A-47A8-8D92-6FE6E622A650}" dt="2024-12-16T16:16:33.034" v="93124"/>
          <ac:spMkLst>
            <pc:docMk/>
            <pc:sldMk cId="515243903" sldId="281"/>
            <ac:spMk id="187" creationId="{62A60EAD-ABAF-F8C0-362F-BA69D8BC14F4}"/>
          </ac:spMkLst>
        </pc:spChg>
        <pc:spChg chg="add del mod modVis">
          <ac:chgData name="Oğuz Öztekin" userId="33c0df0f-d5fe-4bda-8f43-141ad7af67e3" providerId="ADAL" clId="{48B824AD-1B2A-47A8-8D92-6FE6E622A650}" dt="2024-12-16T16:16:38.222" v="93281"/>
          <ac:spMkLst>
            <pc:docMk/>
            <pc:sldMk cId="515243903" sldId="281"/>
            <ac:spMk id="189" creationId="{8EB45758-3F4C-C7DB-FC06-01DCD58A106A}"/>
          </ac:spMkLst>
        </pc:spChg>
        <pc:spChg chg="add del mod modVis">
          <ac:chgData name="Oğuz Öztekin" userId="33c0df0f-d5fe-4bda-8f43-141ad7af67e3" providerId="ADAL" clId="{48B824AD-1B2A-47A8-8D92-6FE6E622A650}" dt="2024-12-16T16:16:42.733" v="93391"/>
          <ac:spMkLst>
            <pc:docMk/>
            <pc:sldMk cId="515243903" sldId="281"/>
            <ac:spMk id="191" creationId="{B4D59825-E300-F9FB-BE65-903B890576A7}"/>
          </ac:spMkLst>
        </pc:spChg>
        <pc:spChg chg="add del mod modVis">
          <ac:chgData name="Oğuz Öztekin" userId="33c0df0f-d5fe-4bda-8f43-141ad7af67e3" providerId="ADAL" clId="{48B824AD-1B2A-47A8-8D92-6FE6E622A650}" dt="2024-12-16T16:16:54.107" v="93528"/>
          <ac:spMkLst>
            <pc:docMk/>
            <pc:sldMk cId="515243903" sldId="281"/>
            <ac:spMk id="193" creationId="{FC4F681E-DC95-39D6-60EA-0F09B3858DA3}"/>
          </ac:spMkLst>
        </pc:spChg>
        <pc:spChg chg="add del mod modVis">
          <ac:chgData name="Oğuz Öztekin" userId="33c0df0f-d5fe-4bda-8f43-141ad7af67e3" providerId="ADAL" clId="{48B824AD-1B2A-47A8-8D92-6FE6E622A650}" dt="2024-12-16T16:17:04.664" v="93694"/>
          <ac:spMkLst>
            <pc:docMk/>
            <pc:sldMk cId="515243903" sldId="281"/>
            <ac:spMk id="195" creationId="{6CA42ECA-8E1F-1245-1DF8-D42AB49B9C66}"/>
          </ac:spMkLst>
        </pc:spChg>
        <pc:spChg chg="add mod">
          <ac:chgData name="Oğuz Öztekin" userId="33c0df0f-d5fe-4bda-8f43-141ad7af67e3" providerId="ADAL" clId="{48B824AD-1B2A-47A8-8D92-6FE6E622A650}" dt="2024-12-16T16:27:08.852" v="103340"/>
          <ac:spMkLst>
            <pc:docMk/>
            <pc:sldMk cId="515243903" sldId="281"/>
            <ac:spMk id="196" creationId="{44A8513F-8BCC-407C-263A-A5D746493163}"/>
          </ac:spMkLst>
        </pc:spChg>
        <pc:spChg chg="add del mod modVis">
          <ac:chgData name="Oğuz Öztekin" userId="33c0df0f-d5fe-4bda-8f43-141ad7af67e3" providerId="ADAL" clId="{48B824AD-1B2A-47A8-8D92-6FE6E622A650}" dt="2024-12-16T16:17:07.080" v="93812"/>
          <ac:spMkLst>
            <pc:docMk/>
            <pc:sldMk cId="515243903" sldId="281"/>
            <ac:spMk id="198" creationId="{A6BDCB17-5D6D-C619-1F96-6A1939090958}"/>
          </ac:spMkLst>
        </pc:spChg>
        <pc:spChg chg="add del mod modVis">
          <ac:chgData name="Oğuz Öztekin" userId="33c0df0f-d5fe-4bda-8f43-141ad7af67e3" providerId="ADAL" clId="{48B824AD-1B2A-47A8-8D92-6FE6E622A650}" dt="2024-12-16T16:17:11.497" v="93949"/>
          <ac:spMkLst>
            <pc:docMk/>
            <pc:sldMk cId="515243903" sldId="281"/>
            <ac:spMk id="200" creationId="{95D0961C-F7BF-7A3A-CD00-7CFE3419409F}"/>
          </ac:spMkLst>
        </pc:spChg>
        <pc:spChg chg="add del mod modVis">
          <ac:chgData name="Oğuz Öztekin" userId="33c0df0f-d5fe-4bda-8f43-141ad7af67e3" providerId="ADAL" clId="{48B824AD-1B2A-47A8-8D92-6FE6E622A650}" dt="2024-12-16T16:17:13.405" v="94064"/>
          <ac:spMkLst>
            <pc:docMk/>
            <pc:sldMk cId="515243903" sldId="281"/>
            <ac:spMk id="202" creationId="{17397F85-A347-1C4C-9C9B-0EEA46D6CB91}"/>
          </ac:spMkLst>
        </pc:spChg>
        <pc:spChg chg="add del mod modVis">
          <ac:chgData name="Oğuz Öztekin" userId="33c0df0f-d5fe-4bda-8f43-141ad7af67e3" providerId="ADAL" clId="{48B824AD-1B2A-47A8-8D92-6FE6E622A650}" dt="2024-12-16T16:17:18.605" v="94184"/>
          <ac:spMkLst>
            <pc:docMk/>
            <pc:sldMk cId="515243903" sldId="281"/>
            <ac:spMk id="204" creationId="{2ED71254-BC7C-340F-84E6-7C4641FCEF54}"/>
          </ac:spMkLst>
        </pc:spChg>
        <pc:spChg chg="add del mod modVis">
          <ac:chgData name="Oğuz Öztekin" userId="33c0df0f-d5fe-4bda-8f43-141ad7af67e3" providerId="ADAL" clId="{48B824AD-1B2A-47A8-8D92-6FE6E622A650}" dt="2024-12-16T16:17:25.102" v="94303"/>
          <ac:spMkLst>
            <pc:docMk/>
            <pc:sldMk cId="515243903" sldId="281"/>
            <ac:spMk id="206" creationId="{61C266DB-73AB-E2BE-77D9-44F657D76E5C}"/>
          </ac:spMkLst>
        </pc:spChg>
        <pc:spChg chg="add del mod modVis">
          <ac:chgData name="Oğuz Öztekin" userId="33c0df0f-d5fe-4bda-8f43-141ad7af67e3" providerId="ADAL" clId="{48B824AD-1B2A-47A8-8D92-6FE6E622A650}" dt="2024-12-16T16:17:29.578" v="94431"/>
          <ac:spMkLst>
            <pc:docMk/>
            <pc:sldMk cId="515243903" sldId="281"/>
            <ac:spMk id="208" creationId="{1CC63C24-F6DB-CCB7-5ADE-FDACCD052023}"/>
          </ac:spMkLst>
        </pc:spChg>
        <pc:spChg chg="add del mod modVis">
          <ac:chgData name="Oğuz Öztekin" userId="33c0df0f-d5fe-4bda-8f43-141ad7af67e3" providerId="ADAL" clId="{48B824AD-1B2A-47A8-8D92-6FE6E622A650}" dt="2024-12-16T16:17:49.486" v="94546"/>
          <ac:spMkLst>
            <pc:docMk/>
            <pc:sldMk cId="515243903" sldId="281"/>
            <ac:spMk id="210" creationId="{B10A3C67-F800-784E-8EA4-5492BE489A05}"/>
          </ac:spMkLst>
        </pc:spChg>
        <pc:spChg chg="add del mod modVis">
          <ac:chgData name="Oğuz Öztekin" userId="33c0df0f-d5fe-4bda-8f43-141ad7af67e3" providerId="ADAL" clId="{48B824AD-1B2A-47A8-8D92-6FE6E622A650}" dt="2024-12-16T16:17:52.554" v="94670"/>
          <ac:spMkLst>
            <pc:docMk/>
            <pc:sldMk cId="515243903" sldId="281"/>
            <ac:spMk id="212" creationId="{0658CD13-B747-3C1D-2F49-C24E2F01CC9A}"/>
          </ac:spMkLst>
        </pc:spChg>
        <pc:spChg chg="add del mod modVis">
          <ac:chgData name="Oğuz Öztekin" userId="33c0df0f-d5fe-4bda-8f43-141ad7af67e3" providerId="ADAL" clId="{48B824AD-1B2A-47A8-8D92-6FE6E622A650}" dt="2024-12-16T16:17:59.036" v="94785"/>
          <ac:spMkLst>
            <pc:docMk/>
            <pc:sldMk cId="515243903" sldId="281"/>
            <ac:spMk id="214" creationId="{8B89F1D9-B6CC-386C-C06A-182DF197AFB2}"/>
          </ac:spMkLst>
        </pc:spChg>
        <pc:spChg chg="add del mod modVis">
          <ac:chgData name="Oğuz Öztekin" userId="33c0df0f-d5fe-4bda-8f43-141ad7af67e3" providerId="ADAL" clId="{48B824AD-1B2A-47A8-8D92-6FE6E622A650}" dt="2024-12-16T16:18:02.478" v="94906"/>
          <ac:spMkLst>
            <pc:docMk/>
            <pc:sldMk cId="515243903" sldId="281"/>
            <ac:spMk id="216" creationId="{A66EF1E7-1E82-A3A0-C8E5-D1ED31EEB0A1}"/>
          </ac:spMkLst>
        </pc:spChg>
        <pc:spChg chg="add del mod modVis">
          <ac:chgData name="Oğuz Öztekin" userId="33c0df0f-d5fe-4bda-8f43-141ad7af67e3" providerId="ADAL" clId="{48B824AD-1B2A-47A8-8D92-6FE6E622A650}" dt="2024-12-16T16:18:04.150" v="95021"/>
          <ac:spMkLst>
            <pc:docMk/>
            <pc:sldMk cId="515243903" sldId="281"/>
            <ac:spMk id="218" creationId="{63641E1D-760A-7986-9656-30AC969FC2C1}"/>
          </ac:spMkLst>
        </pc:spChg>
        <pc:spChg chg="add del mod modVis">
          <ac:chgData name="Oğuz Öztekin" userId="33c0df0f-d5fe-4bda-8f43-141ad7af67e3" providerId="ADAL" clId="{48B824AD-1B2A-47A8-8D92-6FE6E622A650}" dt="2024-12-16T16:18:17.055" v="95229"/>
          <ac:spMkLst>
            <pc:docMk/>
            <pc:sldMk cId="515243903" sldId="281"/>
            <ac:spMk id="220" creationId="{A2F0D746-B3D8-8C39-88BB-EDBCCDA58E0D}"/>
          </ac:spMkLst>
        </pc:spChg>
        <pc:spChg chg="add del mod modVis">
          <ac:chgData name="Oğuz Öztekin" userId="33c0df0f-d5fe-4bda-8f43-141ad7af67e3" providerId="ADAL" clId="{48B824AD-1B2A-47A8-8D92-6FE6E622A650}" dt="2024-12-16T16:18:19.598" v="95386"/>
          <ac:spMkLst>
            <pc:docMk/>
            <pc:sldMk cId="515243903" sldId="281"/>
            <ac:spMk id="222" creationId="{0BE13D69-F8C7-2E98-7BA9-5C5EAFF078E9}"/>
          </ac:spMkLst>
        </pc:spChg>
        <pc:spChg chg="add del mod modVis">
          <ac:chgData name="Oğuz Öztekin" userId="33c0df0f-d5fe-4bda-8f43-141ad7af67e3" providerId="ADAL" clId="{48B824AD-1B2A-47A8-8D92-6FE6E622A650}" dt="2024-12-16T16:18:22.733" v="95594"/>
          <ac:spMkLst>
            <pc:docMk/>
            <pc:sldMk cId="515243903" sldId="281"/>
            <ac:spMk id="224" creationId="{98592BE5-A0BF-12D3-4737-57599852C19F}"/>
          </ac:spMkLst>
        </pc:spChg>
        <pc:spChg chg="add del mod modVis">
          <ac:chgData name="Oğuz Öztekin" userId="33c0df0f-d5fe-4bda-8f43-141ad7af67e3" providerId="ADAL" clId="{48B824AD-1B2A-47A8-8D92-6FE6E622A650}" dt="2024-12-16T16:18:24.958" v="95751"/>
          <ac:spMkLst>
            <pc:docMk/>
            <pc:sldMk cId="515243903" sldId="281"/>
            <ac:spMk id="226" creationId="{FBF82FB1-7CBF-7663-21E3-23CA16E0C1FF}"/>
          </ac:spMkLst>
        </pc:spChg>
        <pc:spChg chg="add del mod modVis">
          <ac:chgData name="Oğuz Öztekin" userId="33c0df0f-d5fe-4bda-8f43-141ad7af67e3" providerId="ADAL" clId="{48B824AD-1B2A-47A8-8D92-6FE6E622A650}" dt="2024-12-16T16:20:09.309" v="96842"/>
          <ac:spMkLst>
            <pc:docMk/>
            <pc:sldMk cId="515243903" sldId="281"/>
            <ac:spMk id="228" creationId="{321F056D-5892-E7B6-1DCC-1FDB3890A73E}"/>
          </ac:spMkLst>
        </pc:spChg>
        <pc:spChg chg="add del mod modVis">
          <ac:chgData name="Oğuz Öztekin" userId="33c0df0f-d5fe-4bda-8f43-141ad7af67e3" providerId="ADAL" clId="{48B824AD-1B2A-47A8-8D92-6FE6E622A650}" dt="2024-12-16T16:20:11.114" v="97050"/>
          <ac:spMkLst>
            <pc:docMk/>
            <pc:sldMk cId="515243903" sldId="281"/>
            <ac:spMk id="230" creationId="{424456B2-5A26-5A70-82F5-E34560C1BF4E}"/>
          </ac:spMkLst>
        </pc:spChg>
        <pc:spChg chg="add del mod modVis">
          <ac:chgData name="Oğuz Öztekin" userId="33c0df0f-d5fe-4bda-8f43-141ad7af67e3" providerId="ADAL" clId="{48B824AD-1B2A-47A8-8D92-6FE6E622A650}" dt="2024-12-16T16:20:13.674" v="97258"/>
          <ac:spMkLst>
            <pc:docMk/>
            <pc:sldMk cId="515243903" sldId="281"/>
            <ac:spMk id="232" creationId="{827D4701-E7EC-6064-6F77-CF2ABB214598}"/>
          </ac:spMkLst>
        </pc:spChg>
        <pc:spChg chg="add del mod modVis">
          <ac:chgData name="Oğuz Öztekin" userId="33c0df0f-d5fe-4bda-8f43-141ad7af67e3" providerId="ADAL" clId="{48B824AD-1B2A-47A8-8D92-6FE6E622A650}" dt="2024-12-16T16:20:16.497" v="97418"/>
          <ac:spMkLst>
            <pc:docMk/>
            <pc:sldMk cId="515243903" sldId="281"/>
            <ac:spMk id="234" creationId="{D52F3E6F-9A43-B064-115A-4140140D2C0F}"/>
          </ac:spMkLst>
        </pc:spChg>
        <pc:spChg chg="add del mod modVis">
          <ac:chgData name="Oğuz Öztekin" userId="33c0df0f-d5fe-4bda-8f43-141ad7af67e3" providerId="ADAL" clId="{48B824AD-1B2A-47A8-8D92-6FE6E622A650}" dt="2024-12-16T16:20:17.691" v="97578"/>
          <ac:spMkLst>
            <pc:docMk/>
            <pc:sldMk cId="515243903" sldId="281"/>
            <ac:spMk id="236" creationId="{D2FC5649-8149-2C05-D887-00C0A99F6379}"/>
          </ac:spMkLst>
        </pc:spChg>
        <pc:spChg chg="add del mod modVis">
          <ac:chgData name="Oğuz Öztekin" userId="33c0df0f-d5fe-4bda-8f43-141ad7af67e3" providerId="ADAL" clId="{48B824AD-1B2A-47A8-8D92-6FE6E622A650}" dt="2024-12-16T16:20:36.672" v="97769"/>
          <ac:spMkLst>
            <pc:docMk/>
            <pc:sldMk cId="515243903" sldId="281"/>
            <ac:spMk id="238" creationId="{6D4F2816-6BEF-24BD-A9C3-F9FCC6AB2A33}"/>
          </ac:spMkLst>
        </pc:spChg>
        <pc:spChg chg="add del mod modVis">
          <ac:chgData name="Oğuz Öztekin" userId="33c0df0f-d5fe-4bda-8f43-141ad7af67e3" providerId="ADAL" clId="{48B824AD-1B2A-47A8-8D92-6FE6E622A650}" dt="2024-12-16T16:22:51.362" v="100054"/>
          <ac:spMkLst>
            <pc:docMk/>
            <pc:sldMk cId="515243903" sldId="281"/>
            <ac:spMk id="240" creationId="{4D7E2354-0347-9635-12C0-86B15F079E1F}"/>
          </ac:spMkLst>
        </pc:spChg>
        <pc:spChg chg="add del mod modVis">
          <ac:chgData name="Oğuz Öztekin" userId="33c0df0f-d5fe-4bda-8f43-141ad7af67e3" providerId="ADAL" clId="{48B824AD-1B2A-47A8-8D92-6FE6E622A650}" dt="2024-12-16T16:22:58.209" v="100245"/>
          <ac:spMkLst>
            <pc:docMk/>
            <pc:sldMk cId="515243903" sldId="281"/>
            <ac:spMk id="242" creationId="{AA2B90D5-0441-8020-C3B6-832B7BB9EC45}"/>
          </ac:spMkLst>
        </pc:spChg>
        <pc:spChg chg="add del mod modVis">
          <ac:chgData name="Oğuz Öztekin" userId="33c0df0f-d5fe-4bda-8f43-141ad7af67e3" providerId="ADAL" clId="{48B824AD-1B2A-47A8-8D92-6FE6E622A650}" dt="2024-12-16T16:22:59.705" v="100436"/>
          <ac:spMkLst>
            <pc:docMk/>
            <pc:sldMk cId="515243903" sldId="281"/>
            <ac:spMk id="244" creationId="{3CFC2219-F3FB-44D6-38CC-5B810E208899}"/>
          </ac:spMkLst>
        </pc:spChg>
        <pc:spChg chg="add del mod modVis">
          <ac:chgData name="Oğuz Öztekin" userId="33c0df0f-d5fe-4bda-8f43-141ad7af67e3" providerId="ADAL" clId="{48B824AD-1B2A-47A8-8D92-6FE6E622A650}" dt="2024-12-16T16:27:08.860" v="103370"/>
          <ac:spMkLst>
            <pc:docMk/>
            <pc:sldMk cId="515243903" sldId="281"/>
            <ac:spMk id="246" creationId="{99EEB56A-2DC2-B9A8-338F-CD680B659E69}"/>
          </ac:spMkLst>
        </pc:spChg>
        <pc:graphicFrameChg chg="mod">
          <ac:chgData name="Oğuz Öztekin" userId="33c0df0f-d5fe-4bda-8f43-141ad7af67e3" providerId="ADAL" clId="{48B824AD-1B2A-47A8-8D92-6FE6E622A650}" dt="2024-12-16T16:27:08.861" v="103372"/>
          <ac:graphicFrameMkLst>
            <pc:docMk/>
            <pc:sldMk cId="515243903" sldId="281"/>
            <ac:graphicFrameMk id="3" creationId="{CA0D5A41-EF8F-6BFD-C51C-F00BED6543D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58.927" v="27458"/>
          <ac:graphicFrameMkLst>
            <pc:docMk/>
            <pc:sldMk cId="515243903" sldId="281"/>
            <ac:graphicFrameMk id="5" creationId="{EC266201-B2D2-CC2E-ECB5-37F871BFF5CB}"/>
          </ac:graphicFrameMkLst>
        </pc:graphicFrameChg>
        <pc:graphicFrameChg chg="add del mod">
          <ac:chgData name="Oğuz Öztekin" userId="33c0df0f-d5fe-4bda-8f43-141ad7af67e3" providerId="ADAL" clId="{48B824AD-1B2A-47A8-8D92-6FE6E622A650}" dt="2024-12-16T10:50:45.774" v="26664"/>
          <ac:graphicFrameMkLst>
            <pc:docMk/>
            <pc:sldMk cId="515243903" sldId="281"/>
            <ac:graphicFrameMk id="6" creationId="{BE251C4D-1972-0F0D-EAB7-F73D05D95C6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16.627" v="88557"/>
          <ac:graphicFrameMkLst>
            <pc:docMk/>
            <pc:sldMk cId="515243903" sldId="281"/>
            <ac:graphicFrameMk id="25" creationId="{1999AA94-BBC6-7B17-11B6-3E16CC5737C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48.631" v="26838"/>
          <ac:graphicFrameMkLst>
            <pc:docMk/>
            <pc:sldMk cId="515243903" sldId="281"/>
            <ac:graphicFrameMk id="25" creationId="{A03F6EA9-BD4E-6E8C-D654-34D76D8C164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51.169" v="26993"/>
          <ac:graphicFrameMkLst>
            <pc:docMk/>
            <pc:sldMk cId="515243903" sldId="281"/>
            <ac:graphicFrameMk id="27" creationId="{86EE45A1-3FD7-7444-6066-5955F42F6E2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17.205" v="88670"/>
          <ac:graphicFrameMkLst>
            <pc:docMk/>
            <pc:sldMk cId="515243903" sldId="281"/>
            <ac:graphicFrameMk id="27" creationId="{E44702EB-9559-104D-EFF4-D4D795A7915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52.149" v="27148"/>
          <ac:graphicFrameMkLst>
            <pc:docMk/>
            <pc:sldMk cId="515243903" sldId="281"/>
            <ac:graphicFrameMk id="29" creationId="{040384B1-2CF9-CE56-FA02-83665A59DD9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20.168" v="88786"/>
          <ac:graphicFrameMkLst>
            <pc:docMk/>
            <pc:sldMk cId="515243903" sldId="281"/>
            <ac:graphicFrameMk id="29" creationId="{EB2C42DB-7FD7-40F5-D6AD-0EAA7F8DEE5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53.489" v="27303"/>
          <ac:graphicFrameMkLst>
            <pc:docMk/>
            <pc:sldMk cId="515243903" sldId="281"/>
            <ac:graphicFrameMk id="31" creationId="{283B80CB-C81B-EC55-636E-CEB7C4D8EFF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44.468" v="89664"/>
          <ac:graphicFrameMkLst>
            <pc:docMk/>
            <pc:sldMk cId="515243903" sldId="281"/>
            <ac:graphicFrameMk id="31" creationId="{B057DEB5-95F1-D403-6987-2210188E84E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03.559" v="27662"/>
          <ac:graphicFrameMkLst>
            <pc:docMk/>
            <pc:sldMk cId="515243903" sldId="281"/>
            <ac:graphicFrameMk id="33" creationId="{9E1A06A1-9A7E-1BED-CA8E-69971F52D55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33.800" v="89123"/>
          <ac:graphicFrameMkLst>
            <pc:docMk/>
            <pc:sldMk cId="515243903" sldId="281"/>
            <ac:graphicFrameMk id="34" creationId="{BBE20348-8DCE-EA80-714B-82D3B3D8F12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29.914" v="27974"/>
          <ac:graphicFrameMkLst>
            <pc:docMk/>
            <pc:sldMk cId="515243903" sldId="281"/>
            <ac:graphicFrameMk id="38" creationId="{60C9AE99-9693-8B23-CE1E-FD6A0F887DF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36.857" v="89238"/>
          <ac:graphicFrameMkLst>
            <pc:docMk/>
            <pc:sldMk cId="515243903" sldId="281"/>
            <ac:graphicFrameMk id="39" creationId="{422C5193-2CBE-71CD-76A1-21E8780A44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06.064" v="27803"/>
          <ac:graphicFrameMkLst>
            <pc:docMk/>
            <pc:sldMk cId="515243903" sldId="281"/>
            <ac:graphicFrameMk id="40" creationId="{A0D84756-2B9C-B5B8-B825-8C3BA549D30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37.555" v="89348"/>
          <ac:graphicFrameMkLst>
            <pc:docMk/>
            <pc:sldMk cId="515243903" sldId="281"/>
            <ac:graphicFrameMk id="41" creationId="{9CE7DB06-0762-71F0-F49B-2EF0EB566DA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33.084" v="28129"/>
          <ac:graphicFrameMkLst>
            <pc:docMk/>
            <pc:sldMk cId="515243903" sldId="281"/>
            <ac:graphicFrameMk id="42" creationId="{B5276099-657B-4603-0809-7BFD36CBA1F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42.139" v="89504"/>
          <ac:graphicFrameMkLst>
            <pc:docMk/>
            <pc:sldMk cId="515243903" sldId="281"/>
            <ac:graphicFrameMk id="43" creationId="{A2EB5633-6DCC-6143-4886-567F2A77BEF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25.218" v="28883"/>
          <ac:graphicFrameMkLst>
            <pc:docMk/>
            <pc:sldMk cId="515243903" sldId="281"/>
            <ac:graphicFrameMk id="44" creationId="{319936BB-07DE-458F-90CA-8A8E0E2EF0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5:42.125" v="91378"/>
          <ac:graphicFrameMkLst>
            <pc:docMk/>
            <pc:sldMk cId="515243903" sldId="281"/>
            <ac:graphicFrameMk id="45" creationId="{A661877D-55EE-EDB5-FA1E-6AC858302E9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36.103" v="28300"/>
          <ac:graphicFrameMkLst>
            <pc:docMk/>
            <pc:sldMk cId="515243903" sldId="281"/>
            <ac:graphicFrameMk id="46" creationId="{A13A7CAC-DF3C-6B41-504D-7E4AE141662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5:38.261" v="91183"/>
          <ac:graphicFrameMkLst>
            <pc:docMk/>
            <pc:sldMk cId="515243903" sldId="281"/>
            <ac:graphicFrameMk id="47" creationId="{C30CCE95-134B-7528-A6EF-CAAAC2E5A8F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49.564" v="28436"/>
          <ac:graphicFrameMkLst>
            <pc:docMk/>
            <pc:sldMk cId="515243903" sldId="281"/>
            <ac:graphicFrameMk id="48" creationId="{46DF2071-58C7-D2A7-0B21-86EF53A77720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14:07.538" v="89878"/>
          <ac:graphicFrameMkLst>
            <pc:docMk/>
            <pc:sldMk cId="515243903" sldId="281"/>
            <ac:graphicFrameMk id="49" creationId="{F8786C7F-28D0-DD2C-9DDC-4AB790C53BF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02.121" v="28624"/>
          <ac:graphicFrameMkLst>
            <pc:docMk/>
            <pc:sldMk cId="515243903" sldId="281"/>
            <ac:graphicFrameMk id="50" creationId="{FEDEF0E3-1CA4-A85E-C16A-DDB7D6BA392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04.700" v="28745"/>
          <ac:graphicFrameMkLst>
            <pc:docMk/>
            <pc:sldMk cId="515243903" sldId="281"/>
            <ac:graphicFrameMk id="55" creationId="{1CAC472B-036B-433A-5FE8-08F2DC5CF5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43.196" v="29500"/>
          <ac:graphicFrameMkLst>
            <pc:docMk/>
            <pc:sldMk cId="515243903" sldId="281"/>
            <ac:graphicFrameMk id="57" creationId="{A52E3CEA-CB57-D3FB-03C1-6574F66CC20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29.817" v="29065"/>
          <ac:graphicFrameMkLst>
            <pc:docMk/>
            <pc:sldMk cId="515243903" sldId="281"/>
            <ac:graphicFrameMk id="59" creationId="{A7FF3993-5308-D63F-BC45-A01FAB9701F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33.882" v="29186"/>
          <ac:graphicFrameMkLst>
            <pc:docMk/>
            <pc:sldMk cId="515243903" sldId="281"/>
            <ac:graphicFrameMk id="61" creationId="{58CD1D89-1985-A9D5-7F47-C5771F189FE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38.622" v="29335"/>
          <ac:graphicFrameMkLst>
            <pc:docMk/>
            <pc:sldMk cId="515243903" sldId="281"/>
            <ac:graphicFrameMk id="63" creationId="{C0937C3C-07F5-AF9F-09F1-D71F81D4BB6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3:48.496" v="30669"/>
          <ac:graphicFrameMkLst>
            <pc:docMk/>
            <pc:sldMk cId="515243903" sldId="281"/>
            <ac:graphicFrameMk id="65" creationId="{3F418AA2-B586-D1FF-DD9A-19887A79C9C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45.678" v="29876"/>
          <ac:graphicFrameMkLst>
            <pc:docMk/>
            <pc:sldMk cId="515243903" sldId="281"/>
            <ac:graphicFrameMk id="67" creationId="{4CAFA7F5-5848-375B-E5FD-6A0D67D3ECC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48.587" v="30010"/>
          <ac:graphicFrameMkLst>
            <pc:docMk/>
            <pc:sldMk cId="515243903" sldId="281"/>
            <ac:graphicFrameMk id="79" creationId="{52886572-FFD3-071A-CF61-1699E9AD92B0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15:31.928" v="91044"/>
          <ac:graphicFrameMkLst>
            <pc:docMk/>
            <pc:sldMk cId="515243903" sldId="281"/>
            <ac:graphicFrameMk id="80" creationId="{0CA04C8D-4103-3565-8359-CCDD6C10B24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3:44.717" v="30489"/>
          <ac:graphicFrameMkLst>
            <pc:docMk/>
            <pc:sldMk cId="515243903" sldId="281"/>
            <ac:graphicFrameMk id="81" creationId="{9A15601D-B91C-A219-06B3-7AF815B91A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6:38.191" v="93221"/>
          <ac:graphicFrameMkLst>
            <pc:docMk/>
            <pc:sldMk cId="515243903" sldId="281"/>
            <ac:graphicFrameMk id="82" creationId="{AD3335E8-786E-3FA8-D23C-A2D95FBD58D1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0:53:12.991" v="30370"/>
          <ac:graphicFrameMkLst>
            <pc:docMk/>
            <pc:sldMk cId="515243903" sldId="281"/>
            <ac:graphicFrameMk id="83" creationId="{7ED3ECC5-15B4-D987-A638-D05938ED47E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5:43.350" v="91716"/>
          <ac:graphicFrameMkLst>
            <pc:docMk/>
            <pc:sldMk cId="515243903" sldId="281"/>
            <ac:graphicFrameMk id="84" creationId="{DAFEA2D0-D681-FC08-7090-B7FD61DB01A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37.492" v="31769"/>
          <ac:graphicFrameMkLst>
            <pc:docMk/>
            <pc:sldMk cId="515243903" sldId="281"/>
            <ac:graphicFrameMk id="85" creationId="{2C3A4D60-112C-43FD-6C82-E8BAFC1461F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05.090" v="31342"/>
          <ac:graphicFrameMkLst>
            <pc:docMk/>
            <pc:sldMk cId="515243903" sldId="281"/>
            <ac:graphicFrameMk id="94" creationId="{2F7C06EE-B030-FCCE-E2E6-FA30E3188E6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5:44.633" v="91836"/>
          <ac:graphicFrameMkLst>
            <pc:docMk/>
            <pc:sldMk cId="515243903" sldId="281"/>
            <ac:graphicFrameMk id="162" creationId="{43D0E799-8BCF-D6F7-5087-1F821BC4A0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5:45.532" v="91986"/>
          <ac:graphicFrameMkLst>
            <pc:docMk/>
            <pc:sldMk cId="515243903" sldId="281"/>
            <ac:graphicFrameMk id="165" creationId="{45EA4465-91A2-5F6A-242B-45788E7AA0E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11.796" v="31516"/>
          <ac:graphicFrameMkLst>
            <pc:docMk/>
            <pc:sldMk cId="515243903" sldId="281"/>
            <ac:graphicFrameMk id="165" creationId="{8BF45163-585D-0863-C27C-DA396AC268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15.197" v="31635"/>
          <ac:graphicFrameMkLst>
            <pc:docMk/>
            <pc:sldMk cId="515243903" sldId="281"/>
            <ac:graphicFrameMk id="167" creationId="{D1E9BF20-E464-64F2-C88A-A36DBBEC228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5:49.305" v="92107"/>
          <ac:graphicFrameMkLst>
            <pc:docMk/>
            <pc:sldMk cId="515243903" sldId="281"/>
            <ac:graphicFrameMk id="168" creationId="{AF63F768-A447-F99C-4923-79AD37C116B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13.160" v="88431"/>
          <ac:graphicFrameMkLst>
            <pc:docMk/>
            <pc:sldMk cId="515243903" sldId="281"/>
            <ac:graphicFrameMk id="169" creationId="{4A46F295-4B9B-49F8-1A97-37A31640E62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41.926" v="31945"/>
          <ac:graphicFrameMkLst>
            <pc:docMk/>
            <pc:sldMk cId="515243903" sldId="281"/>
            <ac:graphicFrameMk id="171" creationId="{4B32BEDE-91B6-E29D-4A99-9945EBD93AB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5:51.503" v="92228"/>
          <ac:graphicFrameMkLst>
            <pc:docMk/>
            <pc:sldMk cId="515243903" sldId="281"/>
            <ac:graphicFrameMk id="171" creationId="{E0DD12BF-37E1-336D-D7C3-992C9678C4E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44.235" v="32058"/>
          <ac:graphicFrameMkLst>
            <pc:docMk/>
            <pc:sldMk cId="515243903" sldId="281"/>
            <ac:graphicFrameMk id="173" creationId="{A7B6C994-1D4C-6638-C8B3-8506F643A3E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5:55.277" v="92349"/>
          <ac:graphicFrameMkLst>
            <pc:docMk/>
            <pc:sldMk cId="515243903" sldId="281"/>
            <ac:graphicFrameMk id="173" creationId="{FC399BC1-0DA9-624E-00CC-461E59A4E30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48.616" v="32162"/>
          <ac:graphicFrameMkLst>
            <pc:docMk/>
            <pc:sldMk cId="515243903" sldId="281"/>
            <ac:graphicFrameMk id="175" creationId="{03D5ACCF-C66F-6058-0CE0-28FBDD2E681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6:01.734" v="92465"/>
          <ac:graphicFrameMkLst>
            <pc:docMk/>
            <pc:sldMk cId="515243903" sldId="281"/>
            <ac:graphicFrameMk id="175" creationId="{111F2B19-DD6F-A025-72DA-7CD23D5DC68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3:30.955" v="89001"/>
          <ac:graphicFrameMkLst>
            <pc:docMk/>
            <pc:sldMk cId="515243903" sldId="281"/>
            <ac:graphicFrameMk id="177" creationId="{5DAD0565-F7CF-FA47-D6F3-818DD04B0AB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6:02.765" v="92578"/>
          <ac:graphicFrameMkLst>
            <pc:docMk/>
            <pc:sldMk cId="515243903" sldId="281"/>
            <ac:graphicFrameMk id="178" creationId="{B319906C-8905-B77F-CAD8-FE498469097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6:10.402" v="92688"/>
          <ac:graphicFrameMkLst>
            <pc:docMk/>
            <pc:sldMk cId="515243903" sldId="281"/>
            <ac:graphicFrameMk id="180" creationId="{B20A9883-A53C-C2E4-B69B-7CC5D35CE1E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6:13.722" v="92805"/>
          <ac:graphicFrameMkLst>
            <pc:docMk/>
            <pc:sldMk cId="515243903" sldId="281"/>
            <ac:graphicFrameMk id="182" creationId="{22166518-AA61-CCFB-FC4C-EBA26784F05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6:20.565" v="92930"/>
          <ac:graphicFrameMkLst>
            <pc:docMk/>
            <pc:sldMk cId="515243903" sldId="281"/>
            <ac:graphicFrameMk id="184" creationId="{633FA2B4-F805-F765-353C-3AA53F3E6D1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6:33.004" v="93064"/>
          <ac:graphicFrameMkLst>
            <pc:docMk/>
            <pc:sldMk cId="515243903" sldId="281"/>
            <ac:graphicFrameMk id="186" creationId="{58B40300-2362-E7B4-5253-190888DD422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6:54.076" v="93468"/>
          <ac:graphicFrameMkLst>
            <pc:docMk/>
            <pc:sldMk cId="515243903" sldId="281"/>
            <ac:graphicFrameMk id="188" creationId="{B0B2F841-7042-C969-E9E4-7E5636CBAC2E}"/>
          </ac:graphicFrameMkLst>
        </pc:graphicFrameChg>
        <pc:graphicFrameChg chg="del">
          <ac:chgData name="Oğuz Öztekin" userId="33c0df0f-d5fe-4bda-8f43-141ad7af67e3" providerId="ADAL" clId="{48B824AD-1B2A-47A8-8D92-6FE6E622A650}" dt="2024-12-16T10:50:39.676" v="26258"/>
          <ac:graphicFrameMkLst>
            <pc:docMk/>
            <pc:sldMk cId="515243903" sldId="281"/>
            <ac:graphicFrameMk id="188" creationId="{B18192F9-3842-CF87-70F4-24612B5E578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6:42.704" v="93331"/>
          <ac:graphicFrameMkLst>
            <pc:docMk/>
            <pc:sldMk cId="515243903" sldId="281"/>
            <ac:graphicFrameMk id="190" creationId="{215A0128-BE78-EA96-8E51-CB06A8BD375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04.626" v="93623"/>
          <ac:graphicFrameMkLst>
            <pc:docMk/>
            <pc:sldMk cId="515243903" sldId="281"/>
            <ac:graphicFrameMk id="192" creationId="{B5583EB4-F951-2366-19AE-EB791546E68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29.547" v="94370"/>
          <ac:graphicFrameMkLst>
            <pc:docMk/>
            <pc:sldMk cId="515243903" sldId="281"/>
            <ac:graphicFrameMk id="194" creationId="{BE3A4741-4E87-E1DC-DC30-5F35B7295B2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07.049" v="93751"/>
          <ac:graphicFrameMkLst>
            <pc:docMk/>
            <pc:sldMk cId="515243903" sldId="281"/>
            <ac:graphicFrameMk id="197" creationId="{8CE5AF7F-CDCD-FC0B-A30E-56DECBB6EC1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11.460" v="93877"/>
          <ac:graphicFrameMkLst>
            <pc:docMk/>
            <pc:sldMk cId="515243903" sldId="281"/>
            <ac:graphicFrameMk id="199" creationId="{205D093C-D828-C916-3CA1-E630845BBF2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13.374" v="94003"/>
          <ac:graphicFrameMkLst>
            <pc:docMk/>
            <pc:sldMk cId="515243903" sldId="281"/>
            <ac:graphicFrameMk id="201" creationId="{7BCD7ACD-8107-5D92-3FFD-755FB58C61A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18.574" v="94123"/>
          <ac:graphicFrameMkLst>
            <pc:docMk/>
            <pc:sldMk cId="515243903" sldId="281"/>
            <ac:graphicFrameMk id="203" creationId="{A30A2534-7267-6C78-FEAD-70B0E7B79BA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25.071" v="94242"/>
          <ac:graphicFrameMkLst>
            <pc:docMk/>
            <pc:sldMk cId="515243903" sldId="281"/>
            <ac:graphicFrameMk id="205" creationId="{A170FA93-9F4E-E4E3-9DE8-372E97E3A55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49.454" v="94485"/>
          <ac:graphicFrameMkLst>
            <pc:docMk/>
            <pc:sldMk cId="515243903" sldId="281"/>
            <ac:graphicFrameMk id="207" creationId="{57ADD270-60E1-2AFA-76D8-1174ED0B33A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8:22.702" v="95533"/>
          <ac:graphicFrameMkLst>
            <pc:docMk/>
            <pc:sldMk cId="515243903" sldId="281"/>
            <ac:graphicFrameMk id="209" creationId="{8529F0FF-9173-F462-2CBE-6A95896AED6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52.523" v="94609"/>
          <ac:graphicFrameMkLst>
            <pc:docMk/>
            <pc:sldMk cId="515243903" sldId="281"/>
            <ac:graphicFrameMk id="211" creationId="{F8B1C002-9DCE-1F35-3C2B-F0396F64E81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7:59.005" v="94724"/>
          <ac:graphicFrameMkLst>
            <pc:docMk/>
            <pc:sldMk cId="515243903" sldId="281"/>
            <ac:graphicFrameMk id="213" creationId="{1A9E1669-4F1C-CED7-9C00-3A4265A539F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8:02.447" v="94845"/>
          <ac:graphicFrameMkLst>
            <pc:docMk/>
            <pc:sldMk cId="515243903" sldId="281"/>
            <ac:graphicFrameMk id="215" creationId="{2C475784-7EBD-350D-32CD-A34B77A2C2A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8:04.119" v="94960"/>
          <ac:graphicFrameMkLst>
            <pc:docMk/>
            <pc:sldMk cId="515243903" sldId="281"/>
            <ac:graphicFrameMk id="217" creationId="{01F4FEE5-7818-E7A5-0819-0BF7B8454C8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8:17.024" v="95168"/>
          <ac:graphicFrameMkLst>
            <pc:docMk/>
            <pc:sldMk cId="515243903" sldId="281"/>
            <ac:graphicFrameMk id="219" creationId="{5A545A12-70B4-7CF2-693F-9EBA1B4ADCC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8:19.567" v="95325"/>
          <ac:graphicFrameMkLst>
            <pc:docMk/>
            <pc:sldMk cId="515243903" sldId="281"/>
            <ac:graphicFrameMk id="221" creationId="{12113109-6401-0A70-C67D-A282FAADE63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0:09.277" v="96781"/>
          <ac:graphicFrameMkLst>
            <pc:docMk/>
            <pc:sldMk cId="515243903" sldId="281"/>
            <ac:graphicFrameMk id="223" creationId="{19028726-668C-863E-0AC8-629E9EC6A73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18:24.928" v="95690"/>
          <ac:graphicFrameMkLst>
            <pc:docMk/>
            <pc:sldMk cId="515243903" sldId="281"/>
            <ac:graphicFrameMk id="225" creationId="{750AF980-A2D8-53CF-B7DE-803A796E14D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0:13.643" v="97197"/>
          <ac:graphicFrameMkLst>
            <pc:docMk/>
            <pc:sldMk cId="515243903" sldId="281"/>
            <ac:graphicFrameMk id="227" creationId="{340B015A-12C4-9AB8-2289-BEA1D320D75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0:11.083" v="96989"/>
          <ac:graphicFrameMkLst>
            <pc:docMk/>
            <pc:sldMk cId="515243903" sldId="281"/>
            <ac:graphicFrameMk id="229" creationId="{584E5622-F218-173F-D183-8C6FF863E7E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0:17.651" v="97517"/>
          <ac:graphicFrameMkLst>
            <pc:docMk/>
            <pc:sldMk cId="515243903" sldId="281"/>
            <ac:graphicFrameMk id="231" creationId="{8371A53A-8D12-BC60-1419-E5D9D75185C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0:16.457" v="97357"/>
          <ac:graphicFrameMkLst>
            <pc:docMk/>
            <pc:sldMk cId="515243903" sldId="281"/>
            <ac:graphicFrameMk id="233" creationId="{769A9A05-D28E-BB0F-BA76-A5856A38276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0:36.634" v="97697"/>
          <ac:graphicFrameMkLst>
            <pc:docMk/>
            <pc:sldMk cId="515243903" sldId="281"/>
            <ac:graphicFrameMk id="235" creationId="{577B4F90-087B-A46A-BE22-F2AF0094E04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58.171" v="100173"/>
          <ac:graphicFrameMkLst>
            <pc:docMk/>
            <pc:sldMk cId="515243903" sldId="281"/>
            <ac:graphicFrameMk id="237" creationId="{1B0244AB-0E9E-A3D8-92DF-5B7BE34B929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51.326" v="99982"/>
          <ac:graphicFrameMkLst>
            <pc:docMk/>
            <pc:sldMk cId="515243903" sldId="281"/>
            <ac:graphicFrameMk id="239" creationId="{018BFA82-129B-711A-EB50-012689A27694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27:08.854" v="103344"/>
          <ac:graphicFrameMkLst>
            <pc:docMk/>
            <pc:sldMk cId="515243903" sldId="281"/>
            <ac:graphicFrameMk id="241" creationId="{A8720B32-5771-494F-8C1F-D767FB1A545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59.668" v="100364"/>
          <ac:graphicFrameMkLst>
            <pc:docMk/>
            <pc:sldMk cId="515243903" sldId="281"/>
            <ac:graphicFrameMk id="243" creationId="{1C6F2616-9193-3C90-3152-73D171D1329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7:08.831" v="103309"/>
          <ac:graphicFrameMkLst>
            <pc:docMk/>
            <pc:sldMk cId="515243903" sldId="281"/>
            <ac:graphicFrameMk id="245" creationId="{216DAC6C-840D-33A1-9895-671446447CE3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27:08.848" v="103318"/>
          <ac:graphicFrameMkLst>
            <pc:docMk/>
            <pc:sldMk cId="515243903" sldId="281"/>
            <ac:graphicFrameMk id="247" creationId="{A2F63C4F-924C-4EA7-71F0-1874425E4D3A}"/>
          </ac:graphicFrameMkLst>
        </pc:graphicFrameChg>
        <pc:cxnChg chg="add mod ord">
          <ac:chgData name="Oğuz Öztekin" userId="33c0df0f-d5fe-4bda-8f43-141ad7af67e3" providerId="ADAL" clId="{48B824AD-1B2A-47A8-8D92-6FE6E622A650}" dt="2024-12-16T16:27:08.854" v="103346"/>
          <ac:cxnSpMkLst>
            <pc:docMk/>
            <pc:sldMk cId="515243903" sldId="281"/>
            <ac:cxnSpMk id="7" creationId="{2BF9F0F0-5E0E-3E90-6C04-8F40E74B5739}"/>
          </ac:cxnSpMkLst>
        </pc:cxnChg>
        <pc:cxnChg chg="add mod ord">
          <ac:chgData name="Oğuz Öztekin" userId="33c0df0f-d5fe-4bda-8f43-141ad7af67e3" providerId="ADAL" clId="{48B824AD-1B2A-47A8-8D92-6FE6E622A650}" dt="2024-12-16T16:27:08.855" v="103348"/>
          <ac:cxnSpMkLst>
            <pc:docMk/>
            <pc:sldMk cId="515243903" sldId="281"/>
            <ac:cxnSpMk id="8" creationId="{2086B08D-D26E-5E0F-CAF9-066802FFF212}"/>
          </ac:cxnSpMkLst>
        </pc:cxnChg>
        <pc:cxnChg chg="add mod ord">
          <ac:chgData name="Oğuz Öztekin" userId="33c0df0f-d5fe-4bda-8f43-141ad7af67e3" providerId="ADAL" clId="{48B824AD-1B2A-47A8-8D92-6FE6E622A650}" dt="2024-12-16T16:27:08.855" v="103350"/>
          <ac:cxnSpMkLst>
            <pc:docMk/>
            <pc:sldMk cId="515243903" sldId="281"/>
            <ac:cxnSpMk id="9" creationId="{D112531E-8694-9309-02AB-DD489E08238D}"/>
          </ac:cxnSpMkLst>
        </pc:cxnChg>
        <pc:cxnChg chg="add mod ord">
          <ac:chgData name="Oğuz Öztekin" userId="33c0df0f-d5fe-4bda-8f43-141ad7af67e3" providerId="ADAL" clId="{48B824AD-1B2A-47A8-8D92-6FE6E622A650}" dt="2024-12-16T16:27:08.856" v="103353"/>
          <ac:cxnSpMkLst>
            <pc:docMk/>
            <pc:sldMk cId="515243903" sldId="281"/>
            <ac:cxnSpMk id="11" creationId="{54D0DF3A-A592-163F-99A6-C4F3F11AB575}"/>
          </ac:cxnSpMkLst>
        </pc:cxnChg>
        <pc:cxnChg chg="add del mod ord">
          <ac:chgData name="Oğuz Öztekin" userId="33c0df0f-d5fe-4bda-8f43-141ad7af67e3" providerId="ADAL" clId="{48B824AD-1B2A-47A8-8D92-6FE6E622A650}" dt="2024-12-16T16:27:08.849" v="103327"/>
          <ac:cxnSpMkLst>
            <pc:docMk/>
            <pc:sldMk cId="515243903" sldId="281"/>
            <ac:cxnSpMk id="53" creationId="{FF13D739-EF78-B566-CDE5-78E461F77BC2}"/>
          </ac:cxnSpMkLst>
        </pc:cxnChg>
        <pc:cxnChg chg="mod ord">
          <ac:chgData name="Oğuz Öztekin" userId="33c0df0f-d5fe-4bda-8f43-141ad7af67e3" providerId="ADAL" clId="{48B824AD-1B2A-47A8-8D92-6FE6E622A650}" dt="2024-12-16T16:27:08.848" v="103320"/>
          <ac:cxnSpMkLst>
            <pc:docMk/>
            <pc:sldMk cId="515243903" sldId="281"/>
            <ac:cxnSpMk id="73" creationId="{C39BE704-5FFB-187F-5910-7F4F654B6F7C}"/>
          </ac:cxnSpMkLst>
        </pc:cxnChg>
        <pc:cxnChg chg="mod ord">
          <ac:chgData name="Oğuz Öztekin" userId="33c0df0f-d5fe-4bda-8f43-141ad7af67e3" providerId="ADAL" clId="{48B824AD-1B2A-47A8-8D92-6FE6E622A650}" dt="2024-12-16T16:27:08.848" v="103322"/>
          <ac:cxnSpMkLst>
            <pc:docMk/>
            <pc:sldMk cId="515243903" sldId="281"/>
            <ac:cxnSpMk id="74" creationId="{50858670-0D3D-06A7-E6EA-75749847BA4A}"/>
          </ac:cxnSpMkLst>
        </pc:cxnChg>
        <pc:cxnChg chg="mod ord">
          <ac:chgData name="Oğuz Öztekin" userId="33c0df0f-d5fe-4bda-8f43-141ad7af67e3" providerId="ADAL" clId="{48B824AD-1B2A-47A8-8D92-6FE6E622A650}" dt="2024-12-16T16:27:08.849" v="103324"/>
          <ac:cxnSpMkLst>
            <pc:docMk/>
            <pc:sldMk cId="515243903" sldId="281"/>
            <ac:cxnSpMk id="75" creationId="{8F65613B-5AF8-3BA6-1A03-D7322B43DC9E}"/>
          </ac:cxnSpMkLst>
        </pc:cxnChg>
        <pc:cxnChg chg="add mod ord">
          <ac:chgData name="Oğuz Öztekin" userId="33c0df0f-d5fe-4bda-8f43-141ad7af67e3" providerId="ADAL" clId="{48B824AD-1B2A-47A8-8D92-6FE6E622A650}" dt="2024-12-16T16:15:31.928" v="91044"/>
          <ac:cxnSpMkLst>
            <pc:docMk/>
            <pc:sldMk cId="515243903" sldId="281"/>
            <ac:cxnSpMk id="77" creationId="{12F9BF84-E5A5-2FA8-568A-7C72F6C8EC1F}"/>
          </ac:cxnSpMkLst>
        </pc:cxnChg>
        <pc:cxnChg chg="add mod ord">
          <ac:chgData name="Oğuz Öztekin" userId="33c0df0f-d5fe-4bda-8f43-141ad7af67e3" providerId="ADAL" clId="{48B824AD-1B2A-47A8-8D92-6FE6E622A650}" dt="2024-12-16T16:15:31.928" v="91044"/>
          <ac:cxnSpMkLst>
            <pc:docMk/>
            <pc:sldMk cId="515243903" sldId="281"/>
            <ac:cxnSpMk id="78" creationId="{E318BAD2-6B82-358C-B1BF-1AE02BFF90F4}"/>
          </ac:cxnSpMkLst>
        </pc:cxnChg>
        <pc:cxnChg chg="add mod ord">
          <ac:chgData name="Oğuz Öztekin" userId="33c0df0f-d5fe-4bda-8f43-141ad7af67e3" providerId="ADAL" clId="{48B824AD-1B2A-47A8-8D92-6FE6E622A650}" dt="2024-12-16T16:15:31.928" v="91044"/>
          <ac:cxnSpMkLst>
            <pc:docMk/>
            <pc:sldMk cId="515243903" sldId="281"/>
            <ac:cxnSpMk id="79" creationId="{FC38623D-74DC-12DF-B7B6-E83F1FA7F4E7}"/>
          </ac:cxnSpMkLst>
        </pc:cxnChg>
      </pc:sldChg>
      <pc:sldChg chg="del">
        <pc:chgData name="Oğuz Öztekin" userId="33c0df0f-d5fe-4bda-8f43-141ad7af67e3" providerId="ADAL" clId="{48B824AD-1B2A-47A8-8D92-6FE6E622A650}" dt="2024-12-16T09:07:20.462" v="4" actId="2696"/>
        <pc:sldMkLst>
          <pc:docMk/>
          <pc:sldMk cId="173792906" sldId="282"/>
        </pc:sldMkLst>
      </pc:sldChg>
      <pc:sldChg chg="delSp modSp add del mod">
        <pc:chgData name="Oğuz Öztekin" userId="33c0df0f-d5fe-4bda-8f43-141ad7af67e3" providerId="ADAL" clId="{48B824AD-1B2A-47A8-8D92-6FE6E622A650}" dt="2024-12-16T10:58:01.894" v="31245" actId="2696"/>
        <pc:sldMkLst>
          <pc:docMk/>
          <pc:sldMk cId="1894719517" sldId="282"/>
        </pc:sldMkLst>
        <pc:spChg chg="mod">
          <ac:chgData name="Oğuz Öztekin" userId="33c0df0f-d5fe-4bda-8f43-141ad7af67e3" providerId="ADAL" clId="{48B824AD-1B2A-47A8-8D92-6FE6E622A650}" dt="2024-12-16T10:50:32.922" v="26039" actId="948"/>
          <ac:spMkLst>
            <pc:docMk/>
            <pc:sldMk cId="1894719517" sldId="282"/>
            <ac:spMk id="2" creationId="{4983EBA6-5555-F575-CE22-723C7B22AC85}"/>
          </ac:spMkLst>
        </pc:spChg>
        <pc:spChg chg="del">
          <ac:chgData name="Oğuz Öztekin" userId="33c0df0f-d5fe-4bda-8f43-141ad7af67e3" providerId="ADAL" clId="{48B824AD-1B2A-47A8-8D92-6FE6E622A650}" dt="2024-12-16T10:50:32.916" v="26034"/>
          <ac:spMkLst>
            <pc:docMk/>
            <pc:sldMk cId="1894719517" sldId="282"/>
            <ac:spMk id="35" creationId="{F6445D6D-E473-0B5A-DDED-20951BA71E4D}"/>
          </ac:spMkLst>
        </pc:spChg>
        <pc:spChg chg="del">
          <ac:chgData name="Oğuz Öztekin" userId="33c0df0f-d5fe-4bda-8f43-141ad7af67e3" providerId="ADAL" clId="{48B824AD-1B2A-47A8-8D92-6FE6E622A650}" dt="2024-12-16T10:50:32.915" v="26031"/>
          <ac:spMkLst>
            <pc:docMk/>
            <pc:sldMk cId="1894719517" sldId="282"/>
            <ac:spMk id="36" creationId="{86257401-F312-4D36-FA01-03BDC8B913BB}"/>
          </ac:spMkLst>
        </pc:spChg>
        <pc:spChg chg="del">
          <ac:chgData name="Oğuz Öztekin" userId="33c0df0f-d5fe-4bda-8f43-141ad7af67e3" providerId="ADAL" clId="{48B824AD-1B2A-47A8-8D92-6FE6E622A650}" dt="2024-12-16T10:50:32.914" v="26028"/>
          <ac:spMkLst>
            <pc:docMk/>
            <pc:sldMk cId="1894719517" sldId="282"/>
            <ac:spMk id="37" creationId="{F819568D-DCAF-B6BE-857A-64D87FF80465}"/>
          </ac:spMkLst>
        </pc:spChg>
        <pc:spChg chg="del">
          <ac:chgData name="Oğuz Öztekin" userId="33c0df0f-d5fe-4bda-8f43-141ad7af67e3" providerId="ADAL" clId="{48B824AD-1B2A-47A8-8D92-6FE6E622A650}" dt="2024-12-16T10:50:32.913" v="26025"/>
          <ac:spMkLst>
            <pc:docMk/>
            <pc:sldMk cId="1894719517" sldId="282"/>
            <ac:spMk id="86" creationId="{5A4DFBAC-33DA-E2EE-688C-EB7D9085FD8C}"/>
          </ac:spMkLst>
        </pc:spChg>
        <pc:spChg chg="del">
          <ac:chgData name="Oğuz Öztekin" userId="33c0df0f-d5fe-4bda-8f43-141ad7af67e3" providerId="ADAL" clId="{48B824AD-1B2A-47A8-8D92-6FE6E622A650}" dt="2024-12-16T10:50:32.912" v="26022"/>
          <ac:spMkLst>
            <pc:docMk/>
            <pc:sldMk cId="1894719517" sldId="282"/>
            <ac:spMk id="87" creationId="{F65A80AE-5E73-EB6D-164C-3F7E977CE21D}"/>
          </ac:spMkLst>
        </pc:spChg>
        <pc:spChg chg="del">
          <ac:chgData name="Oğuz Öztekin" userId="33c0df0f-d5fe-4bda-8f43-141ad7af67e3" providerId="ADAL" clId="{48B824AD-1B2A-47A8-8D92-6FE6E622A650}" dt="2024-12-16T10:50:32.911" v="26019"/>
          <ac:spMkLst>
            <pc:docMk/>
            <pc:sldMk cId="1894719517" sldId="282"/>
            <ac:spMk id="88" creationId="{258BF669-D402-E092-7B44-361773EA19CF}"/>
          </ac:spMkLst>
        </pc:spChg>
        <pc:spChg chg="del">
          <ac:chgData name="Oğuz Öztekin" userId="33c0df0f-d5fe-4bda-8f43-141ad7af67e3" providerId="ADAL" clId="{48B824AD-1B2A-47A8-8D92-6FE6E622A650}" dt="2024-12-16T10:50:32.911" v="26016"/>
          <ac:spMkLst>
            <pc:docMk/>
            <pc:sldMk cId="1894719517" sldId="282"/>
            <ac:spMk id="89" creationId="{DFCBCD87-290B-EEAD-2740-D67E1725DCE5}"/>
          </ac:spMkLst>
        </pc:spChg>
        <pc:spChg chg="del">
          <ac:chgData name="Oğuz Öztekin" userId="33c0df0f-d5fe-4bda-8f43-141ad7af67e3" providerId="ADAL" clId="{48B824AD-1B2A-47A8-8D92-6FE6E622A650}" dt="2024-12-16T10:50:32.909" v="26013"/>
          <ac:spMkLst>
            <pc:docMk/>
            <pc:sldMk cId="1894719517" sldId="282"/>
            <ac:spMk id="90" creationId="{2583BB3A-19F5-84CD-F1DB-6DF57C836AE1}"/>
          </ac:spMkLst>
        </pc:spChg>
        <pc:spChg chg="del">
          <ac:chgData name="Oğuz Öztekin" userId="33c0df0f-d5fe-4bda-8f43-141ad7af67e3" providerId="ADAL" clId="{48B824AD-1B2A-47A8-8D92-6FE6E622A650}" dt="2024-12-16T10:50:32.908" v="26010"/>
          <ac:spMkLst>
            <pc:docMk/>
            <pc:sldMk cId="1894719517" sldId="282"/>
            <ac:spMk id="91" creationId="{3F075C18-40B0-F709-9E67-40D536D9C423}"/>
          </ac:spMkLst>
        </pc:spChg>
        <pc:spChg chg="del">
          <ac:chgData name="Oğuz Öztekin" userId="33c0df0f-d5fe-4bda-8f43-141ad7af67e3" providerId="ADAL" clId="{48B824AD-1B2A-47A8-8D92-6FE6E622A650}" dt="2024-12-16T10:50:32.908" v="26007"/>
          <ac:spMkLst>
            <pc:docMk/>
            <pc:sldMk cId="1894719517" sldId="282"/>
            <ac:spMk id="92" creationId="{54181CCF-FD3A-DCF7-FC37-50E70F859E90}"/>
          </ac:spMkLst>
        </pc:spChg>
        <pc:spChg chg="del">
          <ac:chgData name="Oğuz Öztekin" userId="33c0df0f-d5fe-4bda-8f43-141ad7af67e3" providerId="ADAL" clId="{48B824AD-1B2A-47A8-8D92-6FE6E622A650}" dt="2024-12-16T10:50:32.916" v="26036"/>
          <ac:spMkLst>
            <pc:docMk/>
            <pc:sldMk cId="1894719517" sldId="282"/>
            <ac:spMk id="191" creationId="{B3A2EE3B-EF2C-A323-2D27-E0740554ABA1}"/>
          </ac:spMkLst>
        </pc:spChg>
        <pc:spChg chg="del">
          <ac:chgData name="Oğuz Öztekin" userId="33c0df0f-d5fe-4bda-8f43-141ad7af67e3" providerId="ADAL" clId="{48B824AD-1B2A-47A8-8D92-6FE6E622A650}" dt="2024-12-16T10:50:32.916" v="26035"/>
          <ac:spMkLst>
            <pc:docMk/>
            <pc:sldMk cId="1894719517" sldId="282"/>
            <ac:spMk id="192" creationId="{280618E8-6E9D-AA29-766C-E8AD9134839B}"/>
          </ac:spMkLst>
        </pc:spChg>
        <pc:spChg chg="del">
          <ac:chgData name="Oğuz Öztekin" userId="33c0df0f-d5fe-4bda-8f43-141ad7af67e3" providerId="ADAL" clId="{48B824AD-1B2A-47A8-8D92-6FE6E622A650}" dt="2024-12-16T10:50:32.915" v="26033"/>
          <ac:spMkLst>
            <pc:docMk/>
            <pc:sldMk cId="1894719517" sldId="282"/>
            <ac:spMk id="268" creationId="{1D63501B-BC89-8612-2C62-5EC4191842A8}"/>
          </ac:spMkLst>
        </pc:spChg>
        <pc:spChg chg="del">
          <ac:chgData name="Oğuz Öztekin" userId="33c0df0f-d5fe-4bda-8f43-141ad7af67e3" providerId="ADAL" clId="{48B824AD-1B2A-47A8-8D92-6FE6E622A650}" dt="2024-12-16T10:50:32.915" v="26032"/>
          <ac:spMkLst>
            <pc:docMk/>
            <pc:sldMk cId="1894719517" sldId="282"/>
            <ac:spMk id="269" creationId="{2DADC05F-B5BD-800C-E8F4-4C15DB9488CF}"/>
          </ac:spMkLst>
        </pc:spChg>
        <pc:spChg chg="del">
          <ac:chgData name="Oğuz Öztekin" userId="33c0df0f-d5fe-4bda-8f43-141ad7af67e3" providerId="ADAL" clId="{48B824AD-1B2A-47A8-8D92-6FE6E622A650}" dt="2024-12-16T10:50:32.914" v="26030"/>
          <ac:spMkLst>
            <pc:docMk/>
            <pc:sldMk cId="1894719517" sldId="282"/>
            <ac:spMk id="270" creationId="{9444AE7A-36FD-53EA-BA78-3B3B0BCEB254}"/>
          </ac:spMkLst>
        </pc:spChg>
        <pc:spChg chg="del">
          <ac:chgData name="Oğuz Öztekin" userId="33c0df0f-d5fe-4bda-8f43-141ad7af67e3" providerId="ADAL" clId="{48B824AD-1B2A-47A8-8D92-6FE6E622A650}" dt="2024-12-16T10:50:32.914" v="26029"/>
          <ac:spMkLst>
            <pc:docMk/>
            <pc:sldMk cId="1894719517" sldId="282"/>
            <ac:spMk id="271" creationId="{6982DA73-F961-6409-0C78-EF2544A4C7EB}"/>
          </ac:spMkLst>
        </pc:spChg>
        <pc:spChg chg="del">
          <ac:chgData name="Oğuz Öztekin" userId="33c0df0f-d5fe-4bda-8f43-141ad7af67e3" providerId="ADAL" clId="{48B824AD-1B2A-47A8-8D92-6FE6E622A650}" dt="2024-12-16T10:50:32.914" v="26027"/>
          <ac:spMkLst>
            <pc:docMk/>
            <pc:sldMk cId="1894719517" sldId="282"/>
            <ac:spMk id="272" creationId="{696CB8AD-5D99-BE11-1E49-0EAA189DE70C}"/>
          </ac:spMkLst>
        </pc:spChg>
        <pc:spChg chg="del">
          <ac:chgData name="Oğuz Öztekin" userId="33c0df0f-d5fe-4bda-8f43-141ad7af67e3" providerId="ADAL" clId="{48B824AD-1B2A-47A8-8D92-6FE6E622A650}" dt="2024-12-16T10:50:32.913" v="26026"/>
          <ac:spMkLst>
            <pc:docMk/>
            <pc:sldMk cId="1894719517" sldId="282"/>
            <ac:spMk id="273" creationId="{6D6B9252-AED7-B39D-29E0-D6C146360B4C}"/>
          </ac:spMkLst>
        </pc:spChg>
        <pc:spChg chg="del">
          <ac:chgData name="Oğuz Öztekin" userId="33c0df0f-d5fe-4bda-8f43-141ad7af67e3" providerId="ADAL" clId="{48B824AD-1B2A-47A8-8D92-6FE6E622A650}" dt="2024-12-16T10:50:32.913" v="26024"/>
          <ac:spMkLst>
            <pc:docMk/>
            <pc:sldMk cId="1894719517" sldId="282"/>
            <ac:spMk id="274" creationId="{41CC48C2-6E35-E5E6-D2DC-F8FA659770FC}"/>
          </ac:spMkLst>
        </pc:spChg>
        <pc:spChg chg="del">
          <ac:chgData name="Oğuz Öztekin" userId="33c0df0f-d5fe-4bda-8f43-141ad7af67e3" providerId="ADAL" clId="{48B824AD-1B2A-47A8-8D92-6FE6E622A650}" dt="2024-12-16T10:50:32.912" v="26023"/>
          <ac:spMkLst>
            <pc:docMk/>
            <pc:sldMk cId="1894719517" sldId="282"/>
            <ac:spMk id="275" creationId="{EA10FA6D-FD7B-1400-4327-9E4C5AFE2075}"/>
          </ac:spMkLst>
        </pc:spChg>
        <pc:spChg chg="del">
          <ac:chgData name="Oğuz Öztekin" userId="33c0df0f-d5fe-4bda-8f43-141ad7af67e3" providerId="ADAL" clId="{48B824AD-1B2A-47A8-8D92-6FE6E622A650}" dt="2024-12-16T10:50:32.912" v="26021"/>
          <ac:spMkLst>
            <pc:docMk/>
            <pc:sldMk cId="1894719517" sldId="282"/>
            <ac:spMk id="276" creationId="{5292B094-4F9C-3F63-1FA9-75BF1E7C1F13}"/>
          </ac:spMkLst>
        </pc:spChg>
        <pc:spChg chg="del">
          <ac:chgData name="Oğuz Öztekin" userId="33c0df0f-d5fe-4bda-8f43-141ad7af67e3" providerId="ADAL" clId="{48B824AD-1B2A-47A8-8D92-6FE6E622A650}" dt="2024-12-16T10:50:32.911" v="26020"/>
          <ac:spMkLst>
            <pc:docMk/>
            <pc:sldMk cId="1894719517" sldId="282"/>
            <ac:spMk id="277" creationId="{88A11B16-EC67-2932-204D-EDBF4FC6B860}"/>
          </ac:spMkLst>
        </pc:spChg>
        <pc:spChg chg="del">
          <ac:chgData name="Oğuz Öztekin" userId="33c0df0f-d5fe-4bda-8f43-141ad7af67e3" providerId="ADAL" clId="{48B824AD-1B2A-47A8-8D92-6FE6E622A650}" dt="2024-12-16T10:50:32.911" v="26018"/>
          <ac:spMkLst>
            <pc:docMk/>
            <pc:sldMk cId="1894719517" sldId="282"/>
            <ac:spMk id="278" creationId="{43E6A6AB-F875-4769-1EF3-08CFFFA775A5}"/>
          </ac:spMkLst>
        </pc:spChg>
        <pc:spChg chg="del">
          <ac:chgData name="Oğuz Öztekin" userId="33c0df0f-d5fe-4bda-8f43-141ad7af67e3" providerId="ADAL" clId="{48B824AD-1B2A-47A8-8D92-6FE6E622A650}" dt="2024-12-16T10:50:32.911" v="26017"/>
          <ac:spMkLst>
            <pc:docMk/>
            <pc:sldMk cId="1894719517" sldId="282"/>
            <ac:spMk id="279" creationId="{C8463240-9179-FC30-67E9-27D45534993E}"/>
          </ac:spMkLst>
        </pc:spChg>
        <pc:spChg chg="del">
          <ac:chgData name="Oğuz Öztekin" userId="33c0df0f-d5fe-4bda-8f43-141ad7af67e3" providerId="ADAL" clId="{48B824AD-1B2A-47A8-8D92-6FE6E622A650}" dt="2024-12-16T10:50:32.911" v="26015"/>
          <ac:spMkLst>
            <pc:docMk/>
            <pc:sldMk cId="1894719517" sldId="282"/>
            <ac:spMk id="280" creationId="{DBE01AA2-B528-FAAB-3A1B-60CF615184AD}"/>
          </ac:spMkLst>
        </pc:spChg>
        <pc:spChg chg="del">
          <ac:chgData name="Oğuz Öztekin" userId="33c0df0f-d5fe-4bda-8f43-141ad7af67e3" providerId="ADAL" clId="{48B824AD-1B2A-47A8-8D92-6FE6E622A650}" dt="2024-12-16T10:50:32.910" v="26014"/>
          <ac:spMkLst>
            <pc:docMk/>
            <pc:sldMk cId="1894719517" sldId="282"/>
            <ac:spMk id="281" creationId="{5B4BF8C3-C116-BEAE-1076-C45D69DCBC16}"/>
          </ac:spMkLst>
        </pc:spChg>
        <pc:spChg chg="del">
          <ac:chgData name="Oğuz Öztekin" userId="33c0df0f-d5fe-4bda-8f43-141ad7af67e3" providerId="ADAL" clId="{48B824AD-1B2A-47A8-8D92-6FE6E622A650}" dt="2024-12-16T10:50:32.909" v="26012"/>
          <ac:spMkLst>
            <pc:docMk/>
            <pc:sldMk cId="1894719517" sldId="282"/>
            <ac:spMk id="282" creationId="{E5D088CA-2DE6-C95E-7926-5822B16C1335}"/>
          </ac:spMkLst>
        </pc:spChg>
        <pc:spChg chg="del">
          <ac:chgData name="Oğuz Öztekin" userId="33c0df0f-d5fe-4bda-8f43-141ad7af67e3" providerId="ADAL" clId="{48B824AD-1B2A-47A8-8D92-6FE6E622A650}" dt="2024-12-16T10:50:32.909" v="26011"/>
          <ac:spMkLst>
            <pc:docMk/>
            <pc:sldMk cId="1894719517" sldId="282"/>
            <ac:spMk id="283" creationId="{FF3DA1A3-F5AF-C883-1A08-ADE01AB6029E}"/>
          </ac:spMkLst>
        </pc:spChg>
        <pc:spChg chg="del">
          <ac:chgData name="Oğuz Öztekin" userId="33c0df0f-d5fe-4bda-8f43-141ad7af67e3" providerId="ADAL" clId="{48B824AD-1B2A-47A8-8D92-6FE6E622A650}" dt="2024-12-16T10:50:32.908" v="26009"/>
          <ac:spMkLst>
            <pc:docMk/>
            <pc:sldMk cId="1894719517" sldId="282"/>
            <ac:spMk id="284" creationId="{A52654CF-408A-3C4B-E552-46BCFFECA9BA}"/>
          </ac:spMkLst>
        </pc:spChg>
        <pc:spChg chg="del">
          <ac:chgData name="Oğuz Öztekin" userId="33c0df0f-d5fe-4bda-8f43-141ad7af67e3" providerId="ADAL" clId="{48B824AD-1B2A-47A8-8D92-6FE6E622A650}" dt="2024-12-16T10:50:32.908" v="26008"/>
          <ac:spMkLst>
            <pc:docMk/>
            <pc:sldMk cId="1894719517" sldId="282"/>
            <ac:spMk id="285" creationId="{4B9F8A4A-1CA2-D31D-BC50-970E241A1779}"/>
          </ac:spMkLst>
        </pc:spChg>
        <pc:spChg chg="del">
          <ac:chgData name="Oğuz Öztekin" userId="33c0df0f-d5fe-4bda-8f43-141ad7af67e3" providerId="ADAL" clId="{48B824AD-1B2A-47A8-8D92-6FE6E622A650}" dt="2024-12-16T10:50:32.907" v="26006"/>
          <ac:spMkLst>
            <pc:docMk/>
            <pc:sldMk cId="1894719517" sldId="282"/>
            <ac:spMk id="286" creationId="{B058149D-CC76-C9AA-D486-CFBD523E6837}"/>
          </ac:spMkLst>
        </pc:spChg>
        <pc:spChg chg="del">
          <ac:chgData name="Oğuz Öztekin" userId="33c0df0f-d5fe-4bda-8f43-141ad7af67e3" providerId="ADAL" clId="{48B824AD-1B2A-47A8-8D92-6FE6E622A650}" dt="2024-12-16T10:50:32.907" v="26005"/>
          <ac:spMkLst>
            <pc:docMk/>
            <pc:sldMk cId="1894719517" sldId="282"/>
            <ac:spMk id="287" creationId="{F60CEE87-FCD9-DBA7-247E-D4111CC748B3}"/>
          </ac:spMkLst>
        </pc:spChg>
        <pc:graphicFrameChg chg="mod">
          <ac:chgData name="Oğuz Öztekin" userId="33c0df0f-d5fe-4bda-8f43-141ad7af67e3" providerId="ADAL" clId="{48B824AD-1B2A-47A8-8D92-6FE6E622A650}" dt="2024-12-16T10:50:32.924" v="26041"/>
          <ac:graphicFrameMkLst>
            <pc:docMk/>
            <pc:sldMk cId="1894719517" sldId="282"/>
            <ac:graphicFrameMk id="3" creationId="{5FF23ABA-80A6-ECC2-345C-F04B1413539F}"/>
          </ac:graphicFrameMkLst>
        </pc:graphicFrameChg>
        <pc:graphicFrameChg chg="del">
          <ac:chgData name="Oğuz Öztekin" userId="33c0df0f-d5fe-4bda-8f43-141ad7af67e3" providerId="ADAL" clId="{48B824AD-1B2A-47A8-8D92-6FE6E622A650}" dt="2024-12-16T10:50:32.918" v="26038"/>
          <ac:graphicFrameMkLst>
            <pc:docMk/>
            <pc:sldMk cId="1894719517" sldId="282"/>
            <ac:graphicFrameMk id="366" creationId="{11C9C4A2-6054-6361-5F70-363D62255305}"/>
          </ac:graphicFrameMkLst>
        </pc:graphicFrameChg>
      </pc:sldChg>
      <pc:sldChg chg="addSp delSp modSp add mod">
        <pc:chgData name="Oğuz Öztekin" userId="33c0df0f-d5fe-4bda-8f43-141ad7af67e3" providerId="ADAL" clId="{48B824AD-1B2A-47A8-8D92-6FE6E622A650}" dt="2024-12-16T16:29:51.702" v="107195"/>
        <pc:sldMkLst>
          <pc:docMk/>
          <pc:sldMk cId="4074781327" sldId="282"/>
        </pc:sldMkLst>
        <pc:spChg chg="mod ord">
          <ac:chgData name="Oğuz Öztekin" userId="33c0df0f-d5fe-4bda-8f43-141ad7af67e3" providerId="ADAL" clId="{48B824AD-1B2A-47A8-8D92-6FE6E622A650}" dt="2024-12-16T16:29:51.683" v="107127"/>
          <ac:spMkLst>
            <pc:docMk/>
            <pc:sldMk cId="4074781327" sldId="282"/>
            <ac:spMk id="2" creationId="{C494C7DF-21F7-91E5-36CE-1826B4741B3F}"/>
          </ac:spMkLst>
        </pc:spChg>
        <pc:spChg chg="add del mod modVis">
          <ac:chgData name="Oğuz Öztekin" userId="33c0df0f-d5fe-4bda-8f43-141ad7af67e3" providerId="ADAL" clId="{48B824AD-1B2A-47A8-8D92-6FE6E622A650}" dt="2024-12-16T11:02:27.933" v="32585"/>
          <ac:spMkLst>
            <pc:docMk/>
            <pc:sldMk cId="4074781327" sldId="282"/>
            <ac:spMk id="4" creationId="{30CEF703-10D7-1FAC-1677-29CCF2BA9CAE}"/>
          </ac:spMkLst>
        </pc:spChg>
        <pc:spChg chg="add del mod modVis">
          <ac:chgData name="Oğuz Öztekin" userId="33c0df0f-d5fe-4bda-8f43-141ad7af67e3" providerId="ADAL" clId="{48B824AD-1B2A-47A8-8D92-6FE6E622A650}" dt="2024-12-16T16:19:26.944" v="96239"/>
          <ac:spMkLst>
            <pc:docMk/>
            <pc:sldMk cId="4074781327" sldId="282"/>
            <ac:spMk id="4" creationId="{B218BBF5-319C-D73A-D8FB-78F18408523E}"/>
          </ac:spMkLst>
        </pc:spChg>
        <pc:spChg chg="add del mod modVis">
          <ac:chgData name="Oğuz Öztekin" userId="33c0df0f-d5fe-4bda-8f43-141ad7af67e3" providerId="ADAL" clId="{48B824AD-1B2A-47A8-8D92-6FE6E622A650}" dt="2024-12-16T16:19:28.673" v="96264"/>
          <ac:spMkLst>
            <pc:docMk/>
            <pc:sldMk cId="4074781327" sldId="282"/>
            <ac:spMk id="5" creationId="{2512D085-74DB-F5FE-083E-0AF4D21A572B}"/>
          </ac:spMkLst>
        </pc:spChg>
        <pc:spChg chg="add del mod modVis">
          <ac:chgData name="Oğuz Öztekin" userId="33c0df0f-d5fe-4bda-8f43-141ad7af67e3" providerId="ADAL" clId="{48B824AD-1B2A-47A8-8D92-6FE6E622A650}" dt="2024-12-16T11:02:29.280" v="32761"/>
          <ac:spMkLst>
            <pc:docMk/>
            <pc:sldMk cId="4074781327" sldId="282"/>
            <ac:spMk id="6" creationId="{31714FD7-C706-5C76-A3C2-C9DF9F42D7E7}"/>
          </ac:spMkLst>
        </pc:spChg>
        <pc:spChg chg="add del mod modVis">
          <ac:chgData name="Oğuz Öztekin" userId="33c0df0f-d5fe-4bda-8f43-141ad7af67e3" providerId="ADAL" clId="{48B824AD-1B2A-47A8-8D92-6FE6E622A650}" dt="2024-12-16T16:19:33.803" v="96308"/>
          <ac:spMkLst>
            <pc:docMk/>
            <pc:sldMk cId="4074781327" sldId="282"/>
            <ac:spMk id="6" creationId="{D2B22055-9EA4-A060-A9E9-4275D371A720}"/>
          </ac:spMkLst>
        </pc:spChg>
        <pc:spChg chg="mod">
          <ac:chgData name="Oğuz Öztekin" userId="33c0df0f-d5fe-4bda-8f43-141ad7af67e3" providerId="ADAL" clId="{48B824AD-1B2A-47A8-8D92-6FE6E622A650}" dt="2024-12-16T16:29:51.696" v="107174"/>
          <ac:spMkLst>
            <pc:docMk/>
            <pc:sldMk cId="4074781327" sldId="282"/>
            <ac:spMk id="10" creationId="{3BD6FA32-8681-2CAB-3B2F-FF3E28B2681E}"/>
          </ac:spMkLst>
        </pc:spChg>
        <pc:spChg chg="mod">
          <ac:chgData name="Oğuz Öztekin" userId="33c0df0f-d5fe-4bda-8f43-141ad7af67e3" providerId="ADAL" clId="{48B824AD-1B2A-47A8-8D92-6FE6E622A650}" dt="2024-12-16T16:29:51.696" v="107177"/>
          <ac:spMkLst>
            <pc:docMk/>
            <pc:sldMk cId="4074781327" sldId="282"/>
            <ac:spMk id="12" creationId="{10FC18C1-2C7A-7170-F8C9-E2477CDD3BE4}"/>
          </ac:spMkLst>
        </pc:spChg>
        <pc:spChg chg="mod">
          <ac:chgData name="Oğuz Öztekin" userId="33c0df0f-d5fe-4bda-8f43-141ad7af67e3" providerId="ADAL" clId="{48B824AD-1B2A-47A8-8D92-6FE6E622A650}" dt="2024-12-16T16:29:51.697" v="107178"/>
          <ac:spMkLst>
            <pc:docMk/>
            <pc:sldMk cId="4074781327" sldId="282"/>
            <ac:spMk id="13" creationId="{9D5555A2-46DA-5F3C-551E-5624FF84D3A9}"/>
          </ac:spMkLst>
        </pc:spChg>
        <pc:spChg chg="mod">
          <ac:chgData name="Oğuz Öztekin" userId="33c0df0f-d5fe-4bda-8f43-141ad7af67e3" providerId="ADAL" clId="{48B824AD-1B2A-47A8-8D92-6FE6E622A650}" dt="2024-12-16T16:29:51.697" v="107179"/>
          <ac:spMkLst>
            <pc:docMk/>
            <pc:sldMk cId="4074781327" sldId="282"/>
            <ac:spMk id="14" creationId="{EB9D5592-BF8E-5D18-70E3-12EB14B742A1}"/>
          </ac:spMkLst>
        </pc:spChg>
        <pc:spChg chg="mod">
          <ac:chgData name="Oğuz Öztekin" userId="33c0df0f-d5fe-4bda-8f43-141ad7af67e3" providerId="ADAL" clId="{48B824AD-1B2A-47A8-8D92-6FE6E622A650}" dt="2024-12-16T16:29:51.697" v="107180"/>
          <ac:spMkLst>
            <pc:docMk/>
            <pc:sldMk cId="4074781327" sldId="282"/>
            <ac:spMk id="15" creationId="{89E07A70-0384-4B03-06F6-C292D004509E}"/>
          </ac:spMkLst>
        </pc:spChg>
        <pc:spChg chg="mod">
          <ac:chgData name="Oğuz Öztekin" userId="33c0df0f-d5fe-4bda-8f43-141ad7af67e3" providerId="ADAL" clId="{48B824AD-1B2A-47A8-8D92-6FE6E622A650}" dt="2024-12-16T16:29:51.698" v="107181"/>
          <ac:spMkLst>
            <pc:docMk/>
            <pc:sldMk cId="4074781327" sldId="282"/>
            <ac:spMk id="16" creationId="{26C46F6A-F602-7E71-ED51-52E7749576E3}"/>
          </ac:spMkLst>
        </pc:spChg>
        <pc:spChg chg="mod">
          <ac:chgData name="Oğuz Öztekin" userId="33c0df0f-d5fe-4bda-8f43-141ad7af67e3" providerId="ADAL" clId="{48B824AD-1B2A-47A8-8D92-6FE6E622A650}" dt="2024-12-16T16:29:51.698" v="107182"/>
          <ac:spMkLst>
            <pc:docMk/>
            <pc:sldMk cId="4074781327" sldId="282"/>
            <ac:spMk id="17" creationId="{247344C4-26EB-33B2-D4B4-0751DB29F233}"/>
          </ac:spMkLst>
        </pc:spChg>
        <pc:spChg chg="mod">
          <ac:chgData name="Oğuz Öztekin" userId="33c0df0f-d5fe-4bda-8f43-141ad7af67e3" providerId="ADAL" clId="{48B824AD-1B2A-47A8-8D92-6FE6E622A650}" dt="2024-12-16T16:29:51.698" v="107183"/>
          <ac:spMkLst>
            <pc:docMk/>
            <pc:sldMk cId="4074781327" sldId="282"/>
            <ac:spMk id="18" creationId="{8F6AD5C7-A638-D5C5-A363-318B328936AC}"/>
          </ac:spMkLst>
        </pc:spChg>
        <pc:spChg chg="mod">
          <ac:chgData name="Oğuz Öztekin" userId="33c0df0f-d5fe-4bda-8f43-141ad7af67e3" providerId="ADAL" clId="{48B824AD-1B2A-47A8-8D92-6FE6E622A650}" dt="2024-12-16T16:29:51.699" v="107184"/>
          <ac:spMkLst>
            <pc:docMk/>
            <pc:sldMk cId="4074781327" sldId="282"/>
            <ac:spMk id="19" creationId="{1678829A-8528-700A-1D81-A87AA8E45FCE}"/>
          </ac:spMkLst>
        </pc:spChg>
        <pc:spChg chg="mod">
          <ac:chgData name="Oğuz Öztekin" userId="33c0df0f-d5fe-4bda-8f43-141ad7af67e3" providerId="ADAL" clId="{48B824AD-1B2A-47A8-8D92-6FE6E622A650}" dt="2024-12-16T16:29:51.699" v="107185"/>
          <ac:spMkLst>
            <pc:docMk/>
            <pc:sldMk cId="4074781327" sldId="282"/>
            <ac:spMk id="20" creationId="{24868D60-8117-A546-100E-5598B2250F65}"/>
          </ac:spMkLst>
        </pc:spChg>
        <pc:spChg chg="mod">
          <ac:chgData name="Oğuz Öztekin" userId="33c0df0f-d5fe-4bda-8f43-141ad7af67e3" providerId="ADAL" clId="{48B824AD-1B2A-47A8-8D92-6FE6E622A650}" dt="2024-12-16T16:29:51.699" v="107186"/>
          <ac:spMkLst>
            <pc:docMk/>
            <pc:sldMk cId="4074781327" sldId="282"/>
            <ac:spMk id="21" creationId="{ED2B0EA9-7D55-D349-F6A8-3B90E5E21975}"/>
          </ac:spMkLst>
        </pc:spChg>
        <pc:spChg chg="mod">
          <ac:chgData name="Oğuz Öztekin" userId="33c0df0f-d5fe-4bda-8f43-141ad7af67e3" providerId="ADAL" clId="{48B824AD-1B2A-47A8-8D92-6FE6E622A650}" dt="2024-12-16T16:29:51.700" v="107187"/>
          <ac:spMkLst>
            <pc:docMk/>
            <pc:sldMk cId="4074781327" sldId="282"/>
            <ac:spMk id="22" creationId="{2B09460D-771F-F59E-9700-9F51C1B0761E}"/>
          </ac:spMkLst>
        </pc:spChg>
        <pc:spChg chg="mod ord">
          <ac:chgData name="Oğuz Öztekin" userId="33c0df0f-d5fe-4bda-8f43-141ad7af67e3" providerId="ADAL" clId="{48B824AD-1B2A-47A8-8D92-6FE6E622A650}" dt="2024-12-16T16:29:51.701" v="107191"/>
          <ac:spMkLst>
            <pc:docMk/>
            <pc:sldMk cId="4074781327" sldId="282"/>
            <ac:spMk id="23" creationId="{0F957808-5E41-FE55-91EF-002E1676BB95}"/>
          </ac:spMkLst>
        </pc:spChg>
        <pc:spChg chg="add del mod modVis">
          <ac:chgData name="Oğuz Öztekin" userId="33c0df0f-d5fe-4bda-8f43-141ad7af67e3" providerId="ADAL" clId="{48B824AD-1B2A-47A8-8D92-6FE6E622A650}" dt="2024-12-16T16:19:35.641" v="96338"/>
          <ac:spMkLst>
            <pc:docMk/>
            <pc:sldMk cId="4074781327" sldId="282"/>
            <ac:spMk id="24" creationId="{8CC0AF1F-9815-44AD-8368-02D4F94C1724}"/>
          </ac:spMkLst>
        </pc:spChg>
        <pc:spChg chg="add del mod modVis">
          <ac:chgData name="Oğuz Öztekin" userId="33c0df0f-d5fe-4bda-8f43-141ad7af67e3" providerId="ADAL" clId="{48B824AD-1B2A-47A8-8D92-6FE6E622A650}" dt="2024-12-16T11:02:33.253" v="32950"/>
          <ac:spMkLst>
            <pc:docMk/>
            <pc:sldMk cId="4074781327" sldId="282"/>
            <ac:spMk id="25" creationId="{80C4B48C-9087-A5F5-D825-0EE18FCEF46C}"/>
          </ac:spMkLst>
        </pc:spChg>
        <pc:spChg chg="add del mod modVis">
          <ac:chgData name="Oğuz Öztekin" userId="33c0df0f-d5fe-4bda-8f43-141ad7af67e3" providerId="ADAL" clId="{48B824AD-1B2A-47A8-8D92-6FE6E622A650}" dt="2024-12-16T16:19:37.438" v="96368"/>
          <ac:spMkLst>
            <pc:docMk/>
            <pc:sldMk cId="4074781327" sldId="282"/>
            <ac:spMk id="25" creationId="{FEAA3074-637A-6176-215D-3867602FC5B3}"/>
          </ac:spMkLst>
        </pc:spChg>
        <pc:spChg chg="add del mod modVis">
          <ac:chgData name="Oğuz Öztekin" userId="33c0df0f-d5fe-4bda-8f43-141ad7af67e3" providerId="ADAL" clId="{48B824AD-1B2A-47A8-8D92-6FE6E622A650}" dt="2024-12-16T16:19:39.927" v="96402"/>
          <ac:spMkLst>
            <pc:docMk/>
            <pc:sldMk cId="4074781327" sldId="282"/>
            <ac:spMk id="26" creationId="{D9661B70-19AE-E987-92C3-BE542F9FA688}"/>
          </ac:spMkLst>
        </pc:spChg>
        <pc:spChg chg="add del mod modVis">
          <ac:chgData name="Oğuz Öztekin" userId="33c0df0f-d5fe-4bda-8f43-141ad7af67e3" providerId="ADAL" clId="{48B824AD-1B2A-47A8-8D92-6FE6E622A650}" dt="2024-12-16T11:02:35.828" v="33058"/>
          <ac:spMkLst>
            <pc:docMk/>
            <pc:sldMk cId="4074781327" sldId="282"/>
            <ac:spMk id="27" creationId="{51A0171E-75AC-3691-B808-395B5B3E01C7}"/>
          </ac:spMkLst>
        </pc:spChg>
        <pc:spChg chg="add del mod modVis">
          <ac:chgData name="Oğuz Öztekin" userId="33c0df0f-d5fe-4bda-8f43-141ad7af67e3" providerId="ADAL" clId="{48B824AD-1B2A-47A8-8D92-6FE6E622A650}" dt="2024-12-16T16:19:43.264" v="96439"/>
          <ac:spMkLst>
            <pc:docMk/>
            <pc:sldMk cId="4074781327" sldId="282"/>
            <ac:spMk id="27" creationId="{D11E45B6-CC4F-22D5-A06F-6CEA1CEE7A2D}"/>
          </ac:spMkLst>
        </pc:spChg>
        <pc:spChg chg="add del mod modVis">
          <ac:chgData name="Oğuz Öztekin" userId="33c0df0f-d5fe-4bda-8f43-141ad7af67e3" providerId="ADAL" clId="{48B824AD-1B2A-47A8-8D92-6FE6E622A650}" dt="2024-12-16T16:19:45.750" v="96464"/>
          <ac:spMkLst>
            <pc:docMk/>
            <pc:sldMk cId="4074781327" sldId="282"/>
            <ac:spMk id="28" creationId="{FCC9F635-E6DC-6D2D-5306-7E4D3739C3F4}"/>
          </ac:spMkLst>
        </pc:spChg>
        <pc:spChg chg="add del mod modVis">
          <ac:chgData name="Oğuz Öztekin" userId="33c0df0f-d5fe-4bda-8f43-141ad7af67e3" providerId="ADAL" clId="{48B824AD-1B2A-47A8-8D92-6FE6E622A650}" dt="2024-12-16T11:02:46.957" v="33297"/>
          <ac:spMkLst>
            <pc:docMk/>
            <pc:sldMk cId="4074781327" sldId="282"/>
            <ac:spMk id="29" creationId="{8E8A6E70-513E-3454-1F9A-2434CCF88227}"/>
          </ac:spMkLst>
        </pc:spChg>
        <pc:spChg chg="add del mod modVis">
          <ac:chgData name="Oğuz Öztekin" userId="33c0df0f-d5fe-4bda-8f43-141ad7af67e3" providerId="ADAL" clId="{48B824AD-1B2A-47A8-8D92-6FE6E622A650}" dt="2024-12-16T16:19:46.723" v="96490"/>
          <ac:spMkLst>
            <pc:docMk/>
            <pc:sldMk cId="4074781327" sldId="282"/>
            <ac:spMk id="29" creationId="{B8038D16-113D-6820-6215-C137D9294BE1}"/>
          </ac:spMkLst>
        </pc:spChg>
        <pc:spChg chg="add del mod modVis">
          <ac:chgData name="Oğuz Öztekin" userId="33c0df0f-d5fe-4bda-8f43-141ad7af67e3" providerId="ADAL" clId="{48B824AD-1B2A-47A8-8D92-6FE6E622A650}" dt="2024-12-16T16:19:48.126" v="96518"/>
          <ac:spMkLst>
            <pc:docMk/>
            <pc:sldMk cId="4074781327" sldId="282"/>
            <ac:spMk id="30" creationId="{97125F48-B2F8-9768-385D-8B36C5DA11F0}"/>
          </ac:spMkLst>
        </pc:spChg>
        <pc:spChg chg="add del mod modVis">
          <ac:chgData name="Oğuz Öztekin" userId="33c0df0f-d5fe-4bda-8f43-141ad7af67e3" providerId="ADAL" clId="{48B824AD-1B2A-47A8-8D92-6FE6E622A650}" dt="2024-12-16T16:19:50.828" v="96549"/>
          <ac:spMkLst>
            <pc:docMk/>
            <pc:sldMk cId="4074781327" sldId="282"/>
            <ac:spMk id="31" creationId="{E213CA9B-445B-CE3D-EFF8-3EDCF0284056}"/>
          </ac:spMkLst>
        </pc:spChg>
        <pc:spChg chg="add del mod modVis">
          <ac:chgData name="Oğuz Öztekin" userId="33c0df0f-d5fe-4bda-8f43-141ad7af67e3" providerId="ADAL" clId="{48B824AD-1B2A-47A8-8D92-6FE6E622A650}" dt="2024-12-16T16:26:40.566" v="101402"/>
          <ac:spMkLst>
            <pc:docMk/>
            <pc:sldMk cId="4074781327" sldId="282"/>
            <ac:spMk id="33" creationId="{C331FDB3-B000-B3B0-F9CB-73D0670637E9}"/>
          </ac:spMkLst>
        </pc:spChg>
        <pc:spChg chg="mod">
          <ac:chgData name="Oğuz Öztekin" userId="33c0df0f-d5fe-4bda-8f43-141ad7af67e3" providerId="ADAL" clId="{48B824AD-1B2A-47A8-8D92-6FE6E622A650}" dt="2024-12-16T16:29:51.689" v="107145"/>
          <ac:spMkLst>
            <pc:docMk/>
            <pc:sldMk cId="4074781327" sldId="282"/>
            <ac:spMk id="35" creationId="{F5842763-BD17-E9ED-BD9B-BD9C24B12B02}"/>
          </ac:spMkLst>
        </pc:spChg>
        <pc:spChg chg="mod">
          <ac:chgData name="Oğuz Öztekin" userId="33c0df0f-d5fe-4bda-8f43-141ad7af67e3" providerId="ADAL" clId="{48B824AD-1B2A-47A8-8D92-6FE6E622A650}" dt="2024-12-16T16:29:51.689" v="107146"/>
          <ac:spMkLst>
            <pc:docMk/>
            <pc:sldMk cId="4074781327" sldId="282"/>
            <ac:spMk id="36" creationId="{299A30A6-EB71-631A-A532-DC1B142F9D48}"/>
          </ac:spMkLst>
        </pc:spChg>
        <pc:spChg chg="mod">
          <ac:chgData name="Oğuz Öztekin" userId="33c0df0f-d5fe-4bda-8f43-141ad7af67e3" providerId="ADAL" clId="{48B824AD-1B2A-47A8-8D92-6FE6E622A650}" dt="2024-12-16T16:29:51.689" v="107147"/>
          <ac:spMkLst>
            <pc:docMk/>
            <pc:sldMk cId="4074781327" sldId="282"/>
            <ac:spMk id="37" creationId="{B9753055-C5C9-41BA-6C9B-07CAE3C2555E}"/>
          </ac:spMkLst>
        </pc:spChg>
        <pc:spChg chg="add del mod modVis">
          <ac:chgData name="Oğuz Öztekin" userId="33c0df0f-d5fe-4bda-8f43-141ad7af67e3" providerId="ADAL" clId="{48B824AD-1B2A-47A8-8D92-6FE6E622A650}" dt="2024-12-16T16:26:41.179" v="101553"/>
          <ac:spMkLst>
            <pc:docMk/>
            <pc:sldMk cId="4074781327" sldId="282"/>
            <ac:spMk id="38" creationId="{EF9493DF-43C2-71BC-E447-F1DB4A2DC171}"/>
          </ac:spMkLst>
        </pc:spChg>
        <pc:spChg chg="add del mod modVis">
          <ac:chgData name="Oğuz Öztekin" userId="33c0df0f-d5fe-4bda-8f43-141ad7af67e3" providerId="ADAL" clId="{48B824AD-1B2A-47A8-8D92-6FE6E622A650}" dt="2024-12-16T11:02:49.627" v="33939"/>
          <ac:spMkLst>
            <pc:docMk/>
            <pc:sldMk cId="4074781327" sldId="282"/>
            <ac:spMk id="39" creationId="{CEDFAAB1-4D18-1612-D754-6AFDC570B5CE}"/>
          </ac:spMkLst>
        </pc:spChg>
        <pc:spChg chg="add del mod modVis">
          <ac:chgData name="Oğuz Öztekin" userId="33c0df0f-d5fe-4bda-8f43-141ad7af67e3" providerId="ADAL" clId="{48B824AD-1B2A-47A8-8D92-6FE6E622A650}" dt="2024-12-16T16:26:42.185" v="101708"/>
          <ac:spMkLst>
            <pc:docMk/>
            <pc:sldMk cId="4074781327" sldId="282"/>
            <ac:spMk id="40" creationId="{6426401B-14D6-588D-99C6-4C8BA314CCF2}"/>
          </ac:spMkLst>
        </pc:spChg>
        <pc:spChg chg="add del mod">
          <ac:chgData name="Oğuz Öztekin" userId="33c0df0f-d5fe-4bda-8f43-141ad7af67e3" providerId="ADAL" clId="{48B824AD-1B2A-47A8-8D92-6FE6E622A650}" dt="2024-12-16T11:02:51.674" v="33942"/>
          <ac:spMkLst>
            <pc:docMk/>
            <pc:sldMk cId="4074781327" sldId="282"/>
            <ac:spMk id="40" creationId="{B58C865D-8EE4-871E-563B-ADBBF65A3FD3}"/>
          </ac:spMkLst>
        </pc:spChg>
        <pc:spChg chg="add del mod">
          <ac:chgData name="Oğuz Öztekin" userId="33c0df0f-d5fe-4bda-8f43-141ad7af67e3" providerId="ADAL" clId="{48B824AD-1B2A-47A8-8D92-6FE6E622A650}" dt="2024-12-16T11:02:51.675" v="33943"/>
          <ac:spMkLst>
            <pc:docMk/>
            <pc:sldMk cId="4074781327" sldId="282"/>
            <ac:spMk id="41" creationId="{53060211-F8C0-92DD-D15F-63076FE2A509}"/>
          </ac:spMkLst>
        </pc:spChg>
        <pc:spChg chg="add del mod">
          <ac:chgData name="Oğuz Öztekin" userId="33c0df0f-d5fe-4bda-8f43-141ad7af67e3" providerId="ADAL" clId="{48B824AD-1B2A-47A8-8D92-6FE6E622A650}" dt="2024-12-16T11:02:51.675" v="33944"/>
          <ac:spMkLst>
            <pc:docMk/>
            <pc:sldMk cId="4074781327" sldId="282"/>
            <ac:spMk id="42" creationId="{5A2C2AF8-5FB1-9E7C-2425-0570F2CC2881}"/>
          </ac:spMkLst>
        </pc:spChg>
        <pc:spChg chg="add del mod modVis">
          <ac:chgData name="Oğuz Öztekin" userId="33c0df0f-d5fe-4bda-8f43-141ad7af67e3" providerId="ADAL" clId="{48B824AD-1B2A-47A8-8D92-6FE6E622A650}" dt="2024-12-16T16:26:43.275" v="101859"/>
          <ac:spMkLst>
            <pc:docMk/>
            <pc:sldMk cId="4074781327" sldId="282"/>
            <ac:spMk id="42" creationId="{9FAF59CE-7B7A-8702-BA01-CF675052F37A}"/>
          </ac:spMkLst>
        </pc:spChg>
        <pc:spChg chg="add del mod">
          <ac:chgData name="Oğuz Öztekin" userId="33c0df0f-d5fe-4bda-8f43-141ad7af67e3" providerId="ADAL" clId="{48B824AD-1B2A-47A8-8D92-6FE6E622A650}" dt="2024-12-16T11:02:51.676" v="33945"/>
          <ac:spMkLst>
            <pc:docMk/>
            <pc:sldMk cId="4074781327" sldId="282"/>
            <ac:spMk id="43" creationId="{AC7C9B31-DEE4-C180-CEEB-0F77B6E6D5EB}"/>
          </ac:spMkLst>
        </pc:spChg>
        <pc:spChg chg="add del mod modVis">
          <ac:chgData name="Oğuz Öztekin" userId="33c0df0f-d5fe-4bda-8f43-141ad7af67e3" providerId="ADAL" clId="{48B824AD-1B2A-47A8-8D92-6FE6E622A650}" dt="2024-12-16T16:26:44.240" v="102002"/>
          <ac:spMkLst>
            <pc:docMk/>
            <pc:sldMk cId="4074781327" sldId="282"/>
            <ac:spMk id="44" creationId="{44A37F96-43D2-5DB2-2A65-C358B62EFF6B}"/>
          </ac:spMkLst>
        </pc:spChg>
        <pc:spChg chg="add del mod">
          <ac:chgData name="Oğuz Öztekin" userId="33c0df0f-d5fe-4bda-8f43-141ad7af67e3" providerId="ADAL" clId="{48B824AD-1B2A-47A8-8D92-6FE6E622A650}" dt="2024-12-16T11:02:51.676" v="33946"/>
          <ac:spMkLst>
            <pc:docMk/>
            <pc:sldMk cId="4074781327" sldId="282"/>
            <ac:spMk id="44" creationId="{F84B8113-6344-87C9-80A5-1C94AECDF25B}"/>
          </ac:spMkLst>
        </pc:spChg>
        <pc:spChg chg="add del mod">
          <ac:chgData name="Oğuz Öztekin" userId="33c0df0f-d5fe-4bda-8f43-141ad7af67e3" providerId="ADAL" clId="{48B824AD-1B2A-47A8-8D92-6FE6E622A650}" dt="2024-12-16T11:02:51.676" v="33947"/>
          <ac:spMkLst>
            <pc:docMk/>
            <pc:sldMk cId="4074781327" sldId="282"/>
            <ac:spMk id="45" creationId="{58551E32-6545-FF47-1002-663FC502C502}"/>
          </ac:spMkLst>
        </pc:spChg>
        <pc:spChg chg="add del mod modVis">
          <ac:chgData name="Oğuz Öztekin" userId="33c0df0f-d5fe-4bda-8f43-141ad7af67e3" providerId="ADAL" clId="{48B824AD-1B2A-47A8-8D92-6FE6E622A650}" dt="2024-12-16T16:26:45.509" v="102147"/>
          <ac:spMkLst>
            <pc:docMk/>
            <pc:sldMk cId="4074781327" sldId="282"/>
            <ac:spMk id="46" creationId="{1B2B643B-1546-1626-271E-63CE8C1FDE63}"/>
          </ac:spMkLst>
        </pc:spChg>
        <pc:spChg chg="add del mod">
          <ac:chgData name="Oğuz Öztekin" userId="33c0df0f-d5fe-4bda-8f43-141ad7af67e3" providerId="ADAL" clId="{48B824AD-1B2A-47A8-8D92-6FE6E622A650}" dt="2024-12-16T11:02:51.677" v="33948"/>
          <ac:spMkLst>
            <pc:docMk/>
            <pc:sldMk cId="4074781327" sldId="282"/>
            <ac:spMk id="46" creationId="{8BFFC2D5-BEB1-4556-01CA-335EE9DBC997}"/>
          </ac:spMkLst>
        </pc:spChg>
        <pc:spChg chg="add del mod">
          <ac:chgData name="Oğuz Öztekin" userId="33c0df0f-d5fe-4bda-8f43-141ad7af67e3" providerId="ADAL" clId="{48B824AD-1B2A-47A8-8D92-6FE6E622A650}" dt="2024-12-16T11:02:51.677" v="33949"/>
          <ac:spMkLst>
            <pc:docMk/>
            <pc:sldMk cId="4074781327" sldId="282"/>
            <ac:spMk id="47" creationId="{49928214-5A47-FFCC-77EF-0EF81BAD2803}"/>
          </ac:spMkLst>
        </pc:spChg>
        <pc:spChg chg="add del mod modVis">
          <ac:chgData name="Oğuz Öztekin" userId="33c0df0f-d5fe-4bda-8f43-141ad7af67e3" providerId="ADAL" clId="{48B824AD-1B2A-47A8-8D92-6FE6E622A650}" dt="2024-12-16T16:26:46.662" v="102288"/>
          <ac:spMkLst>
            <pc:docMk/>
            <pc:sldMk cId="4074781327" sldId="282"/>
            <ac:spMk id="48" creationId="{56069FCD-A87F-F369-5F94-5EB0DC495A80}"/>
          </ac:spMkLst>
        </pc:spChg>
        <pc:spChg chg="add del mod">
          <ac:chgData name="Oğuz Öztekin" userId="33c0df0f-d5fe-4bda-8f43-141ad7af67e3" providerId="ADAL" clId="{48B824AD-1B2A-47A8-8D92-6FE6E622A650}" dt="2024-12-16T11:02:51.677" v="33950"/>
          <ac:spMkLst>
            <pc:docMk/>
            <pc:sldMk cId="4074781327" sldId="282"/>
            <ac:spMk id="48" creationId="{B9DF22C3-EA1E-0480-AC83-412227187BF8}"/>
          </ac:spMkLst>
        </pc:spChg>
        <pc:spChg chg="add del mod">
          <ac:chgData name="Oğuz Öztekin" userId="33c0df0f-d5fe-4bda-8f43-141ad7af67e3" providerId="ADAL" clId="{48B824AD-1B2A-47A8-8D92-6FE6E622A650}" dt="2024-12-16T11:02:51.678" v="33951"/>
          <ac:spMkLst>
            <pc:docMk/>
            <pc:sldMk cId="4074781327" sldId="282"/>
            <ac:spMk id="49" creationId="{D1F4658A-1489-C75E-3F5E-A59FE9B88079}"/>
          </ac:spMkLst>
        </pc:spChg>
        <pc:spChg chg="add del mod modVis">
          <ac:chgData name="Oğuz Öztekin" userId="33c0df0f-d5fe-4bda-8f43-141ad7af67e3" providerId="ADAL" clId="{48B824AD-1B2A-47A8-8D92-6FE6E622A650}" dt="2024-12-16T16:26:47.870" v="102435"/>
          <ac:spMkLst>
            <pc:docMk/>
            <pc:sldMk cId="4074781327" sldId="282"/>
            <ac:spMk id="50" creationId="{016B8765-55FB-6EFC-7D32-2B2C9022CD9B}"/>
          </ac:spMkLst>
        </pc:spChg>
        <pc:spChg chg="del mod">
          <ac:chgData name="Oğuz Öztekin" userId="33c0df0f-d5fe-4bda-8f43-141ad7af67e3" providerId="ADAL" clId="{48B824AD-1B2A-47A8-8D92-6FE6E622A650}" dt="2024-12-16T11:02:49.177" v="33313"/>
          <ac:spMkLst>
            <pc:docMk/>
            <pc:sldMk cId="4074781327" sldId="282"/>
            <ac:spMk id="51" creationId="{2F0F08FD-9292-E17D-A5FE-76D58061CE53}"/>
          </ac:spMkLst>
        </pc:spChg>
        <pc:spChg chg="add del mod modVis">
          <ac:chgData name="Oğuz Öztekin" userId="33c0df0f-d5fe-4bda-8f43-141ad7af67e3" providerId="ADAL" clId="{48B824AD-1B2A-47A8-8D92-6FE6E622A650}" dt="2024-12-16T16:26:50.148" v="102578"/>
          <ac:spMkLst>
            <pc:docMk/>
            <pc:sldMk cId="4074781327" sldId="282"/>
            <ac:spMk id="52" creationId="{377304A5-BE5A-29C6-5ADC-388D2EED622F}"/>
          </ac:spMkLst>
        </pc:spChg>
        <pc:spChg chg="del mod">
          <ac:chgData name="Oğuz Öztekin" userId="33c0df0f-d5fe-4bda-8f43-141ad7af67e3" providerId="ADAL" clId="{48B824AD-1B2A-47A8-8D92-6FE6E622A650}" dt="2024-12-16T11:02:49.176" v="33312"/>
          <ac:spMkLst>
            <pc:docMk/>
            <pc:sldMk cId="4074781327" sldId="282"/>
            <ac:spMk id="52" creationId="{5DCD685C-B413-E250-8308-05261AAFA53D}"/>
          </ac:spMkLst>
        </pc:spChg>
        <pc:spChg chg="add del mod modVis">
          <ac:chgData name="Oğuz Öztekin" userId="33c0df0f-d5fe-4bda-8f43-141ad7af67e3" providerId="ADAL" clId="{48B824AD-1B2A-47A8-8D92-6FE6E622A650}" dt="2024-12-16T16:26:52.851" v="102771"/>
          <ac:spMkLst>
            <pc:docMk/>
            <pc:sldMk cId="4074781327" sldId="282"/>
            <ac:spMk id="54" creationId="{18841371-7D6A-DB2E-C465-DA261AE819B5}"/>
          </ac:spMkLst>
        </pc:spChg>
        <pc:spChg chg="add del mod modVis">
          <ac:chgData name="Oğuz Öztekin" userId="33c0df0f-d5fe-4bda-8f43-141ad7af67e3" providerId="ADAL" clId="{48B824AD-1B2A-47A8-8D92-6FE6E622A650}" dt="2024-12-16T11:02:51.787" v="34145"/>
          <ac:spMkLst>
            <pc:docMk/>
            <pc:sldMk cId="4074781327" sldId="282"/>
            <ac:spMk id="54" creationId="{77332B64-5B2F-7DEE-8E2D-81389A6C3CCC}"/>
          </ac:spMkLst>
        </pc:spChg>
        <pc:spChg chg="add del mod modVis">
          <ac:chgData name="Oğuz Öztekin" userId="33c0df0f-d5fe-4bda-8f43-141ad7af67e3" providerId="ADAL" clId="{48B824AD-1B2A-47A8-8D92-6FE6E622A650}" dt="2024-12-16T16:26:55.023" v="102948"/>
          <ac:spMkLst>
            <pc:docMk/>
            <pc:sldMk cId="4074781327" sldId="282"/>
            <ac:spMk id="56" creationId="{0EFA34A5-5E01-336B-6FCC-91D7E90728C3}"/>
          </ac:spMkLst>
        </pc:spChg>
        <pc:spChg chg="add del mod modVis">
          <ac:chgData name="Oğuz Öztekin" userId="33c0df0f-d5fe-4bda-8f43-141ad7af67e3" providerId="ADAL" clId="{48B824AD-1B2A-47A8-8D92-6FE6E622A650}" dt="2024-12-16T11:02:54.335" v="34315"/>
          <ac:spMkLst>
            <pc:docMk/>
            <pc:sldMk cId="4074781327" sldId="282"/>
            <ac:spMk id="56" creationId="{3EE1C693-57AE-D061-4D2F-A98D530FCC50}"/>
          </ac:spMkLst>
        </pc:spChg>
        <pc:spChg chg="add del mod modVis">
          <ac:chgData name="Oğuz Öztekin" userId="33c0df0f-d5fe-4bda-8f43-141ad7af67e3" providerId="ADAL" clId="{48B824AD-1B2A-47A8-8D92-6FE6E622A650}" dt="2024-12-16T11:02:57.417" v="34960"/>
          <ac:spMkLst>
            <pc:docMk/>
            <pc:sldMk cId="4074781327" sldId="282"/>
            <ac:spMk id="58" creationId="{C0F421D9-4533-8493-2C14-01CEF3A132A1}"/>
          </ac:spMkLst>
        </pc:spChg>
        <pc:spChg chg="add del mod modVis">
          <ac:chgData name="Oğuz Öztekin" userId="33c0df0f-d5fe-4bda-8f43-141ad7af67e3" providerId="ADAL" clId="{48B824AD-1B2A-47A8-8D92-6FE6E622A650}" dt="2024-12-16T16:27:00.314" v="103092"/>
          <ac:spMkLst>
            <pc:docMk/>
            <pc:sldMk cId="4074781327" sldId="282"/>
            <ac:spMk id="58" creationId="{F7AF4293-BA70-4EAA-2EF0-B23D734C2708}"/>
          </ac:spMkLst>
        </pc:spChg>
        <pc:spChg chg="add del mod">
          <ac:chgData name="Oğuz Öztekin" userId="33c0df0f-d5fe-4bda-8f43-141ad7af67e3" providerId="ADAL" clId="{48B824AD-1B2A-47A8-8D92-6FE6E622A650}" dt="2024-12-16T11:02:57.913" v="35037"/>
          <ac:spMkLst>
            <pc:docMk/>
            <pc:sldMk cId="4074781327" sldId="282"/>
            <ac:spMk id="59" creationId="{6011D0B2-422B-7B0B-7AA3-4827CE320985}"/>
          </ac:spMkLst>
        </pc:spChg>
        <pc:spChg chg="add del mod modVis">
          <ac:chgData name="Oğuz Öztekin" userId="33c0df0f-d5fe-4bda-8f43-141ad7af67e3" providerId="ADAL" clId="{48B824AD-1B2A-47A8-8D92-6FE6E622A650}" dt="2024-12-16T16:27:01.965" v="103236"/>
          <ac:spMkLst>
            <pc:docMk/>
            <pc:sldMk cId="4074781327" sldId="282"/>
            <ac:spMk id="60" creationId="{3AC4AC11-246D-78BC-BAED-268587A59ED2}"/>
          </ac:spMkLst>
        </pc:spChg>
        <pc:spChg chg="add del mod">
          <ac:chgData name="Oğuz Öztekin" userId="33c0df0f-d5fe-4bda-8f43-141ad7af67e3" providerId="ADAL" clId="{48B824AD-1B2A-47A8-8D92-6FE6E622A650}" dt="2024-12-16T11:02:57.914" v="35038"/>
          <ac:spMkLst>
            <pc:docMk/>
            <pc:sldMk cId="4074781327" sldId="282"/>
            <ac:spMk id="60" creationId="{4B30F1A6-36B2-8F93-B052-5A696AD5C45A}"/>
          </ac:spMkLst>
        </pc:spChg>
        <pc:spChg chg="add del mod">
          <ac:chgData name="Oğuz Öztekin" userId="33c0df0f-d5fe-4bda-8f43-141ad7af67e3" providerId="ADAL" clId="{48B824AD-1B2A-47A8-8D92-6FE6E622A650}" dt="2024-12-16T11:02:57.914" v="35039"/>
          <ac:spMkLst>
            <pc:docMk/>
            <pc:sldMk cId="4074781327" sldId="282"/>
            <ac:spMk id="61" creationId="{D6F53700-6614-EFD6-0E32-DAE9E5E51CA6}"/>
          </ac:spMkLst>
        </pc:spChg>
        <pc:spChg chg="add del mod modVis">
          <ac:chgData name="Oğuz Öztekin" userId="33c0df0f-d5fe-4bda-8f43-141ad7af67e3" providerId="ADAL" clId="{48B824AD-1B2A-47A8-8D92-6FE6E622A650}" dt="2024-12-16T16:27:22.484" v="103504"/>
          <ac:spMkLst>
            <pc:docMk/>
            <pc:sldMk cId="4074781327" sldId="282"/>
            <ac:spMk id="62" creationId="{403C42BE-64F5-94D7-23F4-C241EBC5E23E}"/>
          </ac:spMkLst>
        </pc:spChg>
        <pc:spChg chg="add del mod">
          <ac:chgData name="Oğuz Öztekin" userId="33c0df0f-d5fe-4bda-8f43-141ad7af67e3" providerId="ADAL" clId="{48B824AD-1B2A-47A8-8D92-6FE6E622A650}" dt="2024-12-16T11:02:57.915" v="35040"/>
          <ac:spMkLst>
            <pc:docMk/>
            <pc:sldMk cId="4074781327" sldId="282"/>
            <ac:spMk id="62" creationId="{5DAB879B-080D-95AE-0595-0737C9D383A1}"/>
          </ac:spMkLst>
        </pc:spChg>
        <pc:spChg chg="add del mod">
          <ac:chgData name="Oğuz Öztekin" userId="33c0df0f-d5fe-4bda-8f43-141ad7af67e3" providerId="ADAL" clId="{48B824AD-1B2A-47A8-8D92-6FE6E622A650}" dt="2024-12-16T11:02:57.915" v="35041"/>
          <ac:spMkLst>
            <pc:docMk/>
            <pc:sldMk cId="4074781327" sldId="282"/>
            <ac:spMk id="63" creationId="{8EB20480-4265-EB85-0768-34EA664668A1}"/>
          </ac:spMkLst>
        </pc:spChg>
        <pc:spChg chg="add del mod modVis">
          <ac:chgData name="Oğuz Öztekin" userId="33c0df0f-d5fe-4bda-8f43-141ad7af67e3" providerId="ADAL" clId="{48B824AD-1B2A-47A8-8D92-6FE6E622A650}" dt="2024-12-16T16:29:01.018" v="105659"/>
          <ac:spMkLst>
            <pc:docMk/>
            <pc:sldMk cId="4074781327" sldId="282"/>
            <ac:spMk id="64" creationId="{0E1C1BEA-8C58-A917-2675-65EF1B1175FF}"/>
          </ac:spMkLst>
        </pc:spChg>
        <pc:spChg chg="add del mod">
          <ac:chgData name="Oğuz Öztekin" userId="33c0df0f-d5fe-4bda-8f43-141ad7af67e3" providerId="ADAL" clId="{48B824AD-1B2A-47A8-8D92-6FE6E622A650}" dt="2024-12-16T11:02:57.915" v="35042"/>
          <ac:spMkLst>
            <pc:docMk/>
            <pc:sldMk cId="4074781327" sldId="282"/>
            <ac:spMk id="64" creationId="{9BFFB7A6-2F2F-18DA-A739-77A364035368}"/>
          </ac:spMkLst>
        </pc:spChg>
        <pc:spChg chg="add del mod">
          <ac:chgData name="Oğuz Öztekin" userId="33c0df0f-d5fe-4bda-8f43-141ad7af67e3" providerId="ADAL" clId="{48B824AD-1B2A-47A8-8D92-6FE6E622A650}" dt="2024-12-16T11:02:57.916" v="35043"/>
          <ac:spMkLst>
            <pc:docMk/>
            <pc:sldMk cId="4074781327" sldId="282"/>
            <ac:spMk id="65" creationId="{1B1DAE92-7C51-B5AD-B9CC-545FECF0635E}"/>
          </ac:spMkLst>
        </pc:spChg>
        <pc:spChg chg="add del mod">
          <ac:chgData name="Oğuz Öztekin" userId="33c0df0f-d5fe-4bda-8f43-141ad7af67e3" providerId="ADAL" clId="{48B824AD-1B2A-47A8-8D92-6FE6E622A650}" dt="2024-12-16T11:02:57.916" v="35044"/>
          <ac:spMkLst>
            <pc:docMk/>
            <pc:sldMk cId="4074781327" sldId="282"/>
            <ac:spMk id="66" creationId="{339285F6-2819-298A-0E30-1E53674821EF}"/>
          </ac:spMkLst>
        </pc:spChg>
        <pc:spChg chg="add del mod modVis">
          <ac:chgData name="Oğuz Öztekin" userId="33c0df0f-d5fe-4bda-8f43-141ad7af67e3" providerId="ADAL" clId="{48B824AD-1B2A-47A8-8D92-6FE6E622A650}" dt="2024-12-16T16:29:03.143" v="105799"/>
          <ac:spMkLst>
            <pc:docMk/>
            <pc:sldMk cId="4074781327" sldId="282"/>
            <ac:spMk id="66" creationId="{9169F477-5E73-D0C9-0EFD-4798E5305A29}"/>
          </ac:spMkLst>
        </pc:spChg>
        <pc:spChg chg="add del mod">
          <ac:chgData name="Oğuz Öztekin" userId="33c0df0f-d5fe-4bda-8f43-141ad7af67e3" providerId="ADAL" clId="{48B824AD-1B2A-47A8-8D92-6FE6E622A650}" dt="2024-12-16T11:02:57.916" v="35045"/>
          <ac:spMkLst>
            <pc:docMk/>
            <pc:sldMk cId="4074781327" sldId="282"/>
            <ac:spMk id="67" creationId="{8F0CB622-C1C2-DF20-28DD-F13EC0E193BB}"/>
          </ac:spMkLst>
        </pc:spChg>
        <pc:spChg chg="add del mod">
          <ac:chgData name="Oğuz Öztekin" userId="33c0df0f-d5fe-4bda-8f43-141ad7af67e3" providerId="ADAL" clId="{48B824AD-1B2A-47A8-8D92-6FE6E622A650}" dt="2024-12-16T11:02:57.917" v="35046"/>
          <ac:spMkLst>
            <pc:docMk/>
            <pc:sldMk cId="4074781327" sldId="282"/>
            <ac:spMk id="68" creationId="{299640F6-E16B-D862-9F46-135781F184DD}"/>
          </ac:spMkLst>
        </pc:spChg>
        <pc:spChg chg="add del mod modVis">
          <ac:chgData name="Oğuz Öztekin" userId="33c0df0f-d5fe-4bda-8f43-141ad7af67e3" providerId="ADAL" clId="{48B824AD-1B2A-47A8-8D92-6FE6E622A650}" dt="2024-12-16T16:29:09.519" v="105929"/>
          <ac:spMkLst>
            <pc:docMk/>
            <pc:sldMk cId="4074781327" sldId="282"/>
            <ac:spMk id="68" creationId="{4C2BD6EB-5E29-771E-C36A-7FAA8F75E15F}"/>
          </ac:spMkLst>
        </pc:spChg>
        <pc:spChg chg="add del mod modVis">
          <ac:chgData name="Oğuz Öztekin" userId="33c0df0f-d5fe-4bda-8f43-141ad7af67e3" providerId="ADAL" clId="{48B824AD-1B2A-47A8-8D92-6FE6E622A650}" dt="2024-12-16T11:02:57.964" v="35144"/>
          <ac:spMkLst>
            <pc:docMk/>
            <pc:sldMk cId="4074781327" sldId="282"/>
            <ac:spMk id="70" creationId="{164560C4-9119-0505-771A-072FA87D604A}"/>
          </ac:spMkLst>
        </pc:spChg>
        <pc:spChg chg="add del mod modVis">
          <ac:chgData name="Oğuz Öztekin" userId="33c0df0f-d5fe-4bda-8f43-141ad7af67e3" providerId="ADAL" clId="{48B824AD-1B2A-47A8-8D92-6FE6E622A650}" dt="2024-12-16T16:29:11.862" v="106057"/>
          <ac:spMkLst>
            <pc:docMk/>
            <pc:sldMk cId="4074781327" sldId="282"/>
            <ac:spMk id="70" creationId="{EF44F075-7DB4-91A0-D38D-3177927F20D9}"/>
          </ac:spMkLst>
        </pc:spChg>
        <pc:spChg chg="mod ord">
          <ac:chgData name="Oğuz Öztekin" userId="33c0df0f-d5fe-4bda-8f43-141ad7af67e3" providerId="ADAL" clId="{48B824AD-1B2A-47A8-8D92-6FE6E622A650}" dt="2024-12-16T16:29:51.693" v="107159"/>
          <ac:spMkLst>
            <pc:docMk/>
            <pc:sldMk cId="4074781327" sldId="282"/>
            <ac:spMk id="72" creationId="{49FE0814-BC2A-C533-BFC5-BA6A8B44DC4A}"/>
          </ac:spMkLst>
        </pc:spChg>
        <pc:spChg chg="add del mod modVis">
          <ac:chgData name="Oğuz Öztekin" userId="33c0df0f-d5fe-4bda-8f43-141ad7af67e3" providerId="ADAL" clId="{48B824AD-1B2A-47A8-8D92-6FE6E622A650}" dt="2024-12-16T16:29:16.369" v="106190"/>
          <ac:spMkLst>
            <pc:docMk/>
            <pc:sldMk cId="4074781327" sldId="282"/>
            <ac:spMk id="76" creationId="{6FD75AE0-80B0-D45C-0611-F78B70BDA711}"/>
          </ac:spMkLst>
        </pc:spChg>
        <pc:spChg chg="add del mod modVis">
          <ac:chgData name="Oğuz Öztekin" userId="33c0df0f-d5fe-4bda-8f43-141ad7af67e3" providerId="ADAL" clId="{48B824AD-1B2A-47A8-8D92-6FE6E622A650}" dt="2024-12-16T11:03:03.983" v="35272"/>
          <ac:spMkLst>
            <pc:docMk/>
            <pc:sldMk cId="4074781327" sldId="282"/>
            <ac:spMk id="76" creationId="{A2C983EE-1C30-B8A6-254D-5B3D48B09AC5}"/>
          </ac:spMkLst>
        </pc:spChg>
        <pc:spChg chg="add del mod modVis">
          <ac:chgData name="Oğuz Öztekin" userId="33c0df0f-d5fe-4bda-8f43-141ad7af67e3" providerId="ADAL" clId="{48B824AD-1B2A-47A8-8D92-6FE6E622A650}" dt="2024-12-16T11:03:10.594" v="35400"/>
          <ac:spMkLst>
            <pc:docMk/>
            <pc:sldMk cId="4074781327" sldId="282"/>
            <ac:spMk id="78" creationId="{614DDB4B-DB97-55B6-2E07-744B4BD266B8}"/>
          </ac:spMkLst>
        </pc:spChg>
        <pc:spChg chg="add del mod modVis">
          <ac:chgData name="Oğuz Öztekin" userId="33c0df0f-d5fe-4bda-8f43-141ad7af67e3" providerId="ADAL" clId="{48B824AD-1B2A-47A8-8D92-6FE6E622A650}" dt="2024-12-16T16:29:16.963" v="106318"/>
          <ac:spMkLst>
            <pc:docMk/>
            <pc:sldMk cId="4074781327" sldId="282"/>
            <ac:spMk id="78" creationId="{A8E8B2B8-1655-94C0-E6FC-B0A32A8A83FD}"/>
          </ac:spMkLst>
        </pc:spChg>
        <pc:spChg chg="add del mod modVis">
          <ac:chgData name="Oğuz Öztekin" userId="33c0df0f-d5fe-4bda-8f43-141ad7af67e3" providerId="ADAL" clId="{48B824AD-1B2A-47A8-8D92-6FE6E622A650}" dt="2024-12-16T11:03:12.696" v="35564"/>
          <ac:spMkLst>
            <pc:docMk/>
            <pc:sldMk cId="4074781327" sldId="282"/>
            <ac:spMk id="80" creationId="{2F622512-4324-44C7-88E9-80CB3AC29055}"/>
          </ac:spMkLst>
        </pc:spChg>
        <pc:spChg chg="add del mod modVis">
          <ac:chgData name="Oğuz Öztekin" userId="33c0df0f-d5fe-4bda-8f43-141ad7af67e3" providerId="ADAL" clId="{48B824AD-1B2A-47A8-8D92-6FE6E622A650}" dt="2024-12-16T16:29:29.099" v="106489"/>
          <ac:spMkLst>
            <pc:docMk/>
            <pc:sldMk cId="4074781327" sldId="282"/>
            <ac:spMk id="80" creationId="{D4A193D3-D87A-BE10-2636-271EFA10923A}"/>
          </ac:spMkLst>
        </pc:spChg>
        <pc:spChg chg="add del mod">
          <ac:chgData name="Oğuz Öztekin" userId="33c0df0f-d5fe-4bda-8f43-141ad7af67e3" providerId="ADAL" clId="{48B824AD-1B2A-47A8-8D92-6FE6E622A650}" dt="2024-12-16T11:03:15.231" v="35719"/>
          <ac:spMkLst>
            <pc:docMk/>
            <pc:sldMk cId="4074781327" sldId="282"/>
            <ac:spMk id="81" creationId="{384C2C88-E6D3-B340-BAD5-D800EAF53262}"/>
          </ac:spMkLst>
        </pc:spChg>
        <pc:spChg chg="add mod">
          <ac:chgData name="Oğuz Öztekin" userId="33c0df0f-d5fe-4bda-8f43-141ad7af67e3" providerId="ADAL" clId="{48B824AD-1B2A-47A8-8D92-6FE6E622A650}" dt="2024-12-16T16:29:51.692" v="107157"/>
          <ac:spMkLst>
            <pc:docMk/>
            <pc:sldMk cId="4074781327" sldId="282"/>
            <ac:spMk id="81" creationId="{BBFAEF73-EE29-1085-D714-64D5706EBF50}"/>
          </ac:spMkLst>
        </pc:spChg>
        <pc:spChg chg="add del mod modVis">
          <ac:chgData name="Oğuz Öztekin" userId="33c0df0f-d5fe-4bda-8f43-141ad7af67e3" providerId="ADAL" clId="{48B824AD-1B2A-47A8-8D92-6FE6E622A650}" dt="2024-12-16T11:03:14.380" v="35672"/>
          <ac:spMkLst>
            <pc:docMk/>
            <pc:sldMk cId="4074781327" sldId="282"/>
            <ac:spMk id="83" creationId="{9DCF4162-16F2-3AC9-8DBA-E62AE1E5514E}"/>
          </ac:spMkLst>
        </pc:spChg>
        <pc:spChg chg="add del mod modVis">
          <ac:chgData name="Oğuz Öztekin" userId="33c0df0f-d5fe-4bda-8f43-141ad7af67e3" providerId="ADAL" clId="{48B824AD-1B2A-47A8-8D92-6FE6E622A650}" dt="2024-12-16T16:29:31.644" v="106622"/>
          <ac:spMkLst>
            <pc:docMk/>
            <pc:sldMk cId="4074781327" sldId="282"/>
            <ac:spMk id="83" creationId="{EE343ADE-BCD4-4D10-1F5A-F99D280AD8AE}"/>
          </ac:spMkLst>
        </pc:spChg>
        <pc:spChg chg="add del mod modVis">
          <ac:chgData name="Oğuz Öztekin" userId="33c0df0f-d5fe-4bda-8f43-141ad7af67e3" providerId="ADAL" clId="{48B824AD-1B2A-47A8-8D92-6FE6E622A650}" dt="2024-12-16T11:03:15.310" v="35854"/>
          <ac:spMkLst>
            <pc:docMk/>
            <pc:sldMk cId="4074781327" sldId="282"/>
            <ac:spMk id="85" creationId="{B2B72250-5C58-F327-BF4B-3A7A2998400E}"/>
          </ac:spMkLst>
        </pc:spChg>
        <pc:spChg chg="add del mod modVis">
          <ac:chgData name="Oğuz Öztekin" userId="33c0df0f-d5fe-4bda-8f43-141ad7af67e3" providerId="ADAL" clId="{48B824AD-1B2A-47A8-8D92-6FE6E622A650}" dt="2024-12-16T16:29:35.906" v="106754"/>
          <ac:spMkLst>
            <pc:docMk/>
            <pc:sldMk cId="4074781327" sldId="282"/>
            <ac:spMk id="85" creationId="{EF29DCDF-5A8B-FBC5-10EA-43E930A738E4}"/>
          </ac:spMkLst>
        </pc:spChg>
        <pc:spChg chg="mod">
          <ac:chgData name="Oğuz Öztekin" userId="33c0df0f-d5fe-4bda-8f43-141ad7af67e3" providerId="ADAL" clId="{48B824AD-1B2A-47A8-8D92-6FE6E622A650}" dt="2024-12-16T16:29:51.690" v="107148"/>
          <ac:spMkLst>
            <pc:docMk/>
            <pc:sldMk cId="4074781327" sldId="282"/>
            <ac:spMk id="86" creationId="{5B91B6A7-24F4-21AE-5638-F5D957F40BC8}"/>
          </ac:spMkLst>
        </pc:spChg>
        <pc:spChg chg="mod">
          <ac:chgData name="Oğuz Öztekin" userId="33c0df0f-d5fe-4bda-8f43-141ad7af67e3" providerId="ADAL" clId="{48B824AD-1B2A-47A8-8D92-6FE6E622A650}" dt="2024-12-16T16:29:51.690" v="107149"/>
          <ac:spMkLst>
            <pc:docMk/>
            <pc:sldMk cId="4074781327" sldId="282"/>
            <ac:spMk id="87" creationId="{12A7A726-9E0C-E2A6-E28E-C2D12119382A}"/>
          </ac:spMkLst>
        </pc:spChg>
        <pc:spChg chg="mod">
          <ac:chgData name="Oğuz Öztekin" userId="33c0df0f-d5fe-4bda-8f43-141ad7af67e3" providerId="ADAL" clId="{48B824AD-1B2A-47A8-8D92-6FE6E622A650}" dt="2024-12-16T16:29:51.690" v="107150"/>
          <ac:spMkLst>
            <pc:docMk/>
            <pc:sldMk cId="4074781327" sldId="282"/>
            <ac:spMk id="88" creationId="{376FCE5C-FD68-2523-A93B-ED14B229FEFB}"/>
          </ac:spMkLst>
        </pc:spChg>
        <pc:spChg chg="mod">
          <ac:chgData name="Oğuz Öztekin" userId="33c0df0f-d5fe-4bda-8f43-141ad7af67e3" providerId="ADAL" clId="{48B824AD-1B2A-47A8-8D92-6FE6E622A650}" dt="2024-12-16T16:29:51.691" v="107151"/>
          <ac:spMkLst>
            <pc:docMk/>
            <pc:sldMk cId="4074781327" sldId="282"/>
            <ac:spMk id="89" creationId="{15A6DFE4-32B0-DB61-26A6-6079F6FF0F68}"/>
          </ac:spMkLst>
        </pc:spChg>
        <pc:spChg chg="mod">
          <ac:chgData name="Oğuz Öztekin" userId="33c0df0f-d5fe-4bda-8f43-141ad7af67e3" providerId="ADAL" clId="{48B824AD-1B2A-47A8-8D92-6FE6E622A650}" dt="2024-12-16T16:29:51.691" v="107152"/>
          <ac:spMkLst>
            <pc:docMk/>
            <pc:sldMk cId="4074781327" sldId="282"/>
            <ac:spMk id="90" creationId="{8C548783-4FA3-D807-5501-548A7A753E00}"/>
          </ac:spMkLst>
        </pc:spChg>
        <pc:spChg chg="mod">
          <ac:chgData name="Oğuz Öztekin" userId="33c0df0f-d5fe-4bda-8f43-141ad7af67e3" providerId="ADAL" clId="{48B824AD-1B2A-47A8-8D92-6FE6E622A650}" dt="2024-12-16T16:29:51.691" v="107153"/>
          <ac:spMkLst>
            <pc:docMk/>
            <pc:sldMk cId="4074781327" sldId="282"/>
            <ac:spMk id="91" creationId="{683F8E8F-1C49-F211-9DE4-8976BD0B71F7}"/>
          </ac:spMkLst>
        </pc:spChg>
        <pc:spChg chg="mod">
          <ac:chgData name="Oğuz Öztekin" userId="33c0df0f-d5fe-4bda-8f43-141ad7af67e3" providerId="ADAL" clId="{48B824AD-1B2A-47A8-8D92-6FE6E622A650}" dt="2024-12-16T16:29:51.692" v="107154"/>
          <ac:spMkLst>
            <pc:docMk/>
            <pc:sldMk cId="4074781327" sldId="282"/>
            <ac:spMk id="92" creationId="{A50E769E-FE86-3420-EC6C-7B5699ED7591}"/>
          </ac:spMkLst>
        </pc:spChg>
        <pc:spChg chg="add del mod">
          <ac:chgData name="Oğuz Öztekin" userId="33c0df0f-d5fe-4bda-8f43-141ad7af67e3" providerId="ADAL" clId="{48B824AD-1B2A-47A8-8D92-6FE6E622A650}" dt="2024-12-16T11:03:18" v="36008"/>
          <ac:spMkLst>
            <pc:docMk/>
            <pc:sldMk cId="4074781327" sldId="282"/>
            <ac:spMk id="93" creationId="{90DECC42-149B-B7AC-E5DA-02931415ABDB}"/>
          </ac:spMkLst>
        </pc:spChg>
        <pc:spChg chg="add del mod modVis">
          <ac:chgData name="Oğuz Öztekin" userId="33c0df0f-d5fe-4bda-8f43-141ad7af67e3" providerId="ADAL" clId="{48B824AD-1B2A-47A8-8D92-6FE6E622A650}" dt="2024-12-16T16:29:45.628" v="106926"/>
          <ac:spMkLst>
            <pc:docMk/>
            <pc:sldMk cId="4074781327" sldId="282"/>
            <ac:spMk id="94" creationId="{2E15EF05-08E5-6B73-1D77-58A8466057B4}"/>
          </ac:spMkLst>
        </pc:spChg>
        <pc:spChg chg="add mod">
          <ac:chgData name="Oğuz Öztekin" userId="33c0df0f-d5fe-4bda-8f43-141ad7af67e3" providerId="ADAL" clId="{48B824AD-1B2A-47A8-8D92-6FE6E622A650}" dt="2024-12-16T16:29:51.700" v="107189"/>
          <ac:spMkLst>
            <pc:docMk/>
            <pc:sldMk cId="4074781327" sldId="282"/>
            <ac:spMk id="95" creationId="{76C6873B-F949-C59E-18C1-41E5419393AE}"/>
          </ac:spMkLst>
        </pc:spChg>
        <pc:spChg chg="add del mod modVis">
          <ac:chgData name="Oğuz Öztekin" userId="33c0df0f-d5fe-4bda-8f43-141ad7af67e3" providerId="ADAL" clId="{48B824AD-1B2A-47A8-8D92-6FE6E622A650}" dt="2024-12-16T11:03:16.771" v="35962"/>
          <ac:spMkLst>
            <pc:docMk/>
            <pc:sldMk cId="4074781327" sldId="282"/>
            <ac:spMk id="95" creationId="{BB4DBA19-0728-F508-4454-9AD3DE62AB2B}"/>
          </ac:spMkLst>
        </pc:spChg>
        <pc:spChg chg="add del mod modVis">
          <ac:chgData name="Oğuz Öztekin" userId="33c0df0f-d5fe-4bda-8f43-141ad7af67e3" providerId="ADAL" clId="{48B824AD-1B2A-47A8-8D92-6FE6E622A650}" dt="2024-12-16T11:03:18.076" v="36128"/>
          <ac:spMkLst>
            <pc:docMk/>
            <pc:sldMk cId="4074781327" sldId="282"/>
            <ac:spMk id="161" creationId="{A94159C4-8D28-7AAD-A01E-96EAB035C39F}"/>
          </ac:spMkLst>
        </pc:spChg>
        <pc:spChg chg="add del mod modVis">
          <ac:chgData name="Oğuz Öztekin" userId="33c0df0f-d5fe-4bda-8f43-141ad7af67e3" providerId="ADAL" clId="{48B824AD-1B2A-47A8-8D92-6FE6E622A650}" dt="2024-12-16T16:29:48.938" v="107060"/>
          <ac:spMkLst>
            <pc:docMk/>
            <pc:sldMk cId="4074781327" sldId="282"/>
            <ac:spMk id="161" creationId="{B2AAC1EA-0C70-AFE4-BAB2-4E97B871F104}"/>
          </ac:spMkLst>
        </pc:spChg>
        <pc:spChg chg="add del mod">
          <ac:chgData name="Oğuz Öztekin" userId="33c0df0f-d5fe-4bda-8f43-141ad7af67e3" providerId="ADAL" clId="{48B824AD-1B2A-47A8-8D92-6FE6E622A650}" dt="2024-12-16T11:03:21.356" v="36281"/>
          <ac:spMkLst>
            <pc:docMk/>
            <pc:sldMk cId="4074781327" sldId="282"/>
            <ac:spMk id="162" creationId="{AC109654-6235-3DA2-AEA3-4390DB044409}"/>
          </ac:spMkLst>
        </pc:spChg>
        <pc:spChg chg="del mod ord">
          <ac:chgData name="Oğuz Öztekin" userId="33c0df0f-d5fe-4bda-8f43-141ad7af67e3" providerId="ADAL" clId="{48B824AD-1B2A-47A8-8D92-6FE6E622A650}" dt="2024-12-16T16:20:02.736" v="96636" actId="478"/>
          <ac:spMkLst>
            <pc:docMk/>
            <pc:sldMk cId="4074781327" sldId="282"/>
            <ac:spMk id="163" creationId="{F6D1B44B-81B3-FB10-1130-25E1701DA79E}"/>
          </ac:spMkLst>
        </pc:spChg>
        <pc:spChg chg="add del mod modVis">
          <ac:chgData name="Oğuz Öztekin" userId="33c0df0f-d5fe-4bda-8f43-141ad7af67e3" providerId="ADAL" clId="{48B824AD-1B2A-47A8-8D92-6FE6E622A650}" dt="2024-12-16T16:29:51.701" v="107193"/>
          <ac:spMkLst>
            <pc:docMk/>
            <pc:sldMk cId="4074781327" sldId="282"/>
            <ac:spMk id="164" creationId="{E6181A77-AB59-75E4-9C88-B44D3AB42D19}"/>
          </ac:spMkLst>
        </pc:spChg>
        <pc:spChg chg="add del mod modVis">
          <ac:chgData name="Oğuz Öztekin" userId="33c0df0f-d5fe-4bda-8f43-141ad7af67e3" providerId="ADAL" clId="{48B824AD-1B2A-47A8-8D92-6FE6E622A650}" dt="2024-12-16T11:03:19.625" v="36236"/>
          <ac:spMkLst>
            <pc:docMk/>
            <pc:sldMk cId="4074781327" sldId="282"/>
            <ac:spMk id="165" creationId="{4622CA05-19B0-6724-C03F-0ACA1CC0B095}"/>
          </ac:spMkLst>
        </pc:spChg>
        <pc:spChg chg="add del mod modVis">
          <ac:chgData name="Oğuz Öztekin" userId="33c0df0f-d5fe-4bda-8f43-141ad7af67e3" providerId="ADAL" clId="{48B824AD-1B2A-47A8-8D92-6FE6E622A650}" dt="2024-12-16T11:03:21.390" v="36345"/>
          <ac:spMkLst>
            <pc:docMk/>
            <pc:sldMk cId="4074781327" sldId="282"/>
            <ac:spMk id="167" creationId="{A3A2BF6F-0EE1-4993-A6E9-661AE55D01D2}"/>
          </ac:spMkLst>
        </pc:spChg>
        <pc:spChg chg="add del mod modVis">
          <ac:chgData name="Oğuz Öztekin" userId="33c0df0f-d5fe-4bda-8f43-141ad7af67e3" providerId="ADAL" clId="{48B824AD-1B2A-47A8-8D92-6FE6E622A650}" dt="2024-12-16T11:03:22.290" v="36509"/>
          <ac:spMkLst>
            <pc:docMk/>
            <pc:sldMk cId="4074781327" sldId="282"/>
            <ac:spMk id="170" creationId="{24CBFF89-0C47-D338-9B8A-8F333C1974B4}"/>
          </ac:spMkLst>
        </pc:spChg>
        <pc:spChg chg="add del mod">
          <ac:chgData name="Oğuz Öztekin" userId="33c0df0f-d5fe-4bda-8f43-141ad7af67e3" providerId="ADAL" clId="{48B824AD-1B2A-47A8-8D92-6FE6E622A650}" dt="2024-12-16T11:03:24.537" v="36661"/>
          <ac:spMkLst>
            <pc:docMk/>
            <pc:sldMk cId="4074781327" sldId="282"/>
            <ac:spMk id="171" creationId="{FB972B3A-4221-E3FE-1151-252581F15C3A}"/>
          </ac:spMkLst>
        </pc:spChg>
        <pc:spChg chg="add del mod modVis">
          <ac:chgData name="Oğuz Öztekin" userId="33c0df0f-d5fe-4bda-8f43-141ad7af67e3" providerId="ADAL" clId="{48B824AD-1B2A-47A8-8D92-6FE6E622A650}" dt="2024-12-16T11:03:23.594" v="36617"/>
          <ac:spMkLst>
            <pc:docMk/>
            <pc:sldMk cId="4074781327" sldId="282"/>
            <ac:spMk id="173" creationId="{533226E7-09BB-5064-8CF7-542619258379}"/>
          </ac:spMkLst>
        </pc:spChg>
        <pc:spChg chg="add del mod modVis">
          <ac:chgData name="Oğuz Öztekin" userId="33c0df0f-d5fe-4bda-8f43-141ad7af67e3" providerId="ADAL" clId="{48B824AD-1B2A-47A8-8D92-6FE6E622A650}" dt="2024-12-16T11:03:24.616" v="36783"/>
          <ac:spMkLst>
            <pc:docMk/>
            <pc:sldMk cId="4074781327" sldId="282"/>
            <ac:spMk id="175" creationId="{7FFD3F38-F4DE-D571-9E1E-211430834580}"/>
          </ac:spMkLst>
        </pc:spChg>
        <pc:spChg chg="add del mod">
          <ac:chgData name="Oğuz Öztekin" userId="33c0df0f-d5fe-4bda-8f43-141ad7af67e3" providerId="ADAL" clId="{48B824AD-1B2A-47A8-8D92-6FE6E622A650}" dt="2024-12-16T11:03:27.778" v="36934"/>
          <ac:spMkLst>
            <pc:docMk/>
            <pc:sldMk cId="4074781327" sldId="282"/>
            <ac:spMk id="176" creationId="{AC2B0741-32F2-789A-3111-9114887B7F48}"/>
          </ac:spMkLst>
        </pc:spChg>
        <pc:spChg chg="add del mod modVis">
          <ac:chgData name="Oğuz Öztekin" userId="33c0df0f-d5fe-4bda-8f43-141ad7af67e3" providerId="ADAL" clId="{48B824AD-1B2A-47A8-8D92-6FE6E622A650}" dt="2024-12-16T11:03:26.935" v="36891"/>
          <ac:spMkLst>
            <pc:docMk/>
            <pc:sldMk cId="4074781327" sldId="282"/>
            <ac:spMk id="179" creationId="{3B35DFC7-E5D4-C25B-5046-177064392684}"/>
          </ac:spMkLst>
        </pc:spChg>
        <pc:spChg chg="add del mod modVis">
          <ac:chgData name="Oğuz Öztekin" userId="33c0df0f-d5fe-4bda-8f43-141ad7af67e3" providerId="ADAL" clId="{48B824AD-1B2A-47A8-8D92-6FE6E622A650}" dt="2024-12-16T11:03:27.856" v="37057"/>
          <ac:spMkLst>
            <pc:docMk/>
            <pc:sldMk cId="4074781327" sldId="282"/>
            <ac:spMk id="181" creationId="{739FFB5E-74F8-6021-7B65-3430C360E9BF}"/>
          </ac:spMkLst>
        </pc:spChg>
        <pc:spChg chg="add del mod">
          <ac:chgData name="Oğuz Öztekin" userId="33c0df0f-d5fe-4bda-8f43-141ad7af67e3" providerId="ADAL" clId="{48B824AD-1B2A-47A8-8D92-6FE6E622A650}" dt="2024-12-16T11:03:32.370" v="37207"/>
          <ac:spMkLst>
            <pc:docMk/>
            <pc:sldMk cId="4074781327" sldId="282"/>
            <ac:spMk id="182" creationId="{5CA585F6-64BA-EFCE-513B-BDDA68FB9FD0}"/>
          </ac:spMkLst>
        </pc:spChg>
        <pc:spChg chg="add del mod modVis">
          <ac:chgData name="Oğuz Öztekin" userId="33c0df0f-d5fe-4bda-8f43-141ad7af67e3" providerId="ADAL" clId="{48B824AD-1B2A-47A8-8D92-6FE6E622A650}" dt="2024-12-16T11:03:29.400" v="37165"/>
          <ac:spMkLst>
            <pc:docMk/>
            <pc:sldMk cId="4074781327" sldId="282"/>
            <ac:spMk id="184" creationId="{E9EE21B8-AF1A-CB2E-CDCF-2DDF09C71142}"/>
          </ac:spMkLst>
        </pc:spChg>
        <pc:spChg chg="add del mod modVis">
          <ac:chgData name="Oğuz Öztekin" userId="33c0df0f-d5fe-4bda-8f43-141ad7af67e3" providerId="ADAL" clId="{48B824AD-1B2A-47A8-8D92-6FE6E622A650}" dt="2024-12-16T11:03:32.404" v="37270"/>
          <ac:spMkLst>
            <pc:docMk/>
            <pc:sldMk cId="4074781327" sldId="282"/>
            <ac:spMk id="186" creationId="{37812A60-9923-3E61-B946-BC8988728686}"/>
          </ac:spMkLst>
        </pc:spChg>
        <pc:spChg chg="add del mod modVis">
          <ac:chgData name="Oğuz Öztekin" userId="33c0df0f-d5fe-4bda-8f43-141ad7af67e3" providerId="ADAL" clId="{48B824AD-1B2A-47A8-8D92-6FE6E622A650}" dt="2024-12-16T11:03:35.081" v="37647"/>
          <ac:spMkLst>
            <pc:docMk/>
            <pc:sldMk cId="4074781327" sldId="282"/>
            <ac:spMk id="188" creationId="{682D5A3B-5EA4-DE8B-D5C8-E1AAC152B56D}"/>
          </ac:spMkLst>
        </pc:spChg>
        <pc:spChg chg="add mod">
          <ac:chgData name="Oğuz Öztekin" userId="33c0df0f-d5fe-4bda-8f43-141ad7af67e3" providerId="ADAL" clId="{48B824AD-1B2A-47A8-8D92-6FE6E622A650}" dt="2024-12-16T16:29:51.685" v="107130"/>
          <ac:spMkLst>
            <pc:docMk/>
            <pc:sldMk cId="4074781327" sldId="282"/>
            <ac:spMk id="189" creationId="{C76CD896-0E1A-3D53-745B-F0D8E0C469A2}"/>
          </ac:spMkLst>
        </pc:spChg>
        <pc:spChg chg="add mod">
          <ac:chgData name="Oğuz Öztekin" userId="33c0df0f-d5fe-4bda-8f43-141ad7af67e3" providerId="ADAL" clId="{48B824AD-1B2A-47A8-8D92-6FE6E622A650}" dt="2024-12-16T16:29:51.685" v="107131"/>
          <ac:spMkLst>
            <pc:docMk/>
            <pc:sldMk cId="4074781327" sldId="282"/>
            <ac:spMk id="190" creationId="{4182C714-DFCC-74E1-51C2-72BFBFF22910}"/>
          </ac:spMkLst>
        </pc:spChg>
        <pc:spChg chg="add mod">
          <ac:chgData name="Oğuz Öztekin" userId="33c0df0f-d5fe-4bda-8f43-141ad7af67e3" providerId="ADAL" clId="{48B824AD-1B2A-47A8-8D92-6FE6E622A650}" dt="2024-12-16T16:29:51.686" v="107132"/>
          <ac:spMkLst>
            <pc:docMk/>
            <pc:sldMk cId="4074781327" sldId="282"/>
            <ac:spMk id="191" creationId="{2D17B87C-81A7-4E09-84F8-A7B8608123CD}"/>
          </ac:spMkLst>
        </pc:spChg>
        <pc:spChg chg="add mod">
          <ac:chgData name="Oğuz Öztekin" userId="33c0df0f-d5fe-4bda-8f43-141ad7af67e3" providerId="ADAL" clId="{48B824AD-1B2A-47A8-8D92-6FE6E622A650}" dt="2024-12-16T16:29:51.686" v="107133"/>
          <ac:spMkLst>
            <pc:docMk/>
            <pc:sldMk cId="4074781327" sldId="282"/>
            <ac:spMk id="192" creationId="{FC970EE3-9902-FC13-75A5-0A04B78A3A9D}"/>
          </ac:spMkLst>
        </pc:spChg>
        <pc:spChg chg="add mod">
          <ac:chgData name="Oğuz Öztekin" userId="33c0df0f-d5fe-4bda-8f43-141ad7af67e3" providerId="ADAL" clId="{48B824AD-1B2A-47A8-8D92-6FE6E622A650}" dt="2024-12-16T16:29:51.687" v="107134"/>
          <ac:spMkLst>
            <pc:docMk/>
            <pc:sldMk cId="4074781327" sldId="282"/>
            <ac:spMk id="193" creationId="{30265C5A-37E6-113F-F4BF-0077EE144959}"/>
          </ac:spMkLst>
        </pc:spChg>
        <pc:spChg chg="add mod">
          <ac:chgData name="Oğuz Öztekin" userId="33c0df0f-d5fe-4bda-8f43-141ad7af67e3" providerId="ADAL" clId="{48B824AD-1B2A-47A8-8D92-6FE6E622A650}" dt="2024-12-16T16:29:51.687" v="107135"/>
          <ac:spMkLst>
            <pc:docMk/>
            <pc:sldMk cId="4074781327" sldId="282"/>
            <ac:spMk id="194" creationId="{E71DB78E-4EF8-85CE-8D51-459202858ACE}"/>
          </ac:spMkLst>
        </pc:spChg>
        <pc:spChg chg="add del mod modVis">
          <ac:chgData name="Oğuz Öztekin" userId="33c0df0f-d5fe-4bda-8f43-141ad7af67e3" providerId="ADAL" clId="{48B824AD-1B2A-47A8-8D92-6FE6E622A650}" dt="2024-12-16T11:03:38.836" v="38036"/>
          <ac:spMkLst>
            <pc:docMk/>
            <pc:sldMk cId="4074781327" sldId="282"/>
            <ac:spMk id="196" creationId="{DE1215DF-2074-0B40-3799-70E89344295C}"/>
          </ac:spMkLst>
        </pc:spChg>
        <pc:spChg chg="add del mod">
          <ac:chgData name="Oğuz Öztekin" userId="33c0df0f-d5fe-4bda-8f43-141ad7af67e3" providerId="ADAL" clId="{48B824AD-1B2A-47A8-8D92-6FE6E622A650}" dt="2024-12-16T11:03:55.511" v="38960"/>
          <ac:spMkLst>
            <pc:docMk/>
            <pc:sldMk cId="4074781327" sldId="282"/>
            <ac:spMk id="197" creationId="{A34A9097-9EFA-8A5D-5C16-F00C052225F5}"/>
          </ac:spMkLst>
        </pc:spChg>
        <pc:spChg chg="add del mod">
          <ac:chgData name="Oğuz Öztekin" userId="33c0df0f-d5fe-4bda-8f43-141ad7af67e3" providerId="ADAL" clId="{48B824AD-1B2A-47A8-8D92-6FE6E622A650}" dt="2024-12-16T11:03:54.577" v="38841"/>
          <ac:spMkLst>
            <pc:docMk/>
            <pc:sldMk cId="4074781327" sldId="282"/>
            <ac:spMk id="198" creationId="{8DF6ED3E-BC31-9AB0-97EB-02B024658CBF}"/>
          </ac:spMkLst>
        </pc:spChg>
        <pc:spChg chg="add del mod">
          <ac:chgData name="Oğuz Öztekin" userId="33c0df0f-d5fe-4bda-8f43-141ad7af67e3" providerId="ADAL" clId="{48B824AD-1B2A-47A8-8D92-6FE6E622A650}" dt="2024-12-16T11:03:53.639" v="38719"/>
          <ac:spMkLst>
            <pc:docMk/>
            <pc:sldMk cId="4074781327" sldId="282"/>
            <ac:spMk id="199" creationId="{7A586376-5FE9-208C-B5F6-CAF6DCAD7C1E}"/>
          </ac:spMkLst>
        </pc:spChg>
        <pc:spChg chg="add del mod">
          <ac:chgData name="Oğuz Öztekin" userId="33c0df0f-d5fe-4bda-8f43-141ad7af67e3" providerId="ADAL" clId="{48B824AD-1B2A-47A8-8D92-6FE6E622A650}" dt="2024-12-16T11:03:52.059" v="38595"/>
          <ac:spMkLst>
            <pc:docMk/>
            <pc:sldMk cId="4074781327" sldId="282"/>
            <ac:spMk id="200" creationId="{351025E7-E98F-69B6-B62D-1B0D0B4BE42B}"/>
          </ac:spMkLst>
        </pc:spChg>
        <pc:spChg chg="add del mod modVis">
          <ac:chgData name="Oğuz Öztekin" userId="33c0df0f-d5fe-4bda-8f43-141ad7af67e3" providerId="ADAL" clId="{48B824AD-1B2A-47A8-8D92-6FE6E622A650}" dt="2024-12-16T11:03:41.678" v="38301"/>
          <ac:spMkLst>
            <pc:docMk/>
            <pc:sldMk cId="4074781327" sldId="282"/>
            <ac:spMk id="202" creationId="{0B1E66BA-9F26-B1FB-20B9-FAF7E7FF5CEC}"/>
          </ac:spMkLst>
        </pc:spChg>
        <pc:spChg chg="add del mod modVis">
          <ac:chgData name="Oğuz Öztekin" userId="33c0df0f-d5fe-4bda-8f43-141ad7af67e3" providerId="ADAL" clId="{48B824AD-1B2A-47A8-8D92-6FE6E622A650}" dt="2024-12-16T11:03:42.898" v="38424"/>
          <ac:spMkLst>
            <pc:docMk/>
            <pc:sldMk cId="4074781327" sldId="282"/>
            <ac:spMk id="204" creationId="{65B1D16B-4EDF-C062-3B08-204E4A25754E}"/>
          </ac:spMkLst>
        </pc:spChg>
        <pc:spChg chg="add del mod modVis">
          <ac:chgData name="Oğuz Öztekin" userId="33c0df0f-d5fe-4bda-8f43-141ad7af67e3" providerId="ADAL" clId="{48B824AD-1B2A-47A8-8D92-6FE6E622A650}" dt="2024-12-16T11:03:50.675" v="38550"/>
          <ac:spMkLst>
            <pc:docMk/>
            <pc:sldMk cId="4074781327" sldId="282"/>
            <ac:spMk id="206" creationId="{066E5C26-E9CC-8065-18F4-A3549A77F358}"/>
          </ac:spMkLst>
        </pc:spChg>
        <pc:spChg chg="add del mod modVis">
          <ac:chgData name="Oğuz Öztekin" userId="33c0df0f-d5fe-4bda-8f43-141ad7af67e3" providerId="ADAL" clId="{48B824AD-1B2A-47A8-8D92-6FE6E622A650}" dt="2024-12-16T11:03:52.100" v="38676"/>
          <ac:spMkLst>
            <pc:docMk/>
            <pc:sldMk cId="4074781327" sldId="282"/>
            <ac:spMk id="208" creationId="{94002434-C383-2CEF-00EE-B8683B64E363}"/>
          </ac:spMkLst>
        </pc:spChg>
        <pc:spChg chg="add del mod modVis">
          <ac:chgData name="Oğuz Öztekin" userId="33c0df0f-d5fe-4bda-8f43-141ad7af67e3" providerId="ADAL" clId="{48B824AD-1B2A-47A8-8D92-6FE6E622A650}" dt="2024-12-16T11:03:53.680" v="38800"/>
          <ac:spMkLst>
            <pc:docMk/>
            <pc:sldMk cId="4074781327" sldId="282"/>
            <ac:spMk id="210" creationId="{5CF55B36-A4FD-6D8B-8E9D-21121572072C}"/>
          </ac:spMkLst>
        </pc:spChg>
        <pc:spChg chg="add del mod modVis">
          <ac:chgData name="Oğuz Öztekin" userId="33c0df0f-d5fe-4bda-8f43-141ad7af67e3" providerId="ADAL" clId="{48B824AD-1B2A-47A8-8D92-6FE6E622A650}" dt="2024-12-16T11:03:54.617" v="38922"/>
          <ac:spMkLst>
            <pc:docMk/>
            <pc:sldMk cId="4074781327" sldId="282"/>
            <ac:spMk id="212" creationId="{6E76CC07-22BF-60F4-0B1A-CF1CB1FDCDAD}"/>
          </ac:spMkLst>
        </pc:spChg>
        <pc:spChg chg="add del mod modVis">
          <ac:chgData name="Oğuz Öztekin" userId="33c0df0f-d5fe-4bda-8f43-141ad7af67e3" providerId="ADAL" clId="{48B824AD-1B2A-47A8-8D92-6FE6E622A650}" dt="2024-12-16T11:03:55.550" v="39039"/>
          <ac:spMkLst>
            <pc:docMk/>
            <pc:sldMk cId="4074781327" sldId="282"/>
            <ac:spMk id="214" creationId="{54AD188E-B81F-DFA6-DF4B-0748F5CD71FA}"/>
          </ac:spMkLst>
        </pc:spChg>
        <pc:spChg chg="add del mod modVis">
          <ac:chgData name="Oğuz Öztekin" userId="33c0df0f-d5fe-4bda-8f43-141ad7af67e3" providerId="ADAL" clId="{48B824AD-1B2A-47A8-8D92-6FE6E622A650}" dt="2024-12-16T11:04:12.137" v="39073"/>
          <ac:spMkLst>
            <pc:docMk/>
            <pc:sldMk cId="4074781327" sldId="282"/>
            <ac:spMk id="216" creationId="{16F5B6FF-ED93-3297-B1AC-9AB06DF11081}"/>
          </ac:spMkLst>
        </pc:spChg>
        <pc:spChg chg="add del mod modVis">
          <ac:chgData name="Oğuz Öztekin" userId="33c0df0f-d5fe-4bda-8f43-141ad7af67e3" providerId="ADAL" clId="{48B824AD-1B2A-47A8-8D92-6FE6E622A650}" dt="2024-12-16T11:04:15.547" v="39108"/>
          <ac:spMkLst>
            <pc:docMk/>
            <pc:sldMk cId="4074781327" sldId="282"/>
            <ac:spMk id="217" creationId="{1F98E906-3F7E-BAA7-AD2D-5593D5147496}"/>
          </ac:spMkLst>
        </pc:spChg>
        <pc:spChg chg="add del mod modVis">
          <ac:chgData name="Oğuz Öztekin" userId="33c0df0f-d5fe-4bda-8f43-141ad7af67e3" providerId="ADAL" clId="{48B824AD-1B2A-47A8-8D92-6FE6E622A650}" dt="2024-12-16T11:04:17.066" v="39136"/>
          <ac:spMkLst>
            <pc:docMk/>
            <pc:sldMk cId="4074781327" sldId="282"/>
            <ac:spMk id="218" creationId="{B7734087-672E-3302-FE4F-0A06084F69F3}"/>
          </ac:spMkLst>
        </pc:spChg>
        <pc:spChg chg="add del mod modVis">
          <ac:chgData name="Oğuz Öztekin" userId="33c0df0f-d5fe-4bda-8f43-141ad7af67e3" providerId="ADAL" clId="{48B824AD-1B2A-47A8-8D92-6FE6E622A650}" dt="2024-12-16T11:04:29.017" v="39370"/>
          <ac:spMkLst>
            <pc:docMk/>
            <pc:sldMk cId="4074781327" sldId="282"/>
            <ac:spMk id="219" creationId="{2982E9C9-5B22-D976-7180-07353E64475A}"/>
          </ac:spMkLst>
        </pc:spChg>
        <pc:spChg chg="add del mod modVis">
          <ac:chgData name="Oğuz Öztekin" userId="33c0df0f-d5fe-4bda-8f43-141ad7af67e3" providerId="ADAL" clId="{48B824AD-1B2A-47A8-8D92-6FE6E622A650}" dt="2024-12-16T11:04:33.939" v="39553"/>
          <ac:spMkLst>
            <pc:docMk/>
            <pc:sldMk cId="4074781327" sldId="282"/>
            <ac:spMk id="221" creationId="{6384151A-C5BB-EA0F-4685-CF0155440832}"/>
          </ac:spMkLst>
        </pc:spChg>
        <pc:spChg chg="add del mod modVis">
          <ac:chgData name="Oğuz Öztekin" userId="33c0df0f-d5fe-4bda-8f43-141ad7af67e3" providerId="ADAL" clId="{48B824AD-1B2A-47A8-8D92-6FE6E622A650}" dt="2024-12-16T11:04:36.590" v="39663"/>
          <ac:spMkLst>
            <pc:docMk/>
            <pc:sldMk cId="4074781327" sldId="282"/>
            <ac:spMk id="223" creationId="{7404AA6B-E0E8-1372-A3B2-A1F3B9A4AAE8}"/>
          </ac:spMkLst>
        </pc:spChg>
        <pc:spChg chg="add del mod modVis">
          <ac:chgData name="Oğuz Öztekin" userId="33c0df0f-d5fe-4bda-8f43-141ad7af67e3" providerId="ADAL" clId="{48B824AD-1B2A-47A8-8D92-6FE6E622A650}" dt="2024-12-16T16:19:52.901" v="96580"/>
          <ac:spMkLst>
            <pc:docMk/>
            <pc:sldMk cId="4074781327" sldId="282"/>
            <ac:spMk id="224" creationId="{34C3ED9B-A85A-6E59-483C-B4765A3218D0}"/>
          </ac:spMkLst>
        </pc:spChg>
        <pc:spChg chg="add del mod modVis">
          <ac:chgData name="Oğuz Öztekin" userId="33c0df0f-d5fe-4bda-8f43-141ad7af67e3" providerId="ADAL" clId="{48B824AD-1B2A-47A8-8D92-6FE6E622A650}" dt="2024-12-16T16:19:56.630" v="96605"/>
          <ac:spMkLst>
            <pc:docMk/>
            <pc:sldMk cId="4074781327" sldId="282"/>
            <ac:spMk id="225" creationId="{BC8E36A0-1F6C-C601-6969-2F254110ADEF}"/>
          </ac:spMkLst>
        </pc:spChg>
        <pc:spChg chg="add del mod modVis">
          <ac:chgData name="Oğuz Öztekin" userId="33c0df0f-d5fe-4bda-8f43-141ad7af67e3" providerId="ADAL" clId="{48B824AD-1B2A-47A8-8D92-6FE6E622A650}" dt="2024-12-16T11:04:48.662" v="39921"/>
          <ac:spMkLst>
            <pc:docMk/>
            <pc:sldMk cId="4074781327" sldId="282"/>
            <ac:spMk id="225" creationId="{E199D03D-5CDE-3407-408D-961880AEA5E7}"/>
          </ac:spMkLst>
        </pc:spChg>
        <pc:spChg chg="add del mod modVis">
          <ac:chgData name="Oğuz Öztekin" userId="33c0df0f-d5fe-4bda-8f43-141ad7af67e3" providerId="ADAL" clId="{48B824AD-1B2A-47A8-8D92-6FE6E622A650}" dt="2024-12-16T16:19:57.889" v="96633"/>
          <ac:spMkLst>
            <pc:docMk/>
            <pc:sldMk cId="4074781327" sldId="282"/>
            <ac:spMk id="232" creationId="{40A16AF3-8B56-CAAF-4D7D-22075B8CEB75}"/>
          </ac:spMkLst>
        </pc:spChg>
        <pc:spChg chg="add del mod modVis">
          <ac:chgData name="Oğuz Öztekin" userId="33c0df0f-d5fe-4bda-8f43-141ad7af67e3" providerId="ADAL" clId="{48B824AD-1B2A-47A8-8D92-6FE6E622A650}" dt="2024-12-16T16:21:59.860" v="98021"/>
          <ac:spMkLst>
            <pc:docMk/>
            <pc:sldMk cId="4074781327" sldId="282"/>
            <ac:spMk id="233" creationId="{0BFA4744-3D28-318A-016A-8C9EBF859A72}"/>
          </ac:spMkLst>
        </pc:spChg>
        <pc:spChg chg="add del mod modVis">
          <ac:chgData name="Oğuz Öztekin" userId="33c0df0f-d5fe-4bda-8f43-141ad7af67e3" providerId="ADAL" clId="{48B824AD-1B2A-47A8-8D92-6FE6E622A650}" dt="2024-12-16T11:04:53.540" v="40068"/>
          <ac:spMkLst>
            <pc:docMk/>
            <pc:sldMk cId="4074781327" sldId="282"/>
            <ac:spMk id="233" creationId="{AC8AF383-2F69-4A09-20EA-AFC7F5490760}"/>
          </ac:spMkLst>
        </pc:spChg>
        <pc:spChg chg="add del mod modVis">
          <ac:chgData name="Oğuz Öztekin" userId="33c0df0f-d5fe-4bda-8f43-141ad7af67e3" providerId="ADAL" clId="{48B824AD-1B2A-47A8-8D92-6FE6E622A650}" dt="2024-12-16T11:04:56.855" v="40464"/>
          <ac:spMkLst>
            <pc:docMk/>
            <pc:sldMk cId="4074781327" sldId="282"/>
            <ac:spMk id="235" creationId="{B7A4B658-4E82-6A06-0A6E-A915D8200E5D}"/>
          </ac:spMkLst>
        </pc:spChg>
        <pc:spChg chg="add del mod modVis">
          <ac:chgData name="Oğuz Öztekin" userId="33c0df0f-d5fe-4bda-8f43-141ad7af67e3" providerId="ADAL" clId="{48B824AD-1B2A-47A8-8D92-6FE6E622A650}" dt="2024-12-16T16:22:02.771" v="98224"/>
          <ac:spMkLst>
            <pc:docMk/>
            <pc:sldMk cId="4074781327" sldId="282"/>
            <ac:spMk id="235" creationId="{D0C238B6-5D9D-9E5F-07E1-C93D217CF4DA}"/>
          </ac:spMkLst>
        </pc:spChg>
        <pc:spChg chg="add del mod">
          <ac:chgData name="Oğuz Öztekin" userId="33c0df0f-d5fe-4bda-8f43-141ad7af67e3" providerId="ADAL" clId="{48B824AD-1B2A-47A8-8D92-6FE6E622A650}" dt="2024-12-16T11:04:57.544" v="40517"/>
          <ac:spMkLst>
            <pc:docMk/>
            <pc:sldMk cId="4074781327" sldId="282"/>
            <ac:spMk id="236" creationId="{D8C26D89-95FE-0CEC-F295-9D184924150D}"/>
          </ac:spMkLst>
        </pc:spChg>
        <pc:spChg chg="add del mod">
          <ac:chgData name="Oğuz Öztekin" userId="33c0df0f-d5fe-4bda-8f43-141ad7af67e3" providerId="ADAL" clId="{48B824AD-1B2A-47A8-8D92-6FE6E622A650}" dt="2024-12-16T11:04:57.545" v="40518"/>
          <ac:spMkLst>
            <pc:docMk/>
            <pc:sldMk cId="4074781327" sldId="282"/>
            <ac:spMk id="237" creationId="{59E33AD8-3152-311A-5C80-AA8EDB4A51C0}"/>
          </ac:spMkLst>
        </pc:spChg>
        <pc:spChg chg="add del mod modVis">
          <ac:chgData name="Oğuz Öztekin" userId="33c0df0f-d5fe-4bda-8f43-141ad7af67e3" providerId="ADAL" clId="{48B824AD-1B2A-47A8-8D92-6FE6E622A650}" dt="2024-12-16T16:22:04.861" v="98409"/>
          <ac:spMkLst>
            <pc:docMk/>
            <pc:sldMk cId="4074781327" sldId="282"/>
            <ac:spMk id="237" creationId="{82290D30-7826-068C-93E9-9971FE090D6D}"/>
          </ac:spMkLst>
        </pc:spChg>
        <pc:spChg chg="add del mod">
          <ac:chgData name="Oğuz Öztekin" userId="33c0df0f-d5fe-4bda-8f43-141ad7af67e3" providerId="ADAL" clId="{48B824AD-1B2A-47A8-8D92-6FE6E622A650}" dt="2024-12-16T11:04:57.545" v="40519"/>
          <ac:spMkLst>
            <pc:docMk/>
            <pc:sldMk cId="4074781327" sldId="282"/>
            <ac:spMk id="238" creationId="{9B4CE005-40FE-3793-79B8-7CA1D16678F3}"/>
          </ac:spMkLst>
        </pc:spChg>
        <pc:spChg chg="add del mod modVis">
          <ac:chgData name="Oğuz Öztekin" userId="33c0df0f-d5fe-4bda-8f43-141ad7af67e3" providerId="ADAL" clId="{48B824AD-1B2A-47A8-8D92-6FE6E622A650}" dt="2024-12-16T16:22:07.129" v="98563"/>
          <ac:spMkLst>
            <pc:docMk/>
            <pc:sldMk cId="4074781327" sldId="282"/>
            <ac:spMk id="239" creationId="{2A0E2F1A-3390-58C0-8019-ABCA83D33D7B}"/>
          </ac:spMkLst>
        </pc:spChg>
        <pc:spChg chg="add del mod">
          <ac:chgData name="Oğuz Öztekin" userId="33c0df0f-d5fe-4bda-8f43-141ad7af67e3" providerId="ADAL" clId="{48B824AD-1B2A-47A8-8D92-6FE6E622A650}" dt="2024-12-16T11:04:57.545" v="40520"/>
          <ac:spMkLst>
            <pc:docMk/>
            <pc:sldMk cId="4074781327" sldId="282"/>
            <ac:spMk id="239" creationId="{7EC2CE41-DD38-2128-487F-E7F79F8F38B7}"/>
          </ac:spMkLst>
        </pc:spChg>
        <pc:spChg chg="add del mod">
          <ac:chgData name="Oğuz Öztekin" userId="33c0df0f-d5fe-4bda-8f43-141ad7af67e3" providerId="ADAL" clId="{48B824AD-1B2A-47A8-8D92-6FE6E622A650}" dt="2024-12-16T11:04:57.546" v="40521"/>
          <ac:spMkLst>
            <pc:docMk/>
            <pc:sldMk cId="4074781327" sldId="282"/>
            <ac:spMk id="240" creationId="{EC1359A3-0082-D453-2A6D-D21B10BFBAD3}"/>
          </ac:spMkLst>
        </pc:spChg>
        <pc:spChg chg="add del mod modVis">
          <ac:chgData name="Oğuz Öztekin" userId="33c0df0f-d5fe-4bda-8f43-141ad7af67e3" providerId="ADAL" clId="{48B824AD-1B2A-47A8-8D92-6FE6E622A650}" dt="2024-12-16T16:22:10.759" v="98588"/>
          <ac:spMkLst>
            <pc:docMk/>
            <pc:sldMk cId="4074781327" sldId="282"/>
            <ac:spMk id="241" creationId="{119F86D8-C600-C867-5C58-073632489851}"/>
          </ac:spMkLst>
        </pc:spChg>
        <pc:spChg chg="add del mod">
          <ac:chgData name="Oğuz Öztekin" userId="33c0df0f-d5fe-4bda-8f43-141ad7af67e3" providerId="ADAL" clId="{48B824AD-1B2A-47A8-8D92-6FE6E622A650}" dt="2024-12-16T11:04:57.547" v="40522"/>
          <ac:spMkLst>
            <pc:docMk/>
            <pc:sldMk cId="4074781327" sldId="282"/>
            <ac:spMk id="241" creationId="{405EFB34-06C8-5944-3827-8CE5CD327BF4}"/>
          </ac:spMkLst>
        </pc:spChg>
        <pc:spChg chg="add del mod modVis">
          <ac:chgData name="Oğuz Öztekin" userId="33c0df0f-d5fe-4bda-8f43-141ad7af67e3" providerId="ADAL" clId="{48B824AD-1B2A-47A8-8D92-6FE6E622A650}" dt="2024-12-16T16:22:15.198" v="98628"/>
          <ac:spMkLst>
            <pc:docMk/>
            <pc:sldMk cId="4074781327" sldId="282"/>
            <ac:spMk id="242" creationId="{AC6D4752-4461-6A01-5AC3-3C9AFF1BE5A0}"/>
          </ac:spMkLst>
        </pc:spChg>
        <pc:spChg chg="add del mod modVis">
          <ac:chgData name="Oğuz Öztekin" userId="33c0df0f-d5fe-4bda-8f43-141ad7af67e3" providerId="ADAL" clId="{48B824AD-1B2A-47A8-8D92-6FE6E622A650}" dt="2024-12-16T11:04:57.597" v="40598"/>
          <ac:spMkLst>
            <pc:docMk/>
            <pc:sldMk cId="4074781327" sldId="282"/>
            <ac:spMk id="243" creationId="{73AA8DC3-0A22-41FB-4799-1A3A24F14D75}"/>
          </ac:spMkLst>
        </pc:spChg>
        <pc:spChg chg="add del mod modVis">
          <ac:chgData name="Oğuz Öztekin" userId="33c0df0f-d5fe-4bda-8f43-141ad7af67e3" providerId="ADAL" clId="{48B824AD-1B2A-47A8-8D92-6FE6E622A650}" dt="2024-12-16T16:22:17.798" v="98660"/>
          <ac:spMkLst>
            <pc:docMk/>
            <pc:sldMk cId="4074781327" sldId="282"/>
            <ac:spMk id="243" creationId="{D5D869DD-F4AE-30D5-58A9-407DEC5A26B9}"/>
          </ac:spMkLst>
        </pc:spChg>
        <pc:spChg chg="add del mod modVis">
          <ac:chgData name="Oğuz Öztekin" userId="33c0df0f-d5fe-4bda-8f43-141ad7af67e3" providerId="ADAL" clId="{48B824AD-1B2A-47A8-8D92-6FE6E622A650}" dt="2024-12-16T16:22:19.959" v="98686"/>
          <ac:spMkLst>
            <pc:docMk/>
            <pc:sldMk cId="4074781327" sldId="282"/>
            <ac:spMk id="244" creationId="{ECA523CA-EEAE-D7A8-105A-7316C35F7165}"/>
          </ac:spMkLst>
        </pc:spChg>
        <pc:spChg chg="add del mod modVis">
          <ac:chgData name="Oğuz Öztekin" userId="33c0df0f-d5fe-4bda-8f43-141ad7af67e3" providerId="ADAL" clId="{48B824AD-1B2A-47A8-8D92-6FE6E622A650}" dt="2024-12-16T11:05:00.111" v="40994"/>
          <ac:spMkLst>
            <pc:docMk/>
            <pc:sldMk cId="4074781327" sldId="282"/>
            <ac:spMk id="245" creationId="{0EF0FF7F-6B24-BB82-164D-1FB2ECCB1F77}"/>
          </ac:spMkLst>
        </pc:spChg>
        <pc:spChg chg="add del mod modVis">
          <ac:chgData name="Oğuz Öztekin" userId="33c0df0f-d5fe-4bda-8f43-141ad7af67e3" providerId="ADAL" clId="{48B824AD-1B2A-47A8-8D92-6FE6E622A650}" dt="2024-12-16T16:22:21.844" v="98714"/>
          <ac:spMkLst>
            <pc:docMk/>
            <pc:sldMk cId="4074781327" sldId="282"/>
            <ac:spMk id="245" creationId="{60F4908D-7DC0-BA4D-4213-AADB51F85AA7}"/>
          </ac:spMkLst>
        </pc:spChg>
        <pc:spChg chg="add mod">
          <ac:chgData name="Oğuz Öztekin" userId="33c0df0f-d5fe-4bda-8f43-141ad7af67e3" providerId="ADAL" clId="{48B824AD-1B2A-47A8-8D92-6FE6E622A650}" dt="2024-12-16T16:29:51.693" v="107162"/>
          <ac:spMkLst>
            <pc:docMk/>
            <pc:sldMk cId="4074781327" sldId="282"/>
            <ac:spMk id="246" creationId="{9B5B14ED-2D26-56ED-76F0-5573722F873A}"/>
          </ac:spMkLst>
        </pc:spChg>
        <pc:spChg chg="add mod">
          <ac:chgData name="Oğuz Öztekin" userId="33c0df0f-d5fe-4bda-8f43-141ad7af67e3" providerId="ADAL" clId="{48B824AD-1B2A-47A8-8D92-6FE6E622A650}" dt="2024-12-16T16:29:51.694" v="107163"/>
          <ac:spMkLst>
            <pc:docMk/>
            <pc:sldMk cId="4074781327" sldId="282"/>
            <ac:spMk id="247" creationId="{44A497C9-9A0F-9FCD-28AA-D30CC5DA1AEB}"/>
          </ac:spMkLst>
        </pc:spChg>
        <pc:spChg chg="add mod">
          <ac:chgData name="Oğuz Öztekin" userId="33c0df0f-d5fe-4bda-8f43-141ad7af67e3" providerId="ADAL" clId="{48B824AD-1B2A-47A8-8D92-6FE6E622A650}" dt="2024-12-16T16:29:51.694" v="107164"/>
          <ac:spMkLst>
            <pc:docMk/>
            <pc:sldMk cId="4074781327" sldId="282"/>
            <ac:spMk id="248" creationId="{EBD4604C-6BBF-A120-0FA7-FB2DB91E6CCC}"/>
          </ac:spMkLst>
        </pc:spChg>
        <pc:spChg chg="add mod">
          <ac:chgData name="Oğuz Öztekin" userId="33c0df0f-d5fe-4bda-8f43-141ad7af67e3" providerId="ADAL" clId="{48B824AD-1B2A-47A8-8D92-6FE6E622A650}" dt="2024-12-16T16:29:51.694" v="107165"/>
          <ac:spMkLst>
            <pc:docMk/>
            <pc:sldMk cId="4074781327" sldId="282"/>
            <ac:spMk id="249" creationId="{9319FBA3-6ACC-4F19-C7A1-06F9D76F5CEB}"/>
          </ac:spMkLst>
        </pc:spChg>
        <pc:spChg chg="add mod">
          <ac:chgData name="Oğuz Öztekin" userId="33c0df0f-d5fe-4bda-8f43-141ad7af67e3" providerId="ADAL" clId="{48B824AD-1B2A-47A8-8D92-6FE6E622A650}" dt="2024-12-16T16:29:51.695" v="107166"/>
          <ac:spMkLst>
            <pc:docMk/>
            <pc:sldMk cId="4074781327" sldId="282"/>
            <ac:spMk id="250" creationId="{80BEA3FB-5017-FC98-7A71-41C4CC9D5581}"/>
          </ac:spMkLst>
        </pc:spChg>
        <pc:spChg chg="add mod">
          <ac:chgData name="Oğuz Öztekin" userId="33c0df0f-d5fe-4bda-8f43-141ad7af67e3" providerId="ADAL" clId="{48B824AD-1B2A-47A8-8D92-6FE6E622A650}" dt="2024-12-16T16:29:51.695" v="107167"/>
          <ac:spMkLst>
            <pc:docMk/>
            <pc:sldMk cId="4074781327" sldId="282"/>
            <ac:spMk id="251" creationId="{B6FBCB18-B77E-1A83-005F-362BB0BCD146}"/>
          </ac:spMkLst>
        </pc:spChg>
        <pc:spChg chg="add del mod modVis">
          <ac:chgData name="Oğuz Öztekin" userId="33c0df0f-d5fe-4bda-8f43-141ad7af67e3" providerId="ADAL" clId="{48B824AD-1B2A-47A8-8D92-6FE6E622A650}" dt="2024-12-16T16:22:23.018" v="98741"/>
          <ac:spMkLst>
            <pc:docMk/>
            <pc:sldMk cId="4074781327" sldId="282"/>
            <ac:spMk id="252" creationId="{CCE5BC98-BB55-B3D3-CBA7-62DF7D943BA4}"/>
          </ac:spMkLst>
        </pc:spChg>
        <pc:spChg chg="add del mod modVis">
          <ac:chgData name="Oğuz Öztekin" userId="33c0df0f-d5fe-4bda-8f43-141ad7af67e3" providerId="ADAL" clId="{48B824AD-1B2A-47A8-8D92-6FE6E622A650}" dt="2024-12-16T16:22:23.972" v="98768"/>
          <ac:spMkLst>
            <pc:docMk/>
            <pc:sldMk cId="4074781327" sldId="282"/>
            <ac:spMk id="253" creationId="{0D2C7FA8-BCA3-E1DC-6FE0-EE3CDF774E94}"/>
          </ac:spMkLst>
        </pc:spChg>
        <pc:spChg chg="add del mod modVis">
          <ac:chgData name="Oğuz Öztekin" userId="33c0df0f-d5fe-4bda-8f43-141ad7af67e3" providerId="ADAL" clId="{48B824AD-1B2A-47A8-8D92-6FE6E622A650}" dt="2024-12-16T11:05:03.587" v="41728"/>
          <ac:spMkLst>
            <pc:docMk/>
            <pc:sldMk cId="4074781327" sldId="282"/>
            <ac:spMk id="253" creationId="{E5B149A7-8737-E0F7-BD9C-CD71DAA37656}"/>
          </ac:spMkLst>
        </pc:spChg>
        <pc:spChg chg="add del mod">
          <ac:chgData name="Oğuz Öztekin" userId="33c0df0f-d5fe-4bda-8f43-141ad7af67e3" providerId="ADAL" clId="{48B824AD-1B2A-47A8-8D92-6FE6E622A650}" dt="2024-12-16T16:26:37.152" v="100833"/>
          <ac:spMkLst>
            <pc:docMk/>
            <pc:sldMk cId="4074781327" sldId="282"/>
            <ac:spMk id="254" creationId="{73F1AA74-22C3-3020-1A26-24A3E9063A03}"/>
          </ac:spMkLst>
        </pc:spChg>
        <pc:spChg chg="add del mod">
          <ac:chgData name="Oğuz Öztekin" userId="33c0df0f-d5fe-4bda-8f43-141ad7af67e3" providerId="ADAL" clId="{48B824AD-1B2A-47A8-8D92-6FE6E622A650}" dt="2024-12-16T16:26:40.515" v="101289"/>
          <ac:spMkLst>
            <pc:docMk/>
            <pc:sldMk cId="4074781327" sldId="282"/>
            <ac:spMk id="255" creationId="{26B727E4-3C63-DFC9-8F37-BC56F281E908}"/>
          </ac:spMkLst>
        </pc:spChg>
        <pc:spChg chg="add del mod">
          <ac:chgData name="Oğuz Öztekin" userId="33c0df0f-d5fe-4bda-8f43-141ad7af67e3" providerId="ADAL" clId="{48B824AD-1B2A-47A8-8D92-6FE6E622A650}" dt="2024-12-16T16:26:42.133" v="101592"/>
          <ac:spMkLst>
            <pc:docMk/>
            <pc:sldMk cId="4074781327" sldId="282"/>
            <ac:spMk id="256" creationId="{2C759D00-BB17-4971-2BF6-3F3749A4A8D5}"/>
          </ac:spMkLst>
        </pc:spChg>
        <pc:spChg chg="add del mod">
          <ac:chgData name="Oğuz Öztekin" userId="33c0df0f-d5fe-4bda-8f43-141ad7af67e3" providerId="ADAL" clId="{48B824AD-1B2A-47A8-8D92-6FE6E622A650}" dt="2024-12-16T16:26:43.225" v="101748"/>
          <ac:spMkLst>
            <pc:docMk/>
            <pc:sldMk cId="4074781327" sldId="282"/>
            <ac:spMk id="257" creationId="{498D0B37-4CBB-D500-00C8-87C251FB97A9}"/>
          </ac:spMkLst>
        </pc:spChg>
        <pc:spChg chg="add del mod">
          <ac:chgData name="Oğuz Öztekin" userId="33c0df0f-d5fe-4bda-8f43-141ad7af67e3" providerId="ADAL" clId="{48B824AD-1B2A-47A8-8D92-6FE6E622A650}" dt="2024-12-16T16:26:44.193" v="101900"/>
          <ac:spMkLst>
            <pc:docMk/>
            <pc:sldMk cId="4074781327" sldId="282"/>
            <ac:spMk id="258" creationId="{C4F9705D-F7B1-6D39-81E2-6A2666FB073A}"/>
          </ac:spMkLst>
        </pc:spChg>
        <pc:spChg chg="add del mod">
          <ac:chgData name="Oğuz Öztekin" userId="33c0df0f-d5fe-4bda-8f43-141ad7af67e3" providerId="ADAL" clId="{48B824AD-1B2A-47A8-8D92-6FE6E622A650}" dt="2024-12-16T16:26:45.463" v="102044"/>
          <ac:spMkLst>
            <pc:docMk/>
            <pc:sldMk cId="4074781327" sldId="282"/>
            <ac:spMk id="259" creationId="{60CCAE66-519E-BA03-23AD-DD1828C61347}"/>
          </ac:spMkLst>
        </pc:spChg>
        <pc:spChg chg="add del mod">
          <ac:chgData name="Oğuz Öztekin" userId="33c0df0f-d5fe-4bda-8f43-141ad7af67e3" providerId="ADAL" clId="{48B824AD-1B2A-47A8-8D92-6FE6E622A650}" dt="2024-12-16T16:26:46.617" v="102190"/>
          <ac:spMkLst>
            <pc:docMk/>
            <pc:sldMk cId="4074781327" sldId="282"/>
            <ac:spMk id="260" creationId="{221B9884-EBDC-14CC-6949-009A3D891C5B}"/>
          </ac:spMkLst>
        </pc:spChg>
        <pc:spChg chg="add del mod">
          <ac:chgData name="Oğuz Öztekin" userId="33c0df0f-d5fe-4bda-8f43-141ad7af67e3" providerId="ADAL" clId="{48B824AD-1B2A-47A8-8D92-6FE6E622A650}" dt="2024-12-16T16:26:47.824" v="102332"/>
          <ac:spMkLst>
            <pc:docMk/>
            <pc:sldMk cId="4074781327" sldId="282"/>
            <ac:spMk id="261" creationId="{0D94AE4B-7DCC-95F8-3C53-5C5C3A66C1E2}"/>
          </ac:spMkLst>
        </pc:spChg>
        <pc:spChg chg="add del mod">
          <ac:chgData name="Oğuz Öztekin" userId="33c0df0f-d5fe-4bda-8f43-141ad7af67e3" providerId="ADAL" clId="{48B824AD-1B2A-47A8-8D92-6FE6E622A650}" dt="2024-12-16T16:26:50.105" v="102480"/>
          <ac:spMkLst>
            <pc:docMk/>
            <pc:sldMk cId="4074781327" sldId="282"/>
            <ac:spMk id="262" creationId="{3F923C09-03ED-7224-CAEF-65EEEC72541F}"/>
          </ac:spMkLst>
        </pc:spChg>
        <pc:spChg chg="add del mod">
          <ac:chgData name="Oğuz Öztekin" userId="33c0df0f-d5fe-4bda-8f43-141ad7af67e3" providerId="ADAL" clId="{48B824AD-1B2A-47A8-8D92-6FE6E622A650}" dt="2024-12-16T16:26:50.106" v="102483"/>
          <ac:spMkLst>
            <pc:docMk/>
            <pc:sldMk cId="4074781327" sldId="282"/>
            <ac:spMk id="263" creationId="{165C6966-3FE0-AEC8-8FA8-736D2AE85EE7}"/>
          </ac:spMkLst>
        </pc:spChg>
        <pc:spChg chg="add del mod modVis">
          <ac:chgData name="Oğuz Öztekin" userId="33c0df0f-d5fe-4bda-8f43-141ad7af67e3" providerId="ADAL" clId="{48B824AD-1B2A-47A8-8D92-6FE6E622A650}" dt="2024-12-16T16:22:25.982" v="98796"/>
          <ac:spMkLst>
            <pc:docMk/>
            <pc:sldMk cId="4074781327" sldId="282"/>
            <ac:spMk id="264" creationId="{296AEC63-669E-8BF6-689B-139176663C13}"/>
          </ac:spMkLst>
        </pc:spChg>
        <pc:spChg chg="add del mod modVis">
          <ac:chgData name="Oğuz Öztekin" userId="33c0df0f-d5fe-4bda-8f43-141ad7af67e3" providerId="ADAL" clId="{48B824AD-1B2A-47A8-8D92-6FE6E622A650}" dt="2024-12-16T16:22:29.105" v="98835"/>
          <ac:spMkLst>
            <pc:docMk/>
            <pc:sldMk cId="4074781327" sldId="282"/>
            <ac:spMk id="265" creationId="{23C2BCE8-9C54-A843-CF62-D2252E19667F}"/>
          </ac:spMkLst>
        </pc:spChg>
        <pc:spChg chg="add del mod modVis">
          <ac:chgData name="Oğuz Öztekin" userId="33c0df0f-d5fe-4bda-8f43-141ad7af67e3" providerId="ADAL" clId="{48B824AD-1B2A-47A8-8D92-6FE6E622A650}" dt="2024-12-16T11:05:08.112" v="42154"/>
          <ac:spMkLst>
            <pc:docMk/>
            <pc:sldMk cId="4074781327" sldId="282"/>
            <ac:spMk id="265" creationId="{9D0CF69C-D2A4-585B-BA82-DB2613F9B7FD}"/>
          </ac:spMkLst>
        </pc:spChg>
        <pc:spChg chg="add del mod modVis">
          <ac:chgData name="Oğuz Öztekin" userId="33c0df0f-d5fe-4bda-8f43-141ad7af67e3" providerId="ADAL" clId="{48B824AD-1B2A-47A8-8D92-6FE6E622A650}" dt="2024-12-16T16:22:30.980" v="98861"/>
          <ac:spMkLst>
            <pc:docMk/>
            <pc:sldMk cId="4074781327" sldId="282"/>
            <ac:spMk id="266" creationId="{0C78FDA3-4D25-B113-11A4-4AD81C65585F}"/>
          </ac:spMkLst>
        </pc:spChg>
        <pc:spChg chg="add del mod modVis">
          <ac:chgData name="Oğuz Öztekin" userId="33c0df0f-d5fe-4bda-8f43-141ad7af67e3" providerId="ADAL" clId="{48B824AD-1B2A-47A8-8D92-6FE6E622A650}" dt="2024-12-16T16:22:38.567" v="99204"/>
          <ac:spMkLst>
            <pc:docMk/>
            <pc:sldMk cId="4074781327" sldId="282"/>
            <ac:spMk id="267" creationId="{A7F93C7A-7724-46A9-E80D-EC663DA1D6FC}"/>
          </ac:spMkLst>
        </pc:spChg>
        <pc:spChg chg="add del mod modVis">
          <ac:chgData name="Oğuz Öztekin" userId="33c0df0f-d5fe-4bda-8f43-141ad7af67e3" providerId="ADAL" clId="{48B824AD-1B2A-47A8-8D92-6FE6E622A650}" dt="2024-12-16T11:05:11.067" v="42308"/>
          <ac:spMkLst>
            <pc:docMk/>
            <pc:sldMk cId="4074781327" sldId="282"/>
            <ac:spMk id="267" creationId="{C9F4E905-2CBE-25D2-D0E6-2670F9C492AA}"/>
          </ac:spMkLst>
        </pc:spChg>
        <pc:spChg chg="add del mod modVis">
          <ac:chgData name="Oğuz Öztekin" userId="33c0df0f-d5fe-4bda-8f43-141ad7af67e3" providerId="ADAL" clId="{48B824AD-1B2A-47A8-8D92-6FE6E622A650}" dt="2024-12-16T11:05:16.634" v="42732"/>
          <ac:spMkLst>
            <pc:docMk/>
            <pc:sldMk cId="4074781327" sldId="282"/>
            <ac:spMk id="269" creationId="{9CD40D30-3614-9EDD-CB68-2EAB6FD01769}"/>
          </ac:spMkLst>
        </pc:spChg>
        <pc:spChg chg="add del mod modVis">
          <ac:chgData name="Oğuz Öztekin" userId="33c0df0f-d5fe-4bda-8f43-141ad7af67e3" providerId="ADAL" clId="{48B824AD-1B2A-47A8-8D92-6FE6E622A650}" dt="2024-12-16T16:22:41.122" v="99443"/>
          <ac:spMkLst>
            <pc:docMk/>
            <pc:sldMk cId="4074781327" sldId="282"/>
            <ac:spMk id="269" creationId="{E78FE713-09B2-EC57-22B7-02E9A28A569E}"/>
          </ac:spMkLst>
        </pc:spChg>
        <pc:spChg chg="add del mod modVis">
          <ac:chgData name="Oğuz Öztekin" userId="33c0df0f-d5fe-4bda-8f43-141ad7af67e3" providerId="ADAL" clId="{48B824AD-1B2A-47A8-8D92-6FE6E622A650}" dt="2024-12-16T16:22:44.649" v="99653"/>
          <ac:spMkLst>
            <pc:docMk/>
            <pc:sldMk cId="4074781327" sldId="282"/>
            <ac:spMk id="271" creationId="{8F7B786D-6387-D0CB-29F7-B9B777FD90E6}"/>
          </ac:spMkLst>
        </pc:spChg>
        <pc:spChg chg="add del mod modVis">
          <ac:chgData name="Oğuz Öztekin" userId="33c0df0f-d5fe-4bda-8f43-141ad7af67e3" providerId="ADAL" clId="{48B824AD-1B2A-47A8-8D92-6FE6E622A650}" dt="2024-12-16T11:05:18.830" v="42884"/>
          <ac:spMkLst>
            <pc:docMk/>
            <pc:sldMk cId="4074781327" sldId="282"/>
            <ac:spMk id="271" creationId="{D2A9636F-E366-CD56-1240-E12195CA7C0B}"/>
          </ac:spMkLst>
        </pc:spChg>
        <pc:spChg chg="add del mod modVis">
          <ac:chgData name="Oğuz Öztekin" userId="33c0df0f-d5fe-4bda-8f43-141ad7af67e3" providerId="ADAL" clId="{48B824AD-1B2A-47A8-8D92-6FE6E622A650}" dt="2024-12-16T11:05:19.991" v="43092"/>
          <ac:spMkLst>
            <pc:docMk/>
            <pc:sldMk cId="4074781327" sldId="282"/>
            <ac:spMk id="273" creationId="{35CBA7C5-82F5-9991-FF66-4D8B668E47F6}"/>
          </ac:spMkLst>
        </pc:spChg>
        <pc:spChg chg="add del mod modVis">
          <ac:chgData name="Oğuz Öztekin" userId="33c0df0f-d5fe-4bda-8f43-141ad7af67e3" providerId="ADAL" clId="{48B824AD-1B2A-47A8-8D92-6FE6E622A650}" dt="2024-12-16T16:22:45.978" v="99863"/>
          <ac:spMkLst>
            <pc:docMk/>
            <pc:sldMk cId="4074781327" sldId="282"/>
            <ac:spMk id="273" creationId="{DD59E6F9-F243-3BED-913F-0ABDCF0A6C7D}"/>
          </ac:spMkLst>
        </pc:spChg>
        <pc:spChg chg="add del mod modVis">
          <ac:chgData name="Oğuz Öztekin" userId="33c0df0f-d5fe-4bda-8f43-141ad7af67e3" providerId="ADAL" clId="{48B824AD-1B2A-47A8-8D92-6FE6E622A650}" dt="2024-12-16T11:05:22.898" v="43319"/>
          <ac:spMkLst>
            <pc:docMk/>
            <pc:sldMk cId="4074781327" sldId="282"/>
            <ac:spMk id="275" creationId="{7C0362E5-B399-292F-B8DC-A8655857B6FA}"/>
          </ac:spMkLst>
        </pc:spChg>
        <pc:spChg chg="add del mod modVis">
          <ac:chgData name="Oğuz Öztekin" userId="33c0df0f-d5fe-4bda-8f43-141ad7af67e3" providerId="ADAL" clId="{48B824AD-1B2A-47A8-8D92-6FE6E622A650}" dt="2024-12-16T16:23:27.713" v="100636"/>
          <ac:spMkLst>
            <pc:docMk/>
            <pc:sldMk cId="4074781327" sldId="282"/>
            <ac:spMk id="275" creationId="{CB7370A4-6008-541F-590F-827AA6BC6B30}"/>
          </ac:spMkLst>
        </pc:spChg>
        <pc:spChg chg="add del mod modVis">
          <ac:chgData name="Oğuz Öztekin" userId="33c0df0f-d5fe-4bda-8f43-141ad7af67e3" providerId="ADAL" clId="{48B824AD-1B2A-47A8-8D92-6FE6E622A650}" dt="2024-12-16T11:05:24.987" v="43460"/>
          <ac:spMkLst>
            <pc:docMk/>
            <pc:sldMk cId="4074781327" sldId="282"/>
            <ac:spMk id="277" creationId="{2D7D390F-E161-D900-67B5-0D9368E8D636}"/>
          </ac:spMkLst>
        </pc:spChg>
        <pc:spChg chg="add del mod modVis">
          <ac:chgData name="Oğuz Öztekin" userId="33c0df0f-d5fe-4bda-8f43-141ad7af67e3" providerId="ADAL" clId="{48B824AD-1B2A-47A8-8D92-6FE6E622A650}" dt="2024-12-16T16:26:36.554" v="100797"/>
          <ac:spMkLst>
            <pc:docMk/>
            <pc:sldMk cId="4074781327" sldId="282"/>
            <ac:spMk id="277" creationId="{B41618C8-A383-A57C-ACB3-76B0F0524507}"/>
          </ac:spMkLst>
        </pc:spChg>
        <pc:spChg chg="add del mod modVis">
          <ac:chgData name="Oğuz Öztekin" userId="33c0df0f-d5fe-4bda-8f43-141ad7af67e3" providerId="ADAL" clId="{48B824AD-1B2A-47A8-8D92-6FE6E622A650}" dt="2024-12-16T16:26:37.203" v="100949"/>
          <ac:spMkLst>
            <pc:docMk/>
            <pc:sldMk cId="4074781327" sldId="282"/>
            <ac:spMk id="279" creationId="{7166087D-84A6-0486-FD9A-BB51A2C56490}"/>
          </ac:spMkLst>
        </pc:spChg>
        <pc:spChg chg="add del mod modVis">
          <ac:chgData name="Oğuz Öztekin" userId="33c0df0f-d5fe-4bda-8f43-141ad7af67e3" providerId="ADAL" clId="{48B824AD-1B2A-47A8-8D92-6FE6E622A650}" dt="2024-12-16T11:05:27.418" v="43612"/>
          <ac:spMkLst>
            <pc:docMk/>
            <pc:sldMk cId="4074781327" sldId="282"/>
            <ac:spMk id="279" creationId="{E42D11C5-E8B1-04E1-1A56-33C940652D97}"/>
          </ac:spMkLst>
        </pc:spChg>
        <pc:spChg chg="add del mod modVis">
          <ac:chgData name="Oğuz Öztekin" userId="33c0df0f-d5fe-4bda-8f43-141ad7af67e3" providerId="ADAL" clId="{48B824AD-1B2A-47A8-8D92-6FE6E622A650}" dt="2024-12-16T16:26:38.383" v="101099"/>
          <ac:spMkLst>
            <pc:docMk/>
            <pc:sldMk cId="4074781327" sldId="282"/>
            <ac:spMk id="281" creationId="{29AD6514-1681-59A6-DBD1-14B60026826E}"/>
          </ac:spMkLst>
        </pc:spChg>
        <pc:spChg chg="add del mod modVis">
          <ac:chgData name="Oğuz Öztekin" userId="33c0df0f-d5fe-4bda-8f43-141ad7af67e3" providerId="ADAL" clId="{48B824AD-1B2A-47A8-8D92-6FE6E622A650}" dt="2024-12-16T11:05:28.591" v="43764"/>
          <ac:spMkLst>
            <pc:docMk/>
            <pc:sldMk cId="4074781327" sldId="282"/>
            <ac:spMk id="281" creationId="{FDF5B370-08F4-FBC3-1A95-085D80B5FE1E}"/>
          </ac:spMkLst>
        </pc:spChg>
        <pc:spChg chg="add del mod modVis">
          <ac:chgData name="Oğuz Öztekin" userId="33c0df0f-d5fe-4bda-8f43-141ad7af67e3" providerId="ADAL" clId="{48B824AD-1B2A-47A8-8D92-6FE6E622A650}" dt="2024-12-16T11:05:39.056" v="43994"/>
          <ac:spMkLst>
            <pc:docMk/>
            <pc:sldMk cId="4074781327" sldId="282"/>
            <ac:spMk id="283" creationId="{690E4968-BFF5-4331-65B5-205A84E8ABF7}"/>
          </ac:spMkLst>
        </pc:spChg>
        <pc:spChg chg="add mod">
          <ac:chgData name="Oğuz Öztekin" userId="33c0df0f-d5fe-4bda-8f43-141ad7af67e3" providerId="ADAL" clId="{48B824AD-1B2A-47A8-8D92-6FE6E622A650}" dt="2024-12-16T16:29:51.692" v="107155"/>
          <ac:spMkLst>
            <pc:docMk/>
            <pc:sldMk cId="4074781327" sldId="282"/>
            <ac:spMk id="284" creationId="{6E482385-6772-75BE-B6DE-3CE8B428F80D}"/>
          </ac:spMkLst>
        </pc:spChg>
        <pc:spChg chg="add mod">
          <ac:chgData name="Oğuz Öztekin" userId="33c0df0f-d5fe-4bda-8f43-141ad7af67e3" providerId="ADAL" clId="{48B824AD-1B2A-47A8-8D92-6FE6E622A650}" dt="2024-12-16T16:29:51.688" v="107142"/>
          <ac:spMkLst>
            <pc:docMk/>
            <pc:sldMk cId="4074781327" sldId="282"/>
            <ac:spMk id="285" creationId="{7D59A9A3-00EF-EA92-05E5-03C594F5F1DB}"/>
          </ac:spMkLst>
        </pc:spChg>
        <pc:spChg chg="add del mod modVis">
          <ac:chgData name="Oğuz Öztekin" userId="33c0df0f-d5fe-4bda-8f43-141ad7af67e3" providerId="ADAL" clId="{48B824AD-1B2A-47A8-8D92-6FE6E622A650}" dt="2024-12-16T16:26:39.969" v="101252"/>
          <ac:spMkLst>
            <pc:docMk/>
            <pc:sldMk cId="4074781327" sldId="282"/>
            <ac:spMk id="287" creationId="{BB0169C7-7E7E-629C-580E-BB5B26BAA335}"/>
          </ac:spMkLst>
        </pc:spChg>
        <pc:spChg chg="add del mod modVis">
          <ac:chgData name="Oğuz Öztekin" userId="33c0df0f-d5fe-4bda-8f43-141ad7af67e3" providerId="ADAL" clId="{48B824AD-1B2A-47A8-8D92-6FE6E622A650}" dt="2024-12-16T16:27:28.734" v="103626"/>
          <ac:spMkLst>
            <pc:docMk/>
            <pc:sldMk cId="4074781327" sldId="282"/>
            <ac:spMk id="288" creationId="{6C4D3BE6-D51B-FE21-38CE-EA7A3BA8128F}"/>
          </ac:spMkLst>
        </pc:spChg>
        <pc:spChg chg="add del mod modVis">
          <ac:chgData name="Oğuz Öztekin" userId="33c0df0f-d5fe-4bda-8f43-141ad7af67e3" providerId="ADAL" clId="{48B824AD-1B2A-47A8-8D92-6FE6E622A650}" dt="2024-12-16T11:05:43.722" v="44150"/>
          <ac:spMkLst>
            <pc:docMk/>
            <pc:sldMk cId="4074781327" sldId="282"/>
            <ac:spMk id="288" creationId="{CE35A33C-C097-0C89-9D0B-1D4675921CDD}"/>
          </ac:spMkLst>
        </pc:spChg>
        <pc:spChg chg="add del mod modVis">
          <ac:chgData name="Oğuz Öztekin" userId="33c0df0f-d5fe-4bda-8f43-141ad7af67e3" providerId="ADAL" clId="{48B824AD-1B2A-47A8-8D92-6FE6E622A650}" dt="2024-12-16T11:05:44.643" v="44305"/>
          <ac:spMkLst>
            <pc:docMk/>
            <pc:sldMk cId="4074781327" sldId="282"/>
            <ac:spMk id="290" creationId="{270ECB7A-05AA-4997-7421-68290C9892C1}"/>
          </ac:spMkLst>
        </pc:spChg>
        <pc:spChg chg="add del mod modVis">
          <ac:chgData name="Oğuz Öztekin" userId="33c0df0f-d5fe-4bda-8f43-141ad7af67e3" providerId="ADAL" clId="{48B824AD-1B2A-47A8-8D92-6FE6E622A650}" dt="2024-12-16T16:27:35.845" v="103652"/>
          <ac:spMkLst>
            <pc:docMk/>
            <pc:sldMk cId="4074781327" sldId="282"/>
            <ac:spMk id="290" creationId="{6D3596B8-4AA7-58C5-6242-938B78710620}"/>
          </ac:spMkLst>
        </pc:spChg>
        <pc:spChg chg="add del mod modVis">
          <ac:chgData name="Oğuz Öztekin" userId="33c0df0f-d5fe-4bda-8f43-141ad7af67e3" providerId="ADAL" clId="{48B824AD-1B2A-47A8-8D92-6FE6E622A650}" dt="2024-12-16T16:27:38.893" v="103679"/>
          <ac:spMkLst>
            <pc:docMk/>
            <pc:sldMk cId="4074781327" sldId="282"/>
            <ac:spMk id="291" creationId="{E41F027C-845A-2017-0001-E646FE927A18}"/>
          </ac:spMkLst>
        </pc:spChg>
        <pc:spChg chg="add del mod modVis">
          <ac:chgData name="Oğuz Öztekin" userId="33c0df0f-d5fe-4bda-8f43-141ad7af67e3" providerId="ADAL" clId="{48B824AD-1B2A-47A8-8D92-6FE6E622A650}" dt="2024-12-16T16:27:40.373" v="103705"/>
          <ac:spMkLst>
            <pc:docMk/>
            <pc:sldMk cId="4074781327" sldId="282"/>
            <ac:spMk id="292" creationId="{44718820-0462-39CA-70BA-4423B56ADD81}"/>
          </ac:spMkLst>
        </pc:spChg>
        <pc:spChg chg="add del mod modVis">
          <ac:chgData name="Oğuz Öztekin" userId="33c0df0f-d5fe-4bda-8f43-141ad7af67e3" providerId="ADAL" clId="{48B824AD-1B2A-47A8-8D92-6FE6E622A650}" dt="2024-12-16T11:05:45.455" v="44460"/>
          <ac:spMkLst>
            <pc:docMk/>
            <pc:sldMk cId="4074781327" sldId="282"/>
            <ac:spMk id="292" creationId="{8852BD2E-AF94-EDEC-8302-41D84DE40B31}"/>
          </ac:spMkLst>
        </pc:spChg>
        <pc:spChg chg="add del mod modVis">
          <ac:chgData name="Oğuz Öztekin" userId="33c0df0f-d5fe-4bda-8f43-141ad7af67e3" providerId="ADAL" clId="{48B824AD-1B2A-47A8-8D92-6FE6E622A650}" dt="2024-12-16T11:05:55.326" v="44485"/>
          <ac:spMkLst>
            <pc:docMk/>
            <pc:sldMk cId="4074781327" sldId="282"/>
            <ac:spMk id="294" creationId="{8363E73C-1975-C353-6B9C-387CBD7B2827}"/>
          </ac:spMkLst>
        </pc:spChg>
        <pc:spChg chg="add del mod modVis">
          <ac:chgData name="Oğuz Öztekin" userId="33c0df0f-d5fe-4bda-8f43-141ad7af67e3" providerId="ADAL" clId="{48B824AD-1B2A-47A8-8D92-6FE6E622A650}" dt="2024-12-16T16:27:41.118" v="103827"/>
          <ac:spMkLst>
            <pc:docMk/>
            <pc:sldMk cId="4074781327" sldId="282"/>
            <ac:spMk id="294" creationId="{AE5EF6E5-C090-1E32-7D41-3DB05FC001DC}"/>
          </ac:spMkLst>
        </pc:spChg>
        <pc:spChg chg="add del mod modVis">
          <ac:chgData name="Oğuz Öztekin" userId="33c0df0f-d5fe-4bda-8f43-141ad7af67e3" providerId="ADAL" clId="{48B824AD-1B2A-47A8-8D92-6FE6E622A650}" dt="2024-12-16T11:05:58.194" v="44522"/>
          <ac:spMkLst>
            <pc:docMk/>
            <pc:sldMk cId="4074781327" sldId="282"/>
            <ac:spMk id="295" creationId="{C1DB39B4-ADB6-3BC0-E442-394223397429}"/>
          </ac:spMkLst>
        </pc:spChg>
        <pc:spChg chg="add del mod modVis">
          <ac:chgData name="Oğuz Öztekin" userId="33c0df0f-d5fe-4bda-8f43-141ad7af67e3" providerId="ADAL" clId="{48B824AD-1B2A-47A8-8D92-6FE6E622A650}" dt="2024-12-16T11:06:47.625" v="44566"/>
          <ac:spMkLst>
            <pc:docMk/>
            <pc:sldMk cId="4074781327" sldId="282"/>
            <ac:spMk id="296" creationId="{A8F8C5E6-E661-1F99-D853-1196395A1530}"/>
          </ac:spMkLst>
        </pc:spChg>
        <pc:spChg chg="add del mod modVis">
          <ac:chgData name="Oğuz Öztekin" userId="33c0df0f-d5fe-4bda-8f43-141ad7af67e3" providerId="ADAL" clId="{48B824AD-1B2A-47A8-8D92-6FE6E622A650}" dt="2024-12-16T16:27:43.832" v="103949"/>
          <ac:spMkLst>
            <pc:docMk/>
            <pc:sldMk cId="4074781327" sldId="282"/>
            <ac:spMk id="296" creationId="{AFE25D35-CB01-619E-60A4-F17257610B16}"/>
          </ac:spMkLst>
        </pc:spChg>
        <pc:spChg chg="add del mod modVis">
          <ac:chgData name="Oğuz Öztekin" userId="33c0df0f-d5fe-4bda-8f43-141ad7af67e3" providerId="ADAL" clId="{48B824AD-1B2A-47A8-8D92-6FE6E622A650}" dt="2024-12-16T16:27:57.275" v="104299"/>
          <ac:spMkLst>
            <pc:docMk/>
            <pc:sldMk cId="4074781327" sldId="282"/>
            <ac:spMk id="298" creationId="{909AEEF1-B25C-B6ED-7A4C-3AAD6C890E9D}"/>
          </ac:spMkLst>
        </pc:spChg>
        <pc:spChg chg="add mod">
          <ac:chgData name="Oğuz Öztekin" userId="33c0df0f-d5fe-4bda-8f43-141ad7af67e3" providerId="ADAL" clId="{48B824AD-1B2A-47A8-8D92-6FE6E622A650}" dt="2024-12-16T16:29:51.692" v="107156"/>
          <ac:spMkLst>
            <pc:docMk/>
            <pc:sldMk cId="4074781327" sldId="282"/>
            <ac:spMk id="299" creationId="{814524E3-76D7-7B25-A29A-35B84A6DBA5A}"/>
          </ac:spMkLst>
        </pc:spChg>
        <pc:spChg chg="add del mod modVis">
          <ac:chgData name="Oğuz Öztekin" userId="33c0df0f-d5fe-4bda-8f43-141ad7af67e3" providerId="ADAL" clId="{48B824AD-1B2A-47A8-8D92-6FE6E622A650}" dt="2024-12-16T16:28:00.547" v="104429"/>
          <ac:spMkLst>
            <pc:docMk/>
            <pc:sldMk cId="4074781327" sldId="282"/>
            <ac:spMk id="301" creationId="{71AFAB4E-0B1B-7CA3-E3AB-C46A7B5CD9BB}"/>
          </ac:spMkLst>
        </pc:spChg>
        <pc:spChg chg="add del mod modVis">
          <ac:chgData name="Oğuz Öztekin" userId="33c0df0f-d5fe-4bda-8f43-141ad7af67e3" providerId="ADAL" clId="{48B824AD-1B2A-47A8-8D92-6FE6E622A650}" dt="2024-12-16T16:28:05.187" v="104567"/>
          <ac:spMkLst>
            <pc:docMk/>
            <pc:sldMk cId="4074781327" sldId="282"/>
            <ac:spMk id="303" creationId="{6218C5E7-1AE9-C0DD-41D2-5A9EA6531EC3}"/>
          </ac:spMkLst>
        </pc:spChg>
        <pc:spChg chg="add del mod modVis">
          <ac:chgData name="Oğuz Öztekin" userId="33c0df0f-d5fe-4bda-8f43-141ad7af67e3" providerId="ADAL" clId="{48B824AD-1B2A-47A8-8D92-6FE6E622A650}" dt="2024-12-16T16:28:06.972" v="104706"/>
          <ac:spMkLst>
            <pc:docMk/>
            <pc:sldMk cId="4074781327" sldId="282"/>
            <ac:spMk id="305" creationId="{813EBD0A-CFB8-09B8-2809-0E5F4A62D7BC}"/>
          </ac:spMkLst>
        </pc:spChg>
        <pc:spChg chg="add del mod modVis">
          <ac:chgData name="Oğuz Öztekin" userId="33c0df0f-d5fe-4bda-8f43-141ad7af67e3" providerId="ADAL" clId="{48B824AD-1B2A-47A8-8D92-6FE6E622A650}" dt="2024-12-16T16:28:10.122" v="104830"/>
          <ac:spMkLst>
            <pc:docMk/>
            <pc:sldMk cId="4074781327" sldId="282"/>
            <ac:spMk id="307" creationId="{C92C43CA-0580-A764-36E2-1E7068371CD3}"/>
          </ac:spMkLst>
        </pc:spChg>
        <pc:spChg chg="add del mod modVis">
          <ac:chgData name="Oğuz Öztekin" userId="33c0df0f-d5fe-4bda-8f43-141ad7af67e3" providerId="ADAL" clId="{48B824AD-1B2A-47A8-8D92-6FE6E622A650}" dt="2024-12-16T16:28:10.710" v="104959"/>
          <ac:spMkLst>
            <pc:docMk/>
            <pc:sldMk cId="4074781327" sldId="282"/>
            <ac:spMk id="309" creationId="{AC2BD82F-BEFA-6DA9-FDC1-81C6EB5060E6}"/>
          </ac:spMkLst>
        </pc:spChg>
        <pc:spChg chg="add del mod modVis">
          <ac:chgData name="Oğuz Öztekin" userId="33c0df0f-d5fe-4bda-8f43-141ad7af67e3" providerId="ADAL" clId="{48B824AD-1B2A-47A8-8D92-6FE6E622A650}" dt="2024-12-16T16:28:21.253" v="105093"/>
          <ac:spMkLst>
            <pc:docMk/>
            <pc:sldMk cId="4074781327" sldId="282"/>
            <ac:spMk id="311" creationId="{C87838F6-9A4B-2259-E6AD-D7CFB18F7F9D}"/>
          </ac:spMkLst>
        </pc:spChg>
        <pc:spChg chg="add del mod modVis">
          <ac:chgData name="Oğuz Öztekin" userId="33c0df0f-d5fe-4bda-8f43-141ad7af67e3" providerId="ADAL" clId="{48B824AD-1B2A-47A8-8D92-6FE6E622A650}" dt="2024-12-16T16:28:24.317" v="105220"/>
          <ac:spMkLst>
            <pc:docMk/>
            <pc:sldMk cId="4074781327" sldId="282"/>
            <ac:spMk id="313" creationId="{3A74BABF-4890-0902-3289-B25BABBCD226}"/>
          </ac:spMkLst>
        </pc:spChg>
        <pc:spChg chg="add del mod modVis">
          <ac:chgData name="Oğuz Öztekin" userId="33c0df0f-d5fe-4bda-8f43-141ad7af67e3" providerId="ADAL" clId="{48B824AD-1B2A-47A8-8D92-6FE6E622A650}" dt="2024-12-16T16:28:33.859" v="105389"/>
          <ac:spMkLst>
            <pc:docMk/>
            <pc:sldMk cId="4074781327" sldId="282"/>
            <ac:spMk id="315" creationId="{F937E991-7708-2604-64E0-7CE736B0AEC1}"/>
          </ac:spMkLst>
        </pc:spChg>
        <pc:spChg chg="add mod">
          <ac:chgData name="Oğuz Öztekin" userId="33c0df0f-d5fe-4bda-8f43-141ad7af67e3" providerId="ADAL" clId="{48B824AD-1B2A-47A8-8D92-6FE6E622A650}" dt="2024-12-16T16:29:51.700" v="107188"/>
          <ac:spMkLst>
            <pc:docMk/>
            <pc:sldMk cId="4074781327" sldId="282"/>
            <ac:spMk id="316" creationId="{7D1301F8-0B3A-24EE-FF39-7340C52E26F7}"/>
          </ac:spMkLst>
        </pc:spChg>
        <pc:spChg chg="add del mod modVis">
          <ac:chgData name="Oğuz Öztekin" userId="33c0df0f-d5fe-4bda-8f43-141ad7af67e3" providerId="ADAL" clId="{48B824AD-1B2A-47A8-8D92-6FE6E622A650}" dt="2024-12-16T16:28:36.431" v="105520"/>
          <ac:spMkLst>
            <pc:docMk/>
            <pc:sldMk cId="4074781327" sldId="282"/>
            <ac:spMk id="318" creationId="{081632FF-CBAC-CDC3-C61D-7A70A1B4A06F}"/>
          </ac:spMkLst>
        </pc:spChg>
        <pc:graphicFrameChg chg="mod">
          <ac:chgData name="Oğuz Öztekin" userId="33c0df0f-d5fe-4bda-8f43-141ad7af67e3" providerId="ADAL" clId="{48B824AD-1B2A-47A8-8D92-6FE6E622A650}" dt="2024-12-16T16:29:51.702" v="107195"/>
          <ac:graphicFrameMkLst>
            <pc:docMk/>
            <pc:sldMk cId="4074781327" sldId="282"/>
            <ac:graphicFrameMk id="3" creationId="{08818FE0-F6D2-8128-546D-6E39D1DC2B5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29.243" v="32694"/>
          <ac:graphicFrameMkLst>
            <pc:docMk/>
            <pc:sldMk cId="4074781327" sldId="282"/>
            <ac:graphicFrameMk id="5" creationId="{48C0E980-F831-4CDE-DF7C-6F6C13E36CD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33.212" v="32878"/>
          <ac:graphicFrameMkLst>
            <pc:docMk/>
            <pc:sldMk cId="4074781327" sldId="282"/>
            <ac:graphicFrameMk id="24" creationId="{C1C24CBD-8B12-6ED6-35B7-548AD840047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35.797" v="32999"/>
          <ac:graphicFrameMkLst>
            <pc:docMk/>
            <pc:sldMk cId="4074781327" sldId="282"/>
            <ac:graphicFrameMk id="26" creationId="{41BFCFE3-996E-F6E7-79FC-5C3591439AB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46.925" v="33228"/>
          <ac:graphicFrameMkLst>
            <pc:docMk/>
            <pc:sldMk cId="4074781327" sldId="282"/>
            <ac:graphicFrameMk id="28" creationId="{2B662B44-8884-8C1F-F777-4E63CF3CCC0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40.530" v="101315"/>
          <ac:graphicFrameMkLst>
            <pc:docMk/>
            <pc:sldMk cId="4074781327" sldId="282"/>
            <ac:graphicFrameMk id="32" creationId="{1A8710B1-D6E7-5611-DB2A-FFCC3CFAD3E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41.142" v="101466"/>
          <ac:graphicFrameMkLst>
            <pc:docMk/>
            <pc:sldMk cId="4074781327" sldId="282"/>
            <ac:graphicFrameMk id="34" creationId="{5D99764A-1357-A40E-ADDB-F19042E29BD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49.587" v="33861"/>
          <ac:graphicFrameMkLst>
            <pc:docMk/>
            <pc:sldMk cId="4074781327" sldId="282"/>
            <ac:graphicFrameMk id="38" creationId="{8E8CEEC7-0EBB-7784-28C3-C2E1DA23E01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42.149" v="101624"/>
          <ac:graphicFrameMkLst>
            <pc:docMk/>
            <pc:sldMk cId="4074781327" sldId="282"/>
            <ac:graphicFrameMk id="39" creationId="{7FBF1979-D2F0-1FE2-9A6C-FEED377EC22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43.240" v="101778"/>
          <ac:graphicFrameMkLst>
            <pc:docMk/>
            <pc:sldMk cId="4074781327" sldId="282"/>
            <ac:graphicFrameMk id="41" creationId="{104474E3-496F-8D1E-19F2-CD98F755FF7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44.205" v="101922"/>
          <ac:graphicFrameMkLst>
            <pc:docMk/>
            <pc:sldMk cId="4074781327" sldId="282"/>
            <ac:graphicFrameMk id="43" creationId="{431C1031-2B7E-69A6-7657-00D4114C01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45.475" v="102070"/>
          <ac:graphicFrameMkLst>
            <pc:docMk/>
            <pc:sldMk cId="4074781327" sldId="282"/>
            <ac:graphicFrameMk id="45" creationId="{0DB624C4-FF59-3F4C-74C1-100CA2E5F57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46.630" v="102214"/>
          <ac:graphicFrameMkLst>
            <pc:docMk/>
            <pc:sldMk cId="4074781327" sldId="282"/>
            <ac:graphicFrameMk id="47" creationId="{A8E9E645-A5C7-8556-1081-B0A4DC47E88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47.838" v="102364"/>
          <ac:graphicFrameMkLst>
            <pc:docMk/>
            <pc:sldMk cId="4074781327" sldId="282"/>
            <ac:graphicFrameMk id="49" creationId="{A6A1F4B2-DFA7-0969-D828-B32E6DB4EB1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51.751" v="34077"/>
          <ac:graphicFrameMkLst>
            <pc:docMk/>
            <pc:sldMk cId="4074781327" sldId="282"/>
            <ac:graphicFrameMk id="50" creationId="{9CDD8EF4-8B0D-AFE9-1E02-36DB38CFAB5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50.116" v="102509"/>
          <ac:graphicFrameMkLst>
            <pc:docMk/>
            <pc:sldMk cId="4074781327" sldId="282"/>
            <ac:graphicFrameMk id="51" creationId="{B56EBF69-7BB5-D7B3-0FD4-74FBFE1A9A7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52.820" v="102702"/>
          <ac:graphicFrameMkLst>
            <pc:docMk/>
            <pc:sldMk cId="4074781327" sldId="282"/>
            <ac:graphicFrameMk id="53" creationId="{E7AA31E1-CB94-B49A-D15C-EC1A6DF3BB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54.992" v="102879"/>
          <ac:graphicFrameMkLst>
            <pc:docMk/>
            <pc:sldMk cId="4074781327" sldId="282"/>
            <ac:graphicFrameMk id="55" creationId="{12EDBCAC-2DE8-6B35-F9EE-9C4A27ACFB4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54.300" v="34247"/>
          <ac:graphicFrameMkLst>
            <pc:docMk/>
            <pc:sldMk cId="4074781327" sldId="282"/>
            <ac:graphicFrameMk id="55" creationId="{A5982C54-9989-06E5-0FB7-09DFF18FDD0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57.378" v="34883"/>
          <ac:graphicFrameMkLst>
            <pc:docMk/>
            <pc:sldMk cId="4074781327" sldId="282"/>
            <ac:graphicFrameMk id="57" creationId="{B420806D-CA9D-9AD4-2683-2620EDB6C4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7:22.453" v="103435"/>
          <ac:graphicFrameMkLst>
            <pc:docMk/>
            <pc:sldMk cId="4074781327" sldId="282"/>
            <ac:graphicFrameMk id="57" creationId="{ED63DE1F-4286-8AE6-AE49-49D56A32588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7:01.934" v="103167"/>
          <ac:graphicFrameMkLst>
            <pc:docMk/>
            <pc:sldMk cId="4074781327" sldId="282"/>
            <ac:graphicFrameMk id="59" creationId="{82AD0ED4-135A-7D73-DD33-7DF6D98A69D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7:28.704" v="103557"/>
          <ac:graphicFrameMkLst>
            <pc:docMk/>
            <pc:sldMk cId="4074781327" sldId="282"/>
            <ac:graphicFrameMk id="61" creationId="{8C8BF5CC-EEE4-65B9-1E7A-64F45383983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8:33.827" v="105318"/>
          <ac:graphicFrameMkLst>
            <pc:docMk/>
            <pc:sldMk cId="4074781327" sldId="282"/>
            <ac:graphicFrameMk id="63" creationId="{260BF01F-0FB7-DA74-D3CB-A9E02963D30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03.111" v="105728"/>
          <ac:graphicFrameMkLst>
            <pc:docMk/>
            <pc:sldMk cId="4074781327" sldId="282"/>
            <ac:graphicFrameMk id="65" creationId="{D4D4EBF1-2506-7A0E-69DF-652B71D0FBD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09.485" v="105858"/>
          <ac:graphicFrameMkLst>
            <pc:docMk/>
            <pc:sldMk cId="4074781327" sldId="282"/>
            <ac:graphicFrameMk id="67" creationId="{64C607D2-F37D-932D-92C2-330E80FC96A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11.830" v="105986"/>
          <ac:graphicFrameMkLst>
            <pc:docMk/>
            <pc:sldMk cId="4074781327" sldId="282"/>
            <ac:graphicFrameMk id="69" creationId="{A4702533-F2A3-A823-3FF8-F7BA11EB295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57.927" v="35076"/>
          <ac:graphicFrameMkLst>
            <pc:docMk/>
            <pc:sldMk cId="4074781327" sldId="282"/>
            <ac:graphicFrameMk id="69" creationId="{FC723909-6903-B717-65F9-5DCC7FB2DFD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03.947" v="35204"/>
          <ac:graphicFrameMkLst>
            <pc:docMk/>
            <pc:sldMk cId="4074781327" sldId="282"/>
            <ac:graphicFrameMk id="71" creationId="{C84F0E0A-4DE9-24EF-BA39-45ABD10C553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16.337" v="106119"/>
          <ac:graphicFrameMkLst>
            <pc:docMk/>
            <pc:sldMk cId="4074781327" sldId="282"/>
            <ac:graphicFrameMk id="71" creationId="{DE31B0D8-20A5-B04D-B97D-148B48C7671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16.930" v="106247"/>
          <ac:graphicFrameMkLst>
            <pc:docMk/>
            <pc:sldMk cId="4074781327" sldId="282"/>
            <ac:graphicFrameMk id="77" creationId="{4FE72332-ACBF-8434-2522-579B38488AF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0.559" v="35332"/>
          <ac:graphicFrameMkLst>
            <pc:docMk/>
            <pc:sldMk cId="4074781327" sldId="282"/>
            <ac:graphicFrameMk id="77" creationId="{B63EE01D-6EC8-F294-D036-62A00B79D18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2.660" v="35496"/>
          <ac:graphicFrameMkLst>
            <pc:docMk/>
            <pc:sldMk cId="4074781327" sldId="282"/>
            <ac:graphicFrameMk id="79" creationId="{4038E02A-EA6A-57FB-FD97-DB6110BC1D6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45.595" v="106853"/>
          <ac:graphicFrameMkLst>
            <pc:docMk/>
            <pc:sldMk cId="4074781327" sldId="282"/>
            <ac:graphicFrameMk id="79" creationId="{DD2D878C-62AA-7C9D-A730-D1D8B207367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4.351" v="35616"/>
          <ac:graphicFrameMkLst>
            <pc:docMk/>
            <pc:sldMk cId="4074781327" sldId="282"/>
            <ac:graphicFrameMk id="82" creationId="{1832116B-BF32-7C6E-F784-465A8B46245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31.612" v="106550"/>
          <ac:graphicFrameMkLst>
            <pc:docMk/>
            <pc:sldMk cId="4074781327" sldId="282"/>
            <ac:graphicFrameMk id="82" creationId="{9CE28563-F6D0-34AB-DB6D-69AD9856AE1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35.873" v="106682"/>
          <ac:graphicFrameMkLst>
            <pc:docMk/>
            <pc:sldMk cId="4074781327" sldId="282"/>
            <ac:graphicFrameMk id="84" creationId="{B9CCA123-EECE-AB9D-02FF-FBAA126F0DF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5.275" v="35786"/>
          <ac:graphicFrameMkLst>
            <pc:docMk/>
            <pc:sldMk cId="4074781327" sldId="282"/>
            <ac:graphicFrameMk id="84" creationId="{E4B1D096-A9E1-476E-0212-1FE1BC2EDCD8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29:51.685" v="107129"/>
          <ac:graphicFrameMkLst>
            <pc:docMk/>
            <pc:sldMk cId="4074781327" sldId="282"/>
            <ac:graphicFrameMk id="93" creationId="{DE77270F-3102-B7B5-8273-11416041B91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6.742" v="35906"/>
          <ac:graphicFrameMkLst>
            <pc:docMk/>
            <pc:sldMk cId="4074781327" sldId="282"/>
            <ac:graphicFrameMk id="94" creationId="{99F76D85-A31F-1774-823F-AA2042A64BD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8.040" v="36060"/>
          <ac:graphicFrameMkLst>
            <pc:docMk/>
            <pc:sldMk cId="4074781327" sldId="282"/>
            <ac:graphicFrameMk id="160" creationId="{5C8DC0CC-9303-AC44-DBC4-476A68D197E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48.906" v="106987"/>
          <ac:graphicFrameMkLst>
            <pc:docMk/>
            <pc:sldMk cId="4074781327" sldId="282"/>
            <ac:graphicFrameMk id="160" creationId="{79BC91BD-90DC-9B6F-1E69-16D96C7B1A4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51.668" v="107120"/>
          <ac:graphicFrameMkLst>
            <pc:docMk/>
            <pc:sldMk cId="4074781327" sldId="282"/>
            <ac:graphicFrameMk id="162" creationId="{147AECA4-E103-CF4D-525B-0F899698BD8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9.596" v="36180"/>
          <ac:graphicFrameMkLst>
            <pc:docMk/>
            <pc:sldMk cId="4074781327" sldId="282"/>
            <ac:graphicFrameMk id="164" creationId="{D08C1DEA-934A-19C4-2EB6-4A58C59FB7E2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29:51.693" v="107161"/>
          <ac:graphicFrameMkLst>
            <pc:docMk/>
            <pc:sldMk cId="4074781327" sldId="282"/>
            <ac:graphicFrameMk id="165" creationId="{A483A3FE-4B07-04DB-38AA-7B6AF700340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1.361" v="36290"/>
          <ac:graphicFrameMkLst>
            <pc:docMk/>
            <pc:sldMk cId="4074781327" sldId="282"/>
            <ac:graphicFrameMk id="166" creationId="{BD44F8F4-0CED-AA05-8F0D-CC3A2473A19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2.254" v="36441"/>
          <ac:graphicFrameMkLst>
            <pc:docMk/>
            <pc:sldMk cId="4074781327" sldId="282"/>
            <ac:graphicFrameMk id="168" creationId="{E78B5AB4-4552-7691-5BE9-D1B2EDEA9E25}"/>
          </ac:graphicFrameMkLst>
        </pc:graphicFrameChg>
        <pc:graphicFrameChg chg="del">
          <ac:chgData name="Oğuz Öztekin" userId="33c0df0f-d5fe-4bda-8f43-141ad7af67e3" providerId="ADAL" clId="{48B824AD-1B2A-47A8-8D92-6FE6E622A650}" dt="2024-12-16T11:02:27.892" v="32515"/>
          <ac:graphicFrameMkLst>
            <pc:docMk/>
            <pc:sldMk cId="4074781327" sldId="282"/>
            <ac:graphicFrameMk id="169" creationId="{9353865F-D251-CDA5-5D59-A681C861639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3.564" v="36561"/>
          <ac:graphicFrameMkLst>
            <pc:docMk/>
            <pc:sldMk cId="4074781327" sldId="282"/>
            <ac:graphicFrameMk id="172" creationId="{25ADF9B1-E418-0F7E-2BB8-10665A3AD3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4.579" v="36715"/>
          <ac:graphicFrameMkLst>
            <pc:docMk/>
            <pc:sldMk cId="4074781327" sldId="282"/>
            <ac:graphicFrameMk id="174" creationId="{E2BA1FE7-2DB8-8FA8-A3AA-F74B38C7691F}"/>
          </ac:graphicFrameMkLst>
        </pc:graphicFrameChg>
        <pc:graphicFrameChg chg="del mod ord">
          <ac:chgData name="Oğuz Öztekin" userId="33c0df0f-d5fe-4bda-8f43-141ad7af67e3" providerId="ADAL" clId="{48B824AD-1B2A-47A8-8D92-6FE6E622A650}" dt="2024-12-16T11:04:28.978" v="39296"/>
          <ac:graphicFrameMkLst>
            <pc:docMk/>
            <pc:sldMk cId="4074781327" sldId="282"/>
            <ac:graphicFrameMk id="177" creationId="{7DA91B26-F05C-3766-A2FC-0B22A2B5673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6.907" v="36835"/>
          <ac:graphicFrameMkLst>
            <pc:docMk/>
            <pc:sldMk cId="4074781327" sldId="282"/>
            <ac:graphicFrameMk id="178" creationId="{814F11CE-8FBE-D684-0A8F-374A573D62F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7.821" v="36989"/>
          <ac:graphicFrameMkLst>
            <pc:docMk/>
            <pc:sldMk cId="4074781327" sldId="282"/>
            <ac:graphicFrameMk id="180" creationId="{203546AF-B4D0-A3D9-19F8-BFC95210D21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9.371" v="37109"/>
          <ac:graphicFrameMkLst>
            <pc:docMk/>
            <pc:sldMk cId="4074781327" sldId="282"/>
            <ac:graphicFrameMk id="183" creationId="{A626C6B4-F7DE-2AE2-B236-F236D858745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32.376" v="37215"/>
          <ac:graphicFrameMkLst>
            <pc:docMk/>
            <pc:sldMk cId="4074781327" sldId="282"/>
            <ac:graphicFrameMk id="185" creationId="{9609409D-98F6-D26F-05DF-17A6013EDBF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35.050" v="37586"/>
          <ac:graphicFrameMkLst>
            <pc:docMk/>
            <pc:sldMk cId="4074781327" sldId="282"/>
            <ac:graphicFrameMk id="187" creationId="{23CB54E1-B2A9-5345-8B04-00040C487A4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38.804" v="37971"/>
          <ac:graphicFrameMkLst>
            <pc:docMk/>
            <pc:sldMk cId="4074781327" sldId="282"/>
            <ac:graphicFrameMk id="195" creationId="{3BA6EFD6-332D-0C20-72FA-205E147B0EB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41.646" v="38236"/>
          <ac:graphicFrameMkLst>
            <pc:docMk/>
            <pc:sldMk cId="4074781327" sldId="282"/>
            <ac:graphicFrameMk id="201" creationId="{2E574F38-5385-A97A-A302-79873B0E878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42.867" v="38359"/>
          <ac:graphicFrameMkLst>
            <pc:docMk/>
            <pc:sldMk cId="4074781327" sldId="282"/>
            <ac:graphicFrameMk id="203" creationId="{1902FDFD-7F97-9633-8970-129D9425F46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0.644" v="38485"/>
          <ac:graphicFrameMkLst>
            <pc:docMk/>
            <pc:sldMk cId="4074781327" sldId="282"/>
            <ac:graphicFrameMk id="205" creationId="{F9E475EF-70E1-D5DD-64C5-1D6A378F468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2.069" v="38612"/>
          <ac:graphicFrameMkLst>
            <pc:docMk/>
            <pc:sldMk cId="4074781327" sldId="282"/>
            <ac:graphicFrameMk id="207" creationId="{0F765A3A-FAA3-69A6-C244-436A9EDC5D3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3.649" v="38737"/>
          <ac:graphicFrameMkLst>
            <pc:docMk/>
            <pc:sldMk cId="4074781327" sldId="282"/>
            <ac:graphicFrameMk id="209" creationId="{A61990D5-1157-1D10-B632-9F7964A3110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4.587" v="38860"/>
          <ac:graphicFrameMkLst>
            <pc:docMk/>
            <pc:sldMk cId="4074781327" sldId="282"/>
            <ac:graphicFrameMk id="211" creationId="{BD320338-1337-8494-0DFC-3ADD7D62CDC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5.519" v="38978"/>
          <ac:graphicFrameMkLst>
            <pc:docMk/>
            <pc:sldMk cId="4074781327" sldId="282"/>
            <ac:graphicFrameMk id="213" creationId="{AC71E1F0-6AF9-0F93-E8D4-DF711B7915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19.956" v="43003"/>
          <ac:graphicFrameMkLst>
            <pc:docMk/>
            <pc:sldMk cId="4074781327" sldId="282"/>
            <ac:graphicFrameMk id="215" creationId="{2AAC3141-20E7-6BE2-E4CD-C9CC26ECF87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33.898" v="39479"/>
          <ac:graphicFrameMkLst>
            <pc:docMk/>
            <pc:sldMk cId="4074781327" sldId="282"/>
            <ac:graphicFrameMk id="220" creationId="{84B96E55-B0C3-6BC9-E06D-858CA921EEB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36.559" v="39602"/>
          <ac:graphicFrameMkLst>
            <pc:docMk/>
            <pc:sldMk cId="4074781327" sldId="282"/>
            <ac:graphicFrameMk id="222" creationId="{F6BA2792-C489-F67F-2744-A35F77EB67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48.631" v="39848"/>
          <ac:graphicFrameMkLst>
            <pc:docMk/>
            <pc:sldMk cId="4074781327" sldId="282"/>
            <ac:graphicFrameMk id="224" creationId="{091B9313-5923-D2A0-8AA0-767D6D84D3E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53.502" v="39982"/>
          <ac:graphicFrameMkLst>
            <pc:docMk/>
            <pc:sldMk cId="4074781327" sldId="282"/>
            <ac:graphicFrameMk id="232" creationId="{09428368-F2F7-1CC8-988E-91ED97BAA8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02.735" v="98133"/>
          <ac:graphicFrameMkLst>
            <pc:docMk/>
            <pc:sldMk cId="4074781327" sldId="282"/>
            <ac:graphicFrameMk id="234" creationId="{1FE79B39-7D20-99BC-9D4B-8756FEF82E9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56.822" v="40385"/>
          <ac:graphicFrameMkLst>
            <pc:docMk/>
            <pc:sldMk cId="4074781327" sldId="282"/>
            <ac:graphicFrameMk id="234" creationId="{41F6979B-257B-F301-4191-9FA2BC997D0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04.824" v="98318"/>
          <ac:graphicFrameMkLst>
            <pc:docMk/>
            <pc:sldMk cId="4074781327" sldId="282"/>
            <ac:graphicFrameMk id="236" creationId="{6909EED7-5F2A-66B9-3837-CDDB270863E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07.093" v="98472"/>
          <ac:graphicFrameMkLst>
            <pc:docMk/>
            <pc:sldMk cId="4074781327" sldId="282"/>
            <ac:graphicFrameMk id="238" creationId="{2E757EF6-1A26-4BD9-387D-C94409B1D6E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7:00.284" v="103023"/>
          <ac:graphicFrameMkLst>
            <pc:docMk/>
            <pc:sldMk cId="4074781327" sldId="282"/>
            <ac:graphicFrameMk id="240" creationId="{EAEACC8D-5196-D471-6178-2D04A421B73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57.550" v="40525"/>
          <ac:graphicFrameMkLst>
            <pc:docMk/>
            <pc:sldMk cId="4074781327" sldId="282"/>
            <ac:graphicFrameMk id="242" creationId="{BBB10FA0-43FF-31B2-C78A-795515390A6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00.077" v="40915"/>
          <ac:graphicFrameMkLst>
            <pc:docMk/>
            <pc:sldMk cId="4074781327" sldId="282"/>
            <ac:graphicFrameMk id="244" creationId="{6DFF7A24-FF0E-40D2-4E87-FA25681DB5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03.549" v="41639"/>
          <ac:graphicFrameMkLst>
            <pc:docMk/>
            <pc:sldMk cId="4074781327" sldId="282"/>
            <ac:graphicFrameMk id="252" creationId="{7C1C78AC-2EEA-AD83-8FD2-2A082B7B18D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08.075" v="42065"/>
          <ac:graphicFrameMkLst>
            <pc:docMk/>
            <pc:sldMk cId="4074781327" sldId="282"/>
            <ac:graphicFrameMk id="264" creationId="{E05BB939-ADE4-B404-E497-B9F01E8E384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11.030" v="42219"/>
          <ac:graphicFrameMkLst>
            <pc:docMk/>
            <pc:sldMk cId="4074781327" sldId="282"/>
            <ac:graphicFrameMk id="266" creationId="{C5BB822E-2A5E-72B1-E857-8A333C2CD7A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16.599" v="42643"/>
          <ac:graphicFrameMkLst>
            <pc:docMk/>
            <pc:sldMk cId="4074781327" sldId="282"/>
            <ac:graphicFrameMk id="268" creationId="{0964160C-221A-E119-2CD7-BFC8E9C1D6B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41.084" v="99352"/>
          <ac:graphicFrameMkLst>
            <pc:docMk/>
            <pc:sldMk cId="4074781327" sldId="282"/>
            <ac:graphicFrameMk id="268" creationId="{1B901029-F298-1AC4-69C6-EE5FBC316D3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44.613" v="99562"/>
          <ac:graphicFrameMkLst>
            <pc:docMk/>
            <pc:sldMk cId="4074781327" sldId="282"/>
            <ac:graphicFrameMk id="270" creationId="{CE3C7BF6-3B25-9E5C-23A6-FED12824FC0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18.792" v="42795"/>
          <ac:graphicFrameMkLst>
            <pc:docMk/>
            <pc:sldMk cId="4074781327" sldId="282"/>
            <ac:graphicFrameMk id="270" creationId="{F6D3E3BC-53DD-FD91-7C29-C82F91C53AB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45.943" v="99772"/>
          <ac:graphicFrameMkLst>
            <pc:docMk/>
            <pc:sldMk cId="4074781327" sldId="282"/>
            <ac:graphicFrameMk id="272" creationId="{217D871B-BADB-71D9-E75C-9F99024EF51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27.382" v="43523"/>
          <ac:graphicFrameMkLst>
            <pc:docMk/>
            <pc:sldMk cId="4074781327" sldId="282"/>
            <ac:graphicFrameMk id="272" creationId="{3BDE8063-3B5D-DBF7-DDC6-186EECBBDB0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22.863" v="43230"/>
          <ac:graphicFrameMkLst>
            <pc:docMk/>
            <pc:sldMk cId="4074781327" sldId="282"/>
            <ac:graphicFrameMk id="274" creationId="{948C9C0C-F6EC-8194-7964-A68475DE97D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3:27.677" v="100545"/>
          <ac:graphicFrameMkLst>
            <pc:docMk/>
            <pc:sldMk cId="4074781327" sldId="282"/>
            <ac:graphicFrameMk id="274" creationId="{B1AA76F6-2307-8588-21E0-E93C9E1F7B2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24.952" v="43371"/>
          <ac:graphicFrameMkLst>
            <pc:docMk/>
            <pc:sldMk cId="4074781327" sldId="282"/>
            <ac:graphicFrameMk id="276" creationId="{4592C05F-13CD-C6E5-AC99-6746B41AD9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36.517" v="100708"/>
          <ac:graphicFrameMkLst>
            <pc:docMk/>
            <pc:sldMk cId="4074781327" sldId="282"/>
            <ac:graphicFrameMk id="276" creationId="{F99A402C-F85A-6BD9-57F8-5830E1BC47B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37.168" v="100861"/>
          <ac:graphicFrameMkLst>
            <pc:docMk/>
            <pc:sldMk cId="4074781327" sldId="282"/>
            <ac:graphicFrameMk id="278" creationId="{4AA66852-578B-BCC0-5F23-3C0748A9A73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39.019" v="43901"/>
          <ac:graphicFrameMkLst>
            <pc:docMk/>
            <pc:sldMk cId="4074781327" sldId="282"/>
            <ac:graphicFrameMk id="278" creationId="{C50C5960-D596-3EA4-49BA-7DB9F245CF6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38.347" v="101011"/>
          <ac:graphicFrameMkLst>
            <pc:docMk/>
            <pc:sldMk cId="4074781327" sldId="282"/>
            <ac:graphicFrameMk id="280" creationId="{DA95FD14-2E82-85FC-0224-97E11C96691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28.554" v="43675"/>
          <ac:graphicFrameMkLst>
            <pc:docMk/>
            <pc:sldMk cId="4074781327" sldId="282"/>
            <ac:graphicFrameMk id="280" creationId="{DA9D36A1-B6AD-96CD-BF49-54A609C5E2C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2:38.531" v="99113"/>
          <ac:graphicFrameMkLst>
            <pc:docMk/>
            <pc:sldMk cId="4074781327" sldId="282"/>
            <ac:graphicFrameMk id="282" creationId="{A3792F70-A281-2604-A877-0836E390D43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6:39.933" v="101164"/>
          <ac:graphicFrameMkLst>
            <pc:docMk/>
            <pc:sldMk cId="4074781327" sldId="282"/>
            <ac:graphicFrameMk id="283" creationId="{FAEB95DB-D711-E9D3-10BC-2BBA84E3E3C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43.684" v="44057"/>
          <ac:graphicFrameMkLst>
            <pc:docMk/>
            <pc:sldMk cId="4074781327" sldId="282"/>
            <ac:graphicFrameMk id="287" creationId="{3668AADA-106C-4CC0-AD8C-9EBD6ECD719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44.604" v="44212"/>
          <ac:graphicFrameMkLst>
            <pc:docMk/>
            <pc:sldMk cId="4074781327" sldId="282"/>
            <ac:graphicFrameMk id="289" creationId="{2F635161-ACC1-992A-A530-F9F04993312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7:41.086" v="103758"/>
          <ac:graphicFrameMkLst>
            <pc:docMk/>
            <pc:sldMk cId="4074781327" sldId="282"/>
            <ac:graphicFrameMk id="289" creationId="{A2C4AFB1-62B6-91A0-E462-D4E854B20EB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45.417" v="44367"/>
          <ac:graphicFrameMkLst>
            <pc:docMk/>
            <pc:sldMk cId="4074781327" sldId="282"/>
            <ac:graphicFrameMk id="291" creationId="{87254E52-F22D-A01C-3E40-0668B32D470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1:59.822" v="97930"/>
          <ac:graphicFrameMkLst>
            <pc:docMk/>
            <pc:sldMk cId="4074781327" sldId="282"/>
            <ac:graphicFrameMk id="293" creationId="{7EFD1FBF-6214-2670-01DF-3095645F0A7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7:43.801" v="103880"/>
          <ac:graphicFrameMkLst>
            <pc:docMk/>
            <pc:sldMk cId="4074781327" sldId="282"/>
            <ac:graphicFrameMk id="295" creationId="{24D68981-D848-8628-AFD6-70C087493A4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7:57.244" v="104229"/>
          <ac:graphicFrameMkLst>
            <pc:docMk/>
            <pc:sldMk cId="4074781327" sldId="282"/>
            <ac:graphicFrameMk id="297" creationId="{F4487F65-F8AF-430E-0189-F2748720943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8:00.516" v="104359"/>
          <ac:graphicFrameMkLst>
            <pc:docMk/>
            <pc:sldMk cId="4074781327" sldId="282"/>
            <ac:graphicFrameMk id="300" creationId="{82F995B0-5930-0878-3024-8D38BF93C48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8:05.155" v="104497"/>
          <ac:graphicFrameMkLst>
            <pc:docMk/>
            <pc:sldMk cId="4074781327" sldId="282"/>
            <ac:graphicFrameMk id="302" creationId="{E65DB933-2CC3-9D78-AED2-66752D81AD0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8:06.940" v="104636"/>
          <ac:graphicFrameMkLst>
            <pc:docMk/>
            <pc:sldMk cId="4074781327" sldId="282"/>
            <ac:graphicFrameMk id="304" creationId="{1DE4322D-CA55-7801-26C5-77933489693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8:10.091" v="104760"/>
          <ac:graphicFrameMkLst>
            <pc:docMk/>
            <pc:sldMk cId="4074781327" sldId="282"/>
            <ac:graphicFrameMk id="306" creationId="{5A453015-3CB6-674C-322D-4DE315190B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8:10.678" v="104889"/>
          <ac:graphicFrameMkLst>
            <pc:docMk/>
            <pc:sldMk cId="4074781327" sldId="282"/>
            <ac:graphicFrameMk id="308" creationId="{E18A2934-8F3D-EDC0-B188-A22A6634B54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8:21.222" v="105023"/>
          <ac:graphicFrameMkLst>
            <pc:docMk/>
            <pc:sldMk cId="4074781327" sldId="282"/>
            <ac:graphicFrameMk id="310" creationId="{101BCAFD-A015-DEB2-038C-0EFEA950E5B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8:24.286" v="105150"/>
          <ac:graphicFrameMkLst>
            <pc:docMk/>
            <pc:sldMk cId="4074781327" sldId="282"/>
            <ac:graphicFrameMk id="312" creationId="{7A2CC881-A7B5-E18B-6598-D638D04CC56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29.067" v="106417"/>
          <ac:graphicFrameMkLst>
            <pc:docMk/>
            <pc:sldMk cId="4074781327" sldId="282"/>
            <ac:graphicFrameMk id="314" creationId="{3AC879D5-B579-B639-352A-7259F7AC74E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8:36.398" v="105449"/>
          <ac:graphicFrameMkLst>
            <pc:docMk/>
            <pc:sldMk cId="4074781327" sldId="282"/>
            <ac:graphicFrameMk id="317" creationId="{671AEBDB-ECA3-0394-5579-1D61BA36AB5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29:00.985" v="105588"/>
          <ac:graphicFrameMkLst>
            <pc:docMk/>
            <pc:sldMk cId="4074781327" sldId="282"/>
            <ac:graphicFrameMk id="319" creationId="{F00E339F-A699-8EA5-9C30-289E62642646}"/>
          </ac:graphicFrameMkLst>
        </pc:graphicFrameChg>
        <pc:cxnChg chg="mod ord">
          <ac:chgData name="Oğuz Öztekin" userId="33c0df0f-d5fe-4bda-8f43-141ad7af67e3" providerId="ADAL" clId="{48B824AD-1B2A-47A8-8D92-6FE6E622A650}" dt="2024-12-16T16:29:51.695" v="107169"/>
          <ac:cxnSpMkLst>
            <pc:docMk/>
            <pc:sldMk cId="4074781327" sldId="282"/>
            <ac:cxnSpMk id="7" creationId="{A1533FBF-663A-6538-2E6F-ECBC8B01235B}"/>
          </ac:cxnSpMkLst>
        </pc:cxnChg>
        <pc:cxnChg chg="mod ord">
          <ac:chgData name="Oğuz Öztekin" userId="33c0df0f-d5fe-4bda-8f43-141ad7af67e3" providerId="ADAL" clId="{48B824AD-1B2A-47A8-8D92-6FE6E622A650}" dt="2024-12-16T16:29:51.695" v="107171"/>
          <ac:cxnSpMkLst>
            <pc:docMk/>
            <pc:sldMk cId="4074781327" sldId="282"/>
            <ac:cxnSpMk id="8" creationId="{15976A05-1CDE-B84A-0274-0E853EE30587}"/>
          </ac:cxnSpMkLst>
        </pc:cxnChg>
        <pc:cxnChg chg="mod ord">
          <ac:chgData name="Oğuz Öztekin" userId="33c0df0f-d5fe-4bda-8f43-141ad7af67e3" providerId="ADAL" clId="{48B824AD-1B2A-47A8-8D92-6FE6E622A650}" dt="2024-12-16T16:29:51.696" v="107173"/>
          <ac:cxnSpMkLst>
            <pc:docMk/>
            <pc:sldMk cId="4074781327" sldId="282"/>
            <ac:cxnSpMk id="9" creationId="{E3036054-8716-B9B4-E7C6-A9D3B721CD7D}"/>
          </ac:cxnSpMkLst>
        </pc:cxnChg>
        <pc:cxnChg chg="del mod ord">
          <ac:chgData name="Oğuz Öztekin" userId="33c0df0f-d5fe-4bda-8f43-141ad7af67e3" providerId="ADAL" clId="{48B824AD-1B2A-47A8-8D92-6FE6E622A650}" dt="2024-12-16T16:26:47.835" v="102352"/>
          <ac:cxnSpMkLst>
            <pc:docMk/>
            <pc:sldMk cId="4074781327" sldId="282"/>
            <ac:cxnSpMk id="11" creationId="{52332A99-A9F2-BA99-5FD5-643042C45AD9}"/>
          </ac:cxnSpMkLst>
        </pc:cxnChg>
        <pc:cxnChg chg="add del mod ord">
          <ac:chgData name="Oğuz Öztekin" userId="33c0df0f-d5fe-4bda-8f43-141ad7af67e3" providerId="ADAL" clId="{48B824AD-1B2A-47A8-8D92-6FE6E622A650}" dt="2024-12-16T11:02:49.175" v="33309"/>
          <ac:cxnSpMkLst>
            <pc:docMk/>
            <pc:sldMk cId="4074781327" sldId="282"/>
            <ac:cxnSpMk id="30" creationId="{63DA2E96-2971-D8B2-2B22-CD73D18A7F96}"/>
          </ac:cxnSpMkLst>
        </pc:cxnChg>
        <pc:cxnChg chg="add del mod ord">
          <ac:chgData name="Oğuz Öztekin" userId="33c0df0f-d5fe-4bda-8f43-141ad7af67e3" providerId="ADAL" clId="{48B824AD-1B2A-47A8-8D92-6FE6E622A650}" dt="2024-12-16T11:02:49.175" v="33307"/>
          <ac:cxnSpMkLst>
            <pc:docMk/>
            <pc:sldMk cId="4074781327" sldId="282"/>
            <ac:cxnSpMk id="31" creationId="{9E471E58-7FD7-2940-0179-0FC00450AF12}"/>
          </ac:cxnSpMkLst>
        </pc:cxnChg>
        <pc:cxnChg chg="add del mod ord">
          <ac:chgData name="Oğuz Öztekin" userId="33c0df0f-d5fe-4bda-8f43-141ad7af67e3" providerId="ADAL" clId="{48B824AD-1B2A-47A8-8D92-6FE6E622A650}" dt="2024-12-16T11:02:49.174" v="33305"/>
          <ac:cxnSpMkLst>
            <pc:docMk/>
            <pc:sldMk cId="4074781327" sldId="282"/>
            <ac:cxnSpMk id="32" creationId="{66A6B4BE-311C-44CD-9380-FB92302D431E}"/>
          </ac:cxnSpMkLst>
        </pc:cxnChg>
        <pc:cxnChg chg="add del mod ord">
          <ac:chgData name="Oğuz Öztekin" userId="33c0df0f-d5fe-4bda-8f43-141ad7af67e3" providerId="ADAL" clId="{48B824AD-1B2A-47A8-8D92-6FE6E622A650}" dt="2024-12-16T11:02:49.174" v="33303"/>
          <ac:cxnSpMkLst>
            <pc:docMk/>
            <pc:sldMk cId="4074781327" sldId="282"/>
            <ac:cxnSpMk id="33" creationId="{4308F809-0450-E718-7037-C01E1314144F}"/>
          </ac:cxnSpMkLst>
        </pc:cxnChg>
        <pc:cxnChg chg="add del mod ord">
          <ac:chgData name="Oğuz Öztekin" userId="33c0df0f-d5fe-4bda-8f43-141ad7af67e3" providerId="ADAL" clId="{48B824AD-1B2A-47A8-8D92-6FE6E622A650}" dt="2024-12-16T11:02:49.173" v="33301"/>
          <ac:cxnSpMkLst>
            <pc:docMk/>
            <pc:sldMk cId="4074781327" sldId="282"/>
            <ac:cxnSpMk id="34" creationId="{7E8CF698-6619-28E4-B15C-8C973399E195}"/>
          </ac:cxnSpMkLst>
        </pc:cxnChg>
        <pc:cxnChg chg="del mod ord">
          <ac:chgData name="Oğuz Öztekin" userId="33c0df0f-d5fe-4bda-8f43-141ad7af67e3" providerId="ADAL" clId="{48B824AD-1B2A-47A8-8D92-6FE6E622A650}" dt="2024-12-16T11:02:49.176" v="33311"/>
          <ac:cxnSpMkLst>
            <pc:docMk/>
            <pc:sldMk cId="4074781327" sldId="282"/>
            <ac:cxnSpMk id="53" creationId="{219C975A-C492-9FB6-8AAF-F505C339CA83}"/>
          </ac:cxnSpMkLst>
        </pc:cxnChg>
        <pc:cxnChg chg="mod ord">
          <ac:chgData name="Oğuz Öztekin" userId="33c0df0f-d5fe-4bda-8f43-141ad7af67e3" providerId="ADAL" clId="{48B824AD-1B2A-47A8-8D92-6FE6E622A650}" dt="2024-12-16T16:29:51.687" v="107137"/>
          <ac:cxnSpMkLst>
            <pc:docMk/>
            <pc:sldMk cId="4074781327" sldId="282"/>
            <ac:cxnSpMk id="73" creationId="{E7C7B5E0-BFBA-5A9D-AA77-D1ACF0DBF9A6}"/>
          </ac:cxnSpMkLst>
        </pc:cxnChg>
        <pc:cxnChg chg="mod ord">
          <ac:chgData name="Oğuz Öztekin" userId="33c0df0f-d5fe-4bda-8f43-141ad7af67e3" providerId="ADAL" clId="{48B824AD-1B2A-47A8-8D92-6FE6E622A650}" dt="2024-12-16T16:29:51.688" v="107139"/>
          <ac:cxnSpMkLst>
            <pc:docMk/>
            <pc:sldMk cId="4074781327" sldId="282"/>
            <ac:cxnSpMk id="74" creationId="{FD704EA1-5A9F-B95E-4162-5CE556574395}"/>
          </ac:cxnSpMkLst>
        </pc:cxnChg>
        <pc:cxnChg chg="mod ord">
          <ac:chgData name="Oğuz Öztekin" userId="33c0df0f-d5fe-4bda-8f43-141ad7af67e3" providerId="ADAL" clId="{48B824AD-1B2A-47A8-8D92-6FE6E622A650}" dt="2024-12-16T16:29:51.688" v="107141"/>
          <ac:cxnSpMkLst>
            <pc:docMk/>
            <pc:sldMk cId="4074781327" sldId="282"/>
            <ac:cxnSpMk id="75" creationId="{6FD1D3C8-EE05-89A3-ED51-23403129A4D6}"/>
          </ac:cxnSpMkLst>
        </pc:cxnChg>
        <pc:cxnChg chg="add del mod ord">
          <ac:chgData name="Oğuz Öztekin" userId="33c0df0f-d5fe-4bda-8f43-141ad7af67e3" providerId="ADAL" clId="{48B824AD-1B2A-47A8-8D92-6FE6E622A650}" dt="2024-12-16T16:26:46.628" v="102208"/>
          <ac:cxnSpMkLst>
            <pc:docMk/>
            <pc:sldMk cId="4074781327" sldId="282"/>
            <ac:cxnSpMk id="226" creationId="{F448A5C8-8EBE-E789-C38E-0E7077AEE2AA}"/>
          </ac:cxnSpMkLst>
        </pc:cxnChg>
        <pc:cxnChg chg="add del mod ord">
          <ac:chgData name="Oğuz Öztekin" userId="33c0df0f-d5fe-4bda-8f43-141ad7af67e3" providerId="ADAL" clId="{48B824AD-1B2A-47A8-8D92-6FE6E622A650}" dt="2024-12-16T16:26:45.474" v="102064"/>
          <ac:cxnSpMkLst>
            <pc:docMk/>
            <pc:sldMk cId="4074781327" sldId="282"/>
            <ac:cxnSpMk id="227" creationId="{D46FB74C-4A90-3684-7631-7F49DEDA40AA}"/>
          </ac:cxnSpMkLst>
        </pc:cxnChg>
        <pc:cxnChg chg="add del mod ord">
          <ac:chgData name="Oğuz Öztekin" userId="33c0df0f-d5fe-4bda-8f43-141ad7af67e3" providerId="ADAL" clId="{48B824AD-1B2A-47A8-8D92-6FE6E622A650}" dt="2024-12-16T16:26:43.238" v="101772"/>
          <ac:cxnSpMkLst>
            <pc:docMk/>
            <pc:sldMk cId="4074781327" sldId="282"/>
            <ac:cxnSpMk id="228" creationId="{E9318A59-269A-F262-4448-89AB440B5C61}"/>
          </ac:cxnSpMkLst>
        </pc:cxnChg>
        <pc:cxnChg chg="add del mod ord">
          <ac:chgData name="Oğuz Öztekin" userId="33c0df0f-d5fe-4bda-8f43-141ad7af67e3" providerId="ADAL" clId="{48B824AD-1B2A-47A8-8D92-6FE6E622A650}" dt="2024-12-16T16:26:42.147" v="101618"/>
          <ac:cxnSpMkLst>
            <pc:docMk/>
            <pc:sldMk cId="4074781327" sldId="282"/>
            <ac:cxnSpMk id="229" creationId="{224756EA-C4E7-3136-B8E2-E860815CBC3F}"/>
          </ac:cxnSpMkLst>
        </pc:cxnChg>
        <pc:cxnChg chg="add del mod ord">
          <ac:chgData name="Oğuz Öztekin" userId="33c0df0f-d5fe-4bda-8f43-141ad7af67e3" providerId="ADAL" clId="{48B824AD-1B2A-47A8-8D92-6FE6E622A650}" dt="2024-12-16T16:26:36.515" v="100702"/>
          <ac:cxnSpMkLst>
            <pc:docMk/>
            <pc:sldMk cId="4074781327" sldId="282"/>
            <ac:cxnSpMk id="230" creationId="{0DF03E0E-9BBE-7785-CE5B-BF5AFD14FED6}"/>
          </ac:cxnSpMkLst>
        </pc:cxnChg>
        <pc:cxnChg chg="add mod ord">
          <ac:chgData name="Oğuz Öztekin" userId="33c0df0f-d5fe-4bda-8f43-141ad7af67e3" providerId="ADAL" clId="{48B824AD-1B2A-47A8-8D92-6FE6E622A650}" dt="2024-12-16T16:29:51.696" v="107176"/>
          <ac:cxnSpMkLst>
            <pc:docMk/>
            <pc:sldMk cId="4074781327" sldId="282"/>
            <ac:cxnSpMk id="231" creationId="{72908240-AD6D-E83C-37E4-E1C09A1E34A5}"/>
          </ac:cxnSpMkLst>
        </pc:cxnChg>
        <pc:cxnChg chg="add mod ord">
          <ac:chgData name="Oğuz Öztekin" userId="33c0df0f-d5fe-4bda-8f43-141ad7af67e3" providerId="ADAL" clId="{48B824AD-1B2A-47A8-8D92-6FE6E622A650}" dt="2024-12-16T16:29:51.689" v="107144"/>
          <ac:cxnSpMkLst>
            <pc:docMk/>
            <pc:sldMk cId="4074781327" sldId="282"/>
            <ac:cxnSpMk id="286" creationId="{1B8AA56F-7C2A-92A3-6FEC-0F9B187F57EA}"/>
          </ac:cxnSpMkLst>
        </pc:cxnChg>
      </pc:sldChg>
      <pc:sldChg chg="addSp delSp modSp add del mod">
        <pc:chgData name="Oğuz Öztekin" userId="33c0df0f-d5fe-4bda-8f43-141ad7af67e3" providerId="ADAL" clId="{48B824AD-1B2A-47A8-8D92-6FE6E622A650}" dt="2024-12-16T16:34:29.431" v="112300"/>
        <pc:sldMkLst>
          <pc:docMk/>
          <pc:sldMk cId="2007446643" sldId="283"/>
        </pc:sldMkLst>
        <pc:spChg chg="mod ord">
          <ac:chgData name="Oğuz Öztekin" userId="33c0df0f-d5fe-4bda-8f43-141ad7af67e3" providerId="ADAL" clId="{48B824AD-1B2A-47A8-8D92-6FE6E622A650}" dt="2024-12-16T16:34:29.427" v="112280"/>
          <ac:spMkLst>
            <pc:docMk/>
            <pc:sldMk cId="2007446643" sldId="283"/>
            <ac:spMk id="2" creationId="{244C6A3F-5ECD-7E3D-5CEE-7C435460A096}"/>
          </ac:spMkLst>
        </pc:spChg>
        <pc:spChg chg="add del mod modVis">
          <ac:chgData name="Oğuz Öztekin" userId="33c0df0f-d5fe-4bda-8f43-141ad7af67e3" providerId="ADAL" clId="{48B824AD-1B2A-47A8-8D92-6FE6E622A650}" dt="2024-12-16T16:30:02.341" v="107227"/>
          <ac:spMkLst>
            <pc:docMk/>
            <pc:sldMk cId="2007446643" sldId="283"/>
            <ac:spMk id="4" creationId="{7A9577DB-7745-F949-F9E9-6495F4DBF64D}"/>
          </ac:spMkLst>
        </pc:spChg>
        <pc:spChg chg="add del mod modVis">
          <ac:chgData name="Oğuz Öztekin" userId="33c0df0f-d5fe-4bda-8f43-141ad7af67e3" providerId="ADAL" clId="{48B824AD-1B2A-47A8-8D92-6FE6E622A650}" dt="2024-12-16T11:12:52.132" v="45806" actId="478"/>
          <ac:spMkLst>
            <pc:docMk/>
            <pc:sldMk cId="2007446643" sldId="283"/>
            <ac:spMk id="4" creationId="{E889D60C-CACB-4184-3404-F676628C07DE}"/>
          </ac:spMkLst>
        </pc:spChg>
        <pc:spChg chg="add del mod modVis">
          <ac:chgData name="Oğuz Öztekin" userId="33c0df0f-d5fe-4bda-8f43-141ad7af67e3" providerId="ADAL" clId="{48B824AD-1B2A-47A8-8D92-6FE6E622A650}" dt="2024-12-16T16:30:04.624" v="107259"/>
          <ac:spMkLst>
            <pc:docMk/>
            <pc:sldMk cId="2007446643" sldId="283"/>
            <ac:spMk id="5" creationId="{3E64F2D1-51BA-96DC-9CE2-13EC46723005}"/>
          </ac:spMkLst>
        </pc:spChg>
        <pc:spChg chg="add del mod modVis">
          <ac:chgData name="Oğuz Öztekin" userId="33c0df0f-d5fe-4bda-8f43-141ad7af67e3" providerId="ADAL" clId="{48B824AD-1B2A-47A8-8D92-6FE6E622A650}" dt="2024-12-16T11:12:53.332" v="45891" actId="478"/>
          <ac:spMkLst>
            <pc:docMk/>
            <pc:sldMk cId="2007446643" sldId="283"/>
            <ac:spMk id="6" creationId="{12A976AF-C048-7F86-BC50-8C839E148C4B}"/>
          </ac:spMkLst>
        </pc:spChg>
        <pc:spChg chg="add del mod modVis">
          <ac:chgData name="Oğuz Öztekin" userId="33c0df0f-d5fe-4bda-8f43-141ad7af67e3" providerId="ADAL" clId="{48B824AD-1B2A-47A8-8D92-6FE6E622A650}" dt="2024-12-16T16:30:09.983" v="107301"/>
          <ac:spMkLst>
            <pc:docMk/>
            <pc:sldMk cId="2007446643" sldId="283"/>
            <ac:spMk id="6" creationId="{2FEAC698-5674-3F3A-71EB-61E344D42D84}"/>
          </ac:spMkLst>
        </pc:spChg>
        <pc:spChg chg="add del mod modVis">
          <ac:chgData name="Oğuz Öztekin" userId="33c0df0f-d5fe-4bda-8f43-141ad7af67e3" providerId="ADAL" clId="{48B824AD-1B2A-47A8-8D92-6FE6E622A650}" dt="2024-12-16T16:30:10.509" v="107326"/>
          <ac:spMkLst>
            <pc:docMk/>
            <pc:sldMk cId="2007446643" sldId="283"/>
            <ac:spMk id="7" creationId="{B22BEBCD-5F8B-20B3-A689-1BEB3C0AC728}"/>
          </ac:spMkLst>
        </pc:spChg>
        <pc:spChg chg="add del mod modVis">
          <ac:chgData name="Oğuz Öztekin" userId="33c0df0f-d5fe-4bda-8f43-141ad7af67e3" providerId="ADAL" clId="{48B824AD-1B2A-47A8-8D92-6FE6E622A650}" dt="2024-12-16T16:30:12.995" v="107356"/>
          <ac:spMkLst>
            <pc:docMk/>
            <pc:sldMk cId="2007446643" sldId="283"/>
            <ac:spMk id="8" creationId="{ECEDC4CA-B0F8-7DD9-0B80-47088A95357F}"/>
          </ac:spMkLst>
        </pc:spChg>
        <pc:spChg chg="add del mod modVis">
          <ac:chgData name="Oğuz Öztekin" userId="33c0df0f-d5fe-4bda-8f43-141ad7af67e3" providerId="ADAL" clId="{48B824AD-1B2A-47A8-8D92-6FE6E622A650}" dt="2024-12-16T16:30:13.901" v="107382"/>
          <ac:spMkLst>
            <pc:docMk/>
            <pc:sldMk cId="2007446643" sldId="283"/>
            <ac:spMk id="9" creationId="{E0C2E716-BE24-ECED-AF6E-F7720C73DC77}"/>
          </ac:spMkLst>
        </pc:spChg>
        <pc:spChg chg="add del mod modVis">
          <ac:chgData name="Oğuz Öztekin" userId="33c0df0f-d5fe-4bda-8f43-141ad7af67e3" providerId="ADAL" clId="{48B824AD-1B2A-47A8-8D92-6FE6E622A650}" dt="2024-12-16T16:30:17.509" v="107419"/>
          <ac:spMkLst>
            <pc:docMk/>
            <pc:sldMk cId="2007446643" sldId="283"/>
            <ac:spMk id="10" creationId="{5A50C742-8289-0A63-BAAC-D90CC49BCCD5}"/>
          </ac:spMkLst>
        </pc:spChg>
        <pc:spChg chg="del mod">
          <ac:chgData name="Oğuz Öztekin" userId="33c0df0f-d5fe-4bda-8f43-141ad7af67e3" providerId="ADAL" clId="{48B824AD-1B2A-47A8-8D92-6FE6E622A650}" dt="2024-12-16T11:18:10.520" v="49679"/>
          <ac:spMkLst>
            <pc:docMk/>
            <pc:sldMk cId="2007446643" sldId="283"/>
            <ac:spMk id="10" creationId="{CBCF0A45-4291-C9C8-A6B3-BF046F303CDE}"/>
          </ac:spMkLst>
        </pc:spChg>
        <pc:spChg chg="add del mod modVis">
          <ac:chgData name="Oğuz Öztekin" userId="33c0df0f-d5fe-4bda-8f43-141ad7af67e3" providerId="ADAL" clId="{48B824AD-1B2A-47A8-8D92-6FE6E622A650}" dt="2024-12-16T16:30:20.341" v="107477"/>
          <ac:spMkLst>
            <pc:docMk/>
            <pc:sldMk cId="2007446643" sldId="283"/>
            <ac:spMk id="11" creationId="{DE61072A-B829-3E06-122B-A374526E72BC}"/>
          </ac:spMkLst>
        </pc:spChg>
        <pc:spChg chg="add del mod modVis">
          <ac:chgData name="Oğuz Öztekin" userId="33c0df0f-d5fe-4bda-8f43-141ad7af67e3" providerId="ADAL" clId="{48B824AD-1B2A-47A8-8D92-6FE6E622A650}" dt="2024-12-16T16:30:25.903" v="107518"/>
          <ac:spMkLst>
            <pc:docMk/>
            <pc:sldMk cId="2007446643" sldId="283"/>
            <ac:spMk id="12" creationId="{BADD65A8-A933-5E1E-87AE-356369FF409F}"/>
          </ac:spMkLst>
        </pc:spChg>
        <pc:spChg chg="del mod">
          <ac:chgData name="Oğuz Öztekin" userId="33c0df0f-d5fe-4bda-8f43-141ad7af67e3" providerId="ADAL" clId="{48B824AD-1B2A-47A8-8D92-6FE6E622A650}" dt="2024-12-16T11:18:10.527" v="49700"/>
          <ac:spMkLst>
            <pc:docMk/>
            <pc:sldMk cId="2007446643" sldId="283"/>
            <ac:spMk id="12" creationId="{F003557D-3964-24C2-90E9-A6A2DD370EFE}"/>
          </ac:spMkLst>
        </pc:spChg>
        <pc:spChg chg="add del mod modVis">
          <ac:chgData name="Oğuz Öztekin" userId="33c0df0f-d5fe-4bda-8f43-141ad7af67e3" providerId="ADAL" clId="{48B824AD-1B2A-47A8-8D92-6FE6E622A650}" dt="2024-12-16T16:30:26.916" v="107545"/>
          <ac:spMkLst>
            <pc:docMk/>
            <pc:sldMk cId="2007446643" sldId="283"/>
            <ac:spMk id="13" creationId="{0FB17B15-719A-0BF8-036A-B5AD7317909F}"/>
          </ac:spMkLst>
        </pc:spChg>
        <pc:spChg chg="del mod">
          <ac:chgData name="Oğuz Öztekin" userId="33c0df0f-d5fe-4bda-8f43-141ad7af67e3" providerId="ADAL" clId="{48B824AD-1B2A-47A8-8D92-6FE6E622A650}" dt="2024-12-16T11:18:10.526" v="49698"/>
          <ac:spMkLst>
            <pc:docMk/>
            <pc:sldMk cId="2007446643" sldId="283"/>
            <ac:spMk id="13" creationId="{A98E4A05-993E-0366-2AB8-1C4DDA6EA93E}"/>
          </ac:spMkLst>
        </pc:spChg>
        <pc:spChg chg="add del mod modVis">
          <ac:chgData name="Oğuz Öztekin" userId="33c0df0f-d5fe-4bda-8f43-141ad7af67e3" providerId="ADAL" clId="{48B824AD-1B2A-47A8-8D92-6FE6E622A650}" dt="2024-12-16T16:30:27.524" v="107570"/>
          <ac:spMkLst>
            <pc:docMk/>
            <pc:sldMk cId="2007446643" sldId="283"/>
            <ac:spMk id="14" creationId="{1C4C8952-3814-6D19-2F2F-E3A56FB6625D}"/>
          </ac:spMkLst>
        </pc:spChg>
        <pc:spChg chg="del mod">
          <ac:chgData name="Oğuz Öztekin" userId="33c0df0f-d5fe-4bda-8f43-141ad7af67e3" providerId="ADAL" clId="{48B824AD-1B2A-47A8-8D92-6FE6E622A650}" dt="2024-12-16T11:18:10.525" v="49696"/>
          <ac:spMkLst>
            <pc:docMk/>
            <pc:sldMk cId="2007446643" sldId="283"/>
            <ac:spMk id="14" creationId="{C4F6845C-3E23-7CF7-B3B4-C66FB03E6365}"/>
          </ac:spMkLst>
        </pc:spChg>
        <pc:spChg chg="add del mod modVis">
          <ac:chgData name="Oğuz Öztekin" userId="33c0df0f-d5fe-4bda-8f43-141ad7af67e3" providerId="ADAL" clId="{48B824AD-1B2A-47A8-8D92-6FE6E622A650}" dt="2024-12-16T16:30:28.530" v="107597"/>
          <ac:spMkLst>
            <pc:docMk/>
            <pc:sldMk cId="2007446643" sldId="283"/>
            <ac:spMk id="15" creationId="{86308626-6E72-7540-718B-6DC017932875}"/>
          </ac:spMkLst>
        </pc:spChg>
        <pc:spChg chg="del mod">
          <ac:chgData name="Oğuz Öztekin" userId="33c0df0f-d5fe-4bda-8f43-141ad7af67e3" providerId="ADAL" clId="{48B824AD-1B2A-47A8-8D92-6FE6E622A650}" dt="2024-12-16T11:18:10.525" v="49694"/>
          <ac:spMkLst>
            <pc:docMk/>
            <pc:sldMk cId="2007446643" sldId="283"/>
            <ac:spMk id="15" creationId="{8AF2ED5F-7ED3-B078-F887-C73845FD2ECF}"/>
          </ac:spMkLst>
        </pc:spChg>
        <pc:spChg chg="del mod">
          <ac:chgData name="Oğuz Öztekin" userId="33c0df0f-d5fe-4bda-8f43-141ad7af67e3" providerId="ADAL" clId="{48B824AD-1B2A-47A8-8D92-6FE6E622A650}" dt="2024-12-16T11:18:10.524" v="49692"/>
          <ac:spMkLst>
            <pc:docMk/>
            <pc:sldMk cId="2007446643" sldId="283"/>
            <ac:spMk id="16" creationId="{37FBA4ED-8597-C361-FB5F-C6C921A58738}"/>
          </ac:spMkLst>
        </pc:spChg>
        <pc:spChg chg="add del mod modVis">
          <ac:chgData name="Oğuz Öztekin" userId="33c0df0f-d5fe-4bda-8f43-141ad7af67e3" providerId="ADAL" clId="{48B824AD-1B2A-47A8-8D92-6FE6E622A650}" dt="2024-12-16T16:30:30.758" v="107632"/>
          <ac:spMkLst>
            <pc:docMk/>
            <pc:sldMk cId="2007446643" sldId="283"/>
            <ac:spMk id="16" creationId="{3C47D4C8-C586-3A14-F99E-5AD92AEE7D26}"/>
          </ac:spMkLst>
        </pc:spChg>
        <pc:spChg chg="add del mod modVis">
          <ac:chgData name="Oğuz Öztekin" userId="33c0df0f-d5fe-4bda-8f43-141ad7af67e3" providerId="ADAL" clId="{48B824AD-1B2A-47A8-8D92-6FE6E622A650}" dt="2024-12-16T16:30:31.550" v="107657"/>
          <ac:spMkLst>
            <pc:docMk/>
            <pc:sldMk cId="2007446643" sldId="283"/>
            <ac:spMk id="17" creationId="{223DCFCB-2AD8-B4DC-DC24-25878CBB5D8D}"/>
          </ac:spMkLst>
        </pc:spChg>
        <pc:spChg chg="del mod">
          <ac:chgData name="Oğuz Öztekin" userId="33c0df0f-d5fe-4bda-8f43-141ad7af67e3" providerId="ADAL" clId="{48B824AD-1B2A-47A8-8D92-6FE6E622A650}" dt="2024-12-16T11:18:10.524" v="49690"/>
          <ac:spMkLst>
            <pc:docMk/>
            <pc:sldMk cId="2007446643" sldId="283"/>
            <ac:spMk id="17" creationId="{969E629B-E461-BFA2-B452-02C23A741D01}"/>
          </ac:spMkLst>
        </pc:spChg>
        <pc:spChg chg="del mod">
          <ac:chgData name="Oğuz Öztekin" userId="33c0df0f-d5fe-4bda-8f43-141ad7af67e3" providerId="ADAL" clId="{48B824AD-1B2A-47A8-8D92-6FE6E622A650}" dt="2024-12-16T11:18:10.523" v="49688"/>
          <ac:spMkLst>
            <pc:docMk/>
            <pc:sldMk cId="2007446643" sldId="283"/>
            <ac:spMk id="18" creationId="{3242957F-CFA7-721A-46BC-1A499FA16F3E}"/>
          </ac:spMkLst>
        </pc:spChg>
        <pc:spChg chg="add del mod modVis">
          <ac:chgData name="Oğuz Öztekin" userId="33c0df0f-d5fe-4bda-8f43-141ad7af67e3" providerId="ADAL" clId="{48B824AD-1B2A-47A8-8D92-6FE6E622A650}" dt="2024-12-16T16:30:33.958" v="107682"/>
          <ac:spMkLst>
            <pc:docMk/>
            <pc:sldMk cId="2007446643" sldId="283"/>
            <ac:spMk id="18" creationId="{DBB26D72-E516-A697-B639-D85959076495}"/>
          </ac:spMkLst>
        </pc:spChg>
        <pc:spChg chg="add del mod modVis">
          <ac:chgData name="Oğuz Öztekin" userId="33c0df0f-d5fe-4bda-8f43-141ad7af67e3" providerId="ADAL" clId="{48B824AD-1B2A-47A8-8D92-6FE6E622A650}" dt="2024-12-16T16:30:34.612" v="107707"/>
          <ac:spMkLst>
            <pc:docMk/>
            <pc:sldMk cId="2007446643" sldId="283"/>
            <ac:spMk id="19" creationId="{CA64E1F8-111A-CA1E-02DA-A23820454275}"/>
          </ac:spMkLst>
        </pc:spChg>
        <pc:spChg chg="del mod">
          <ac:chgData name="Oğuz Öztekin" userId="33c0df0f-d5fe-4bda-8f43-141ad7af67e3" providerId="ADAL" clId="{48B824AD-1B2A-47A8-8D92-6FE6E622A650}" dt="2024-12-16T11:18:10.523" v="49686"/>
          <ac:spMkLst>
            <pc:docMk/>
            <pc:sldMk cId="2007446643" sldId="283"/>
            <ac:spMk id="19" creationId="{D146E35D-1C5D-251C-BE13-63ED3EF95AEF}"/>
          </ac:spMkLst>
        </pc:spChg>
        <pc:spChg chg="add del mod modVis">
          <ac:chgData name="Oğuz Öztekin" userId="33c0df0f-d5fe-4bda-8f43-141ad7af67e3" providerId="ADAL" clId="{48B824AD-1B2A-47A8-8D92-6FE6E622A650}" dt="2024-12-16T16:30:39.279" v="107754"/>
          <ac:spMkLst>
            <pc:docMk/>
            <pc:sldMk cId="2007446643" sldId="283"/>
            <ac:spMk id="20" creationId="{2E5C42FF-363A-7207-D683-9BA700385DF5}"/>
          </ac:spMkLst>
        </pc:spChg>
        <pc:spChg chg="del mod">
          <ac:chgData name="Oğuz Öztekin" userId="33c0df0f-d5fe-4bda-8f43-141ad7af67e3" providerId="ADAL" clId="{48B824AD-1B2A-47A8-8D92-6FE6E622A650}" dt="2024-12-16T11:18:10.522" v="49684"/>
          <ac:spMkLst>
            <pc:docMk/>
            <pc:sldMk cId="2007446643" sldId="283"/>
            <ac:spMk id="20" creationId="{52C0A07B-9BB5-F148-B548-4D3DBAC1B618}"/>
          </ac:spMkLst>
        </pc:spChg>
        <pc:spChg chg="del mod">
          <ac:chgData name="Oğuz Öztekin" userId="33c0df0f-d5fe-4bda-8f43-141ad7af67e3" providerId="ADAL" clId="{48B824AD-1B2A-47A8-8D92-6FE6E622A650}" dt="2024-12-16T11:18:10.521" v="49682"/>
          <ac:spMkLst>
            <pc:docMk/>
            <pc:sldMk cId="2007446643" sldId="283"/>
            <ac:spMk id="21" creationId="{8CBF5E6A-5964-904F-FDD9-68856621B8CC}"/>
          </ac:spMkLst>
        </pc:spChg>
        <pc:spChg chg="add del mod modVis">
          <ac:chgData name="Oğuz Öztekin" userId="33c0df0f-d5fe-4bda-8f43-141ad7af67e3" providerId="ADAL" clId="{48B824AD-1B2A-47A8-8D92-6FE6E622A650}" dt="2024-12-16T16:30:43.337" v="107793"/>
          <ac:spMkLst>
            <pc:docMk/>
            <pc:sldMk cId="2007446643" sldId="283"/>
            <ac:spMk id="21" creationId="{93600306-7F7D-1A12-C206-E516D487EC6E}"/>
          </ac:spMkLst>
        </pc:spChg>
        <pc:spChg chg="del mod">
          <ac:chgData name="Oğuz Öztekin" userId="33c0df0f-d5fe-4bda-8f43-141ad7af67e3" providerId="ADAL" clId="{48B824AD-1B2A-47A8-8D92-6FE6E622A650}" dt="2024-12-16T11:18:10.521" v="49680"/>
          <ac:spMkLst>
            <pc:docMk/>
            <pc:sldMk cId="2007446643" sldId="283"/>
            <ac:spMk id="22" creationId="{3CBF6A18-DDB4-0EB6-5F97-DCD72E78D390}"/>
          </ac:spMkLst>
        </pc:spChg>
        <pc:spChg chg="add del mod modVis">
          <ac:chgData name="Oğuz Öztekin" userId="33c0df0f-d5fe-4bda-8f43-141ad7af67e3" providerId="ADAL" clId="{48B824AD-1B2A-47A8-8D92-6FE6E622A650}" dt="2024-12-16T16:32:28.544" v="107819"/>
          <ac:spMkLst>
            <pc:docMk/>
            <pc:sldMk cId="2007446643" sldId="283"/>
            <ac:spMk id="22" creationId="{62DC231A-F34B-3006-D56F-E5A2D44D4A26}"/>
          </ac:spMkLst>
        </pc:spChg>
        <pc:spChg chg="add del mod modVis">
          <ac:chgData name="Oğuz Öztekin" userId="33c0df0f-d5fe-4bda-8f43-141ad7af67e3" providerId="ADAL" clId="{48B824AD-1B2A-47A8-8D92-6FE6E622A650}" dt="2024-12-16T16:32:32.254" v="107989"/>
          <ac:spMkLst>
            <pc:docMk/>
            <pc:sldMk cId="2007446643" sldId="283"/>
            <ac:spMk id="23" creationId="{33E6E9F7-847D-B798-04C1-6CA6D73632F6}"/>
          </ac:spMkLst>
        </pc:spChg>
        <pc:spChg chg="del mod ord">
          <ac:chgData name="Oğuz Öztekin" userId="33c0df0f-d5fe-4bda-8f43-141ad7af67e3" providerId="ADAL" clId="{48B824AD-1B2A-47A8-8D92-6FE6E622A650}" dt="2024-12-16T11:18:10.516" v="49664"/>
          <ac:spMkLst>
            <pc:docMk/>
            <pc:sldMk cId="2007446643" sldId="283"/>
            <ac:spMk id="23" creationId="{4AAA719C-8485-2C13-691F-A3B2CCF04072}"/>
          </ac:spMkLst>
        </pc:spChg>
        <pc:spChg chg="add del mod modVis">
          <ac:chgData name="Oğuz Öztekin" userId="33c0df0f-d5fe-4bda-8f43-141ad7af67e3" providerId="ADAL" clId="{48B824AD-1B2A-47A8-8D92-6FE6E622A650}" dt="2024-12-16T11:12:38.841" v="45382" actId="962"/>
          <ac:spMkLst>
            <pc:docMk/>
            <pc:sldMk cId="2007446643" sldId="283"/>
            <ac:spMk id="25" creationId="{8D7BAFFD-9EC7-7FAC-87B4-98225B85CE78}"/>
          </ac:spMkLst>
        </pc:spChg>
        <pc:spChg chg="add del mod modVis">
          <ac:chgData name="Oğuz Öztekin" userId="33c0df0f-d5fe-4bda-8f43-141ad7af67e3" providerId="ADAL" clId="{48B824AD-1B2A-47A8-8D92-6FE6E622A650}" dt="2024-12-16T16:32:34.784" v="108107"/>
          <ac:spMkLst>
            <pc:docMk/>
            <pc:sldMk cId="2007446643" sldId="283"/>
            <ac:spMk id="25" creationId="{FA4AC6FE-4952-F15D-95B1-27B872169CF9}"/>
          </ac:spMkLst>
        </pc:spChg>
        <pc:spChg chg="add del mod modVis">
          <ac:chgData name="Oğuz Öztekin" userId="33c0df0f-d5fe-4bda-8f43-141ad7af67e3" providerId="ADAL" clId="{48B824AD-1B2A-47A8-8D92-6FE6E622A650}" dt="2024-12-16T11:13:54.525" v="45944"/>
          <ac:spMkLst>
            <pc:docMk/>
            <pc:sldMk cId="2007446643" sldId="283"/>
            <ac:spMk id="27" creationId="{54335845-06D2-7547-65B6-109C6C079F0E}"/>
          </ac:spMkLst>
        </pc:spChg>
        <pc:spChg chg="add del mod modVis">
          <ac:chgData name="Oğuz Öztekin" userId="33c0df0f-d5fe-4bda-8f43-141ad7af67e3" providerId="ADAL" clId="{48B824AD-1B2A-47A8-8D92-6FE6E622A650}" dt="2024-12-16T16:32:39.977" v="108239"/>
          <ac:spMkLst>
            <pc:docMk/>
            <pc:sldMk cId="2007446643" sldId="283"/>
            <ac:spMk id="27" creationId="{B0DB56F9-7313-03F6-93CF-AFA81B4C91F7}"/>
          </ac:spMkLst>
        </pc:spChg>
        <pc:spChg chg="add mod">
          <ac:chgData name="Oğuz Öztekin" userId="33c0df0f-d5fe-4bda-8f43-141ad7af67e3" providerId="ADAL" clId="{48B824AD-1B2A-47A8-8D92-6FE6E622A650}" dt="2024-12-16T16:34:29.429" v="112293"/>
          <ac:spMkLst>
            <pc:docMk/>
            <pc:sldMk cId="2007446643" sldId="283"/>
            <ac:spMk id="28" creationId="{A7B708CE-1A03-2D90-A1E1-1BB5DB09662B}"/>
          </ac:spMkLst>
        </pc:spChg>
        <pc:spChg chg="add del mod modVis">
          <ac:chgData name="Oğuz Öztekin" userId="33c0df0f-d5fe-4bda-8f43-141ad7af67e3" providerId="ADAL" clId="{48B824AD-1B2A-47A8-8D92-6FE6E622A650}" dt="2024-12-16T11:16:25.727" v="46157"/>
          <ac:spMkLst>
            <pc:docMk/>
            <pc:sldMk cId="2007446643" sldId="283"/>
            <ac:spMk id="28" creationId="{B2986A22-328E-8BA5-7D0A-3AD439EF3B18}"/>
          </ac:spMkLst>
        </pc:spChg>
        <pc:spChg chg="add del mod modVis">
          <ac:chgData name="Oğuz Öztekin" userId="33c0df0f-d5fe-4bda-8f43-141ad7af67e3" providerId="ADAL" clId="{48B824AD-1B2A-47A8-8D92-6FE6E622A650}" dt="2024-12-16T16:32:43.610" v="108317"/>
          <ac:spMkLst>
            <pc:docMk/>
            <pc:sldMk cId="2007446643" sldId="283"/>
            <ac:spMk id="30" creationId="{5F400A45-1A36-59DD-5454-DB67FFA349B5}"/>
          </ac:spMkLst>
        </pc:spChg>
        <pc:spChg chg="add del mod modVis">
          <ac:chgData name="Oğuz Öztekin" userId="33c0df0f-d5fe-4bda-8f43-141ad7af67e3" providerId="ADAL" clId="{48B824AD-1B2A-47A8-8D92-6FE6E622A650}" dt="2024-12-16T11:16:36.484" v="46580"/>
          <ac:spMkLst>
            <pc:docMk/>
            <pc:sldMk cId="2007446643" sldId="283"/>
            <ac:spMk id="30" creationId="{C9022DC4-628D-FB66-8F70-A22DD9846BBB}"/>
          </ac:spMkLst>
        </pc:spChg>
        <pc:spChg chg="add del mod">
          <ac:chgData name="Oğuz Öztekin" userId="33c0df0f-d5fe-4bda-8f43-141ad7af67e3" providerId="ADAL" clId="{48B824AD-1B2A-47A8-8D92-6FE6E622A650}" dt="2024-12-16T11:16:38.934" v="46621"/>
          <ac:spMkLst>
            <pc:docMk/>
            <pc:sldMk cId="2007446643" sldId="283"/>
            <ac:spMk id="31" creationId="{67C58A3C-229F-FAF0-A5C8-F51879A57774}"/>
          </ac:spMkLst>
        </pc:spChg>
        <pc:spChg chg="add del mod ord">
          <ac:chgData name="Oğuz Öztekin" userId="33c0df0f-d5fe-4bda-8f43-141ad7af67e3" providerId="ADAL" clId="{48B824AD-1B2A-47A8-8D92-6FE6E622A650}" dt="2024-12-16T11:17:03.044" v="48109"/>
          <ac:spMkLst>
            <pc:docMk/>
            <pc:sldMk cId="2007446643" sldId="283"/>
            <ac:spMk id="32" creationId="{2C840851-BBE5-FD75-E188-7A4F433512FD}"/>
          </ac:spMkLst>
        </pc:spChg>
        <pc:spChg chg="add del mod ord">
          <ac:chgData name="Oğuz Öztekin" userId="33c0df0f-d5fe-4bda-8f43-141ad7af67e3" providerId="ADAL" clId="{48B824AD-1B2A-47A8-8D92-6FE6E622A650}" dt="2024-12-16T11:17:03.043" v="48107"/>
          <ac:spMkLst>
            <pc:docMk/>
            <pc:sldMk cId="2007446643" sldId="283"/>
            <ac:spMk id="33" creationId="{C75ACFED-A8BD-7C24-CA68-00AF15C12351}"/>
          </ac:spMkLst>
        </pc:spChg>
        <pc:spChg chg="add del mod">
          <ac:chgData name="Oğuz Öztekin" userId="33c0df0f-d5fe-4bda-8f43-141ad7af67e3" providerId="ADAL" clId="{48B824AD-1B2A-47A8-8D92-6FE6E622A650}" dt="2024-12-16T11:17:03.043" v="48105"/>
          <ac:spMkLst>
            <pc:docMk/>
            <pc:sldMk cId="2007446643" sldId="283"/>
            <ac:spMk id="34" creationId="{0A107558-ADA3-5507-5EBC-7DEDFEF0F139}"/>
          </ac:spMkLst>
        </pc:spChg>
        <pc:spChg chg="del mod">
          <ac:chgData name="Oğuz Öztekin" userId="33c0df0f-d5fe-4bda-8f43-141ad7af67e3" providerId="ADAL" clId="{48B824AD-1B2A-47A8-8D92-6FE6E622A650}" dt="2024-12-16T11:17:03.083" v="48218"/>
          <ac:spMkLst>
            <pc:docMk/>
            <pc:sldMk cId="2007446643" sldId="283"/>
            <ac:spMk id="35" creationId="{854BEB29-8535-57B3-8962-C0189C8D1848}"/>
          </ac:spMkLst>
        </pc:spChg>
        <pc:spChg chg="del mod">
          <ac:chgData name="Oğuz Öztekin" userId="33c0df0f-d5fe-4bda-8f43-141ad7af67e3" providerId="ADAL" clId="{48B824AD-1B2A-47A8-8D92-6FE6E622A650}" dt="2024-12-16T11:17:03.084" v="48219"/>
          <ac:spMkLst>
            <pc:docMk/>
            <pc:sldMk cId="2007446643" sldId="283"/>
            <ac:spMk id="36" creationId="{9735C9D5-4543-3A2B-F62C-171A30B53AB5}"/>
          </ac:spMkLst>
        </pc:spChg>
        <pc:spChg chg="del mod">
          <ac:chgData name="Oğuz Öztekin" userId="33c0df0f-d5fe-4bda-8f43-141ad7af67e3" providerId="ADAL" clId="{48B824AD-1B2A-47A8-8D92-6FE6E622A650}" dt="2024-12-16T11:17:03.084" v="48220"/>
          <ac:spMkLst>
            <pc:docMk/>
            <pc:sldMk cId="2007446643" sldId="283"/>
            <ac:spMk id="37" creationId="{8460A7C5-1567-FFB2-CB32-D0BDCD03EC85}"/>
          </ac:spMkLst>
        </pc:spChg>
        <pc:spChg chg="add del mod ord">
          <ac:chgData name="Oğuz Öztekin" userId="33c0df0f-d5fe-4bda-8f43-141ad7af67e3" providerId="ADAL" clId="{48B824AD-1B2A-47A8-8D92-6FE6E622A650}" dt="2024-12-16T11:17:03.042" v="48104"/>
          <ac:spMkLst>
            <pc:docMk/>
            <pc:sldMk cId="2007446643" sldId="283"/>
            <ac:spMk id="38" creationId="{C4A0AF32-B047-23AF-9787-832515523D91}"/>
          </ac:spMkLst>
        </pc:spChg>
        <pc:spChg chg="add del mod ord">
          <ac:chgData name="Oğuz Öztekin" userId="33c0df0f-d5fe-4bda-8f43-141ad7af67e3" providerId="ADAL" clId="{48B824AD-1B2A-47A8-8D92-6FE6E622A650}" dt="2024-12-16T11:17:03.042" v="48102"/>
          <ac:spMkLst>
            <pc:docMk/>
            <pc:sldMk cId="2007446643" sldId="283"/>
            <ac:spMk id="39" creationId="{2212FDF3-55BF-479F-8BA8-AD8B0F1FC70E}"/>
          </ac:spMkLst>
        </pc:spChg>
        <pc:spChg chg="add del mod">
          <ac:chgData name="Oğuz Öztekin" userId="33c0df0f-d5fe-4bda-8f43-141ad7af67e3" providerId="ADAL" clId="{48B824AD-1B2A-47A8-8D92-6FE6E622A650}" dt="2024-12-16T11:17:03.042" v="48100"/>
          <ac:spMkLst>
            <pc:docMk/>
            <pc:sldMk cId="2007446643" sldId="283"/>
            <ac:spMk id="40" creationId="{853FCD08-A907-3C7C-D9B6-72C319C5C757}"/>
          </ac:spMkLst>
        </pc:spChg>
        <pc:spChg chg="add del mod">
          <ac:chgData name="Oğuz Öztekin" userId="33c0df0f-d5fe-4bda-8f43-141ad7af67e3" providerId="ADAL" clId="{48B824AD-1B2A-47A8-8D92-6FE6E622A650}" dt="2024-12-16T11:18:26.165" v="51081"/>
          <ac:spMkLst>
            <pc:docMk/>
            <pc:sldMk cId="2007446643" sldId="283"/>
            <ac:spMk id="41" creationId="{C94F4107-CF74-6FC9-614C-06B33340B970}"/>
          </ac:spMkLst>
        </pc:spChg>
        <pc:spChg chg="add del mod">
          <ac:chgData name="Oğuz Öztekin" userId="33c0df0f-d5fe-4bda-8f43-141ad7af67e3" providerId="ADAL" clId="{48B824AD-1B2A-47A8-8D92-6FE6E622A650}" dt="2024-12-16T11:18:26.164" v="51075"/>
          <ac:spMkLst>
            <pc:docMk/>
            <pc:sldMk cId="2007446643" sldId="283"/>
            <ac:spMk id="42" creationId="{BDF6629A-282B-CDED-9229-AEDD96BC8EC1}"/>
          </ac:spMkLst>
        </pc:spChg>
        <pc:spChg chg="add del mod">
          <ac:chgData name="Oğuz Öztekin" userId="33c0df0f-d5fe-4bda-8f43-141ad7af67e3" providerId="ADAL" clId="{48B824AD-1B2A-47A8-8D92-6FE6E622A650}" dt="2024-12-16T11:18:26.163" v="51072"/>
          <ac:spMkLst>
            <pc:docMk/>
            <pc:sldMk cId="2007446643" sldId="283"/>
            <ac:spMk id="43" creationId="{73311560-67C7-EEF7-5493-6EAA8F492147}"/>
          </ac:spMkLst>
        </pc:spChg>
        <pc:spChg chg="add del mod">
          <ac:chgData name="Oğuz Öztekin" userId="33c0df0f-d5fe-4bda-8f43-141ad7af67e3" providerId="ADAL" clId="{48B824AD-1B2A-47A8-8D92-6FE6E622A650}" dt="2024-12-16T11:18:26.161" v="51066"/>
          <ac:spMkLst>
            <pc:docMk/>
            <pc:sldMk cId="2007446643" sldId="283"/>
            <ac:spMk id="44" creationId="{EE9A179F-8D56-3A75-D5E5-2043E1CEAB42}"/>
          </ac:spMkLst>
        </pc:spChg>
        <pc:spChg chg="add del mod">
          <ac:chgData name="Oğuz Öztekin" userId="33c0df0f-d5fe-4bda-8f43-141ad7af67e3" providerId="ADAL" clId="{48B824AD-1B2A-47A8-8D92-6FE6E622A650}" dt="2024-12-16T11:18:38.186" v="51336"/>
          <ac:spMkLst>
            <pc:docMk/>
            <pc:sldMk cId="2007446643" sldId="283"/>
            <ac:spMk id="45" creationId="{DDE82F6C-6E5B-FF8E-691C-1681B251F879}"/>
          </ac:spMkLst>
        </pc:spChg>
        <pc:spChg chg="add del mod">
          <ac:chgData name="Oğuz Öztekin" userId="33c0df0f-d5fe-4bda-8f43-141ad7af67e3" providerId="ADAL" clId="{48B824AD-1B2A-47A8-8D92-6FE6E622A650}" dt="2024-12-16T11:18:26.159" v="51057"/>
          <ac:spMkLst>
            <pc:docMk/>
            <pc:sldMk cId="2007446643" sldId="283"/>
            <ac:spMk id="46" creationId="{91F1395A-0501-4CBE-D754-4C94038C544D}"/>
          </ac:spMkLst>
        </pc:spChg>
        <pc:spChg chg="add del mod modVis">
          <ac:chgData name="Oğuz Öztekin" userId="33c0df0f-d5fe-4bda-8f43-141ad7af67e3" providerId="ADAL" clId="{48B824AD-1B2A-47A8-8D92-6FE6E622A650}" dt="2024-12-16T11:17:03.142" v="48383"/>
          <ac:spMkLst>
            <pc:docMk/>
            <pc:sldMk cId="2007446643" sldId="283"/>
            <ac:spMk id="55" creationId="{310BC037-9AC4-3487-ED79-E85E9CF0C54B}"/>
          </ac:spMkLst>
        </pc:spChg>
        <pc:spChg chg="add del mod ord">
          <ac:chgData name="Oğuz Öztekin" userId="33c0df0f-d5fe-4bda-8f43-141ad7af67e3" providerId="ADAL" clId="{48B824AD-1B2A-47A8-8D92-6FE6E622A650}" dt="2024-12-16T11:18:38.127" v="51262"/>
          <ac:spMkLst>
            <pc:docMk/>
            <pc:sldMk cId="2007446643" sldId="283"/>
            <ac:spMk id="56" creationId="{710188B6-2CD5-1D94-A547-694F9734BDF2}"/>
          </ac:spMkLst>
        </pc:spChg>
        <pc:spChg chg="add del mod ord">
          <ac:chgData name="Oğuz Öztekin" userId="33c0df0f-d5fe-4bda-8f43-141ad7af67e3" providerId="ADAL" clId="{48B824AD-1B2A-47A8-8D92-6FE6E622A650}" dt="2024-12-16T11:18:38.126" v="51260"/>
          <ac:spMkLst>
            <pc:docMk/>
            <pc:sldMk cId="2007446643" sldId="283"/>
            <ac:spMk id="57" creationId="{6CEC1965-C7A2-91FD-3318-0F5063C33225}"/>
          </ac:spMkLst>
        </pc:spChg>
        <pc:spChg chg="add del mod">
          <ac:chgData name="Oğuz Öztekin" userId="33c0df0f-d5fe-4bda-8f43-141ad7af67e3" providerId="ADAL" clId="{48B824AD-1B2A-47A8-8D92-6FE6E622A650}" dt="2024-12-16T11:18:38.125" v="51258"/>
          <ac:spMkLst>
            <pc:docMk/>
            <pc:sldMk cId="2007446643" sldId="283"/>
            <ac:spMk id="58" creationId="{79A78A08-B84E-4B6A-FCCD-34AE2B872BF4}"/>
          </ac:spMkLst>
        </pc:spChg>
        <pc:spChg chg="add del mod modVis">
          <ac:chgData name="Oğuz Öztekin" userId="33c0df0f-d5fe-4bda-8f43-141ad7af67e3" providerId="ADAL" clId="{48B824AD-1B2A-47A8-8D92-6FE6E622A650}" dt="2024-12-16T11:17:11.545" v="48556"/>
          <ac:spMkLst>
            <pc:docMk/>
            <pc:sldMk cId="2007446643" sldId="283"/>
            <ac:spMk id="60" creationId="{ECF7843E-6406-B59F-2343-5E679FA9F8A1}"/>
          </ac:spMkLst>
        </pc:spChg>
        <pc:spChg chg="add del mod modVis">
          <ac:chgData name="Oğuz Öztekin" userId="33c0df0f-d5fe-4bda-8f43-141ad7af67e3" providerId="ADAL" clId="{48B824AD-1B2A-47A8-8D92-6FE6E622A650}" dt="2024-12-16T11:17:14.309" v="48729"/>
          <ac:spMkLst>
            <pc:docMk/>
            <pc:sldMk cId="2007446643" sldId="283"/>
            <ac:spMk id="62" creationId="{3829B1D0-5483-2211-F529-4219F197631F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64" creationId="{85E23A9C-0DF1-5E69-8E03-A308D3453BBC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65" creationId="{7B87391B-127E-905B-E07C-D02E7BCF5008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66" creationId="{5B78A17C-4BE6-EB07-7403-17D9ADE6DEA0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67" creationId="{E07C72BC-A74A-DC5A-F6DF-D6693B44DDD7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68" creationId="{A7265757-5DE1-89D4-8107-5BE6DA80AD75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69" creationId="{016E8230-E952-E2CD-23BA-1E62752F2352}"/>
          </ac:spMkLst>
        </pc:spChg>
        <pc:spChg chg="add del mod modVis">
          <ac:chgData name="Oğuz Öztekin" userId="33c0df0f-d5fe-4bda-8f43-141ad7af67e3" providerId="ADAL" clId="{48B824AD-1B2A-47A8-8D92-6FE6E622A650}" dt="2024-12-16T11:18:26.254" v="51255"/>
          <ac:spMkLst>
            <pc:docMk/>
            <pc:sldMk cId="2007446643" sldId="283"/>
            <ac:spMk id="69" creationId="{7755654E-48DD-C31F-C7A1-8273CCF4B7FE}"/>
          </ac:spMkLst>
        </pc:spChg>
        <pc:spChg chg="add del mod">
          <ac:chgData name="Oğuz Öztekin" userId="33c0df0f-d5fe-4bda-8f43-141ad7af67e3" providerId="ADAL" clId="{48B824AD-1B2A-47A8-8D92-6FE6E622A650}" dt="2024-12-16T11:18:38.187" v="51338"/>
          <ac:spMkLst>
            <pc:docMk/>
            <pc:sldMk cId="2007446643" sldId="283"/>
            <ac:spMk id="70" creationId="{7A7C0974-DE50-547C-081E-B1FD941A7D0E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70" creationId="{C45A9EBC-597B-D14F-5CBA-8DAC29DB7F03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71" creationId="{D161D803-8A26-6911-59DF-22B5034E0E48}"/>
          </ac:spMkLst>
        </pc:spChg>
        <pc:spChg chg="mod ord">
          <ac:chgData name="Oğuz Öztekin" userId="33c0df0f-d5fe-4bda-8f43-141ad7af67e3" providerId="ADAL" clId="{48B824AD-1B2A-47A8-8D92-6FE6E622A650}" dt="2024-12-16T16:34:29.430" v="112296"/>
          <ac:spMkLst>
            <pc:docMk/>
            <pc:sldMk cId="2007446643" sldId="283"/>
            <ac:spMk id="72" creationId="{57B8B239-5D7F-0E8A-BD39-D3FB333FA216}"/>
          </ac:spMkLst>
        </pc:spChg>
        <pc:spChg chg="add del mod modVis">
          <ac:chgData name="Oğuz Öztekin" userId="33c0df0f-d5fe-4bda-8f43-141ad7af67e3" providerId="ADAL" clId="{48B824AD-1B2A-47A8-8D92-6FE6E622A650}" dt="2024-12-16T16:33:41.237" v="111062"/>
          <ac:spMkLst>
            <pc:docMk/>
            <pc:sldMk cId="2007446643" sldId="283"/>
            <ac:spMk id="77" creationId="{C0F1A526-4E5B-0450-FB03-E139CCCC7BE1}"/>
          </ac:spMkLst>
        </pc:spChg>
        <pc:spChg chg="add del mod modVis">
          <ac:chgData name="Oğuz Öztekin" userId="33c0df0f-d5fe-4bda-8f43-141ad7af67e3" providerId="ADAL" clId="{48B824AD-1B2A-47A8-8D92-6FE6E622A650}" dt="2024-12-16T11:18:38.218" v="51400"/>
          <ac:spMkLst>
            <pc:docMk/>
            <pc:sldMk cId="2007446643" sldId="283"/>
            <ac:spMk id="77" creationId="{C37BD1ED-736C-68D1-CE23-97181AAA8722}"/>
          </ac:spMkLst>
        </pc:spChg>
        <pc:spChg chg="add del mod modVis">
          <ac:chgData name="Oğuz Öztekin" userId="33c0df0f-d5fe-4bda-8f43-141ad7af67e3" providerId="ADAL" clId="{48B824AD-1B2A-47A8-8D92-6FE6E622A650}" dt="2024-12-16T11:18:42.742" v="51496"/>
          <ac:spMkLst>
            <pc:docMk/>
            <pc:sldMk cId="2007446643" sldId="283"/>
            <ac:spMk id="79" creationId="{4E52A764-41A8-43DE-5C26-7B59F9126100}"/>
          </ac:spMkLst>
        </pc:spChg>
        <pc:spChg chg="add del mod modVis">
          <ac:chgData name="Oğuz Öztekin" userId="33c0df0f-d5fe-4bda-8f43-141ad7af67e3" providerId="ADAL" clId="{48B824AD-1B2A-47A8-8D92-6FE6E622A650}" dt="2024-12-16T16:33:44.952" v="111154"/>
          <ac:spMkLst>
            <pc:docMk/>
            <pc:sldMk cId="2007446643" sldId="283"/>
            <ac:spMk id="79" creationId="{B80AA0B0-5764-0A75-AB1E-86F085F0FBE8}"/>
          </ac:spMkLst>
        </pc:spChg>
        <pc:spChg chg="add del mod modVis">
          <ac:chgData name="Oğuz Öztekin" userId="33c0df0f-d5fe-4bda-8f43-141ad7af67e3" providerId="ADAL" clId="{48B824AD-1B2A-47A8-8D92-6FE6E622A650}" dt="2024-12-16T11:18:54.514" v="51575"/>
          <ac:spMkLst>
            <pc:docMk/>
            <pc:sldMk cId="2007446643" sldId="283"/>
            <ac:spMk id="81" creationId="{119873C9-50AC-B470-A0D7-AA53DACFE3F7}"/>
          </ac:spMkLst>
        </pc:spChg>
        <pc:spChg chg="add del mod modVis">
          <ac:chgData name="Oğuz Öztekin" userId="33c0df0f-d5fe-4bda-8f43-141ad7af67e3" providerId="ADAL" clId="{48B824AD-1B2A-47A8-8D92-6FE6E622A650}" dt="2024-12-16T16:33:48.988" v="111228"/>
          <ac:spMkLst>
            <pc:docMk/>
            <pc:sldMk cId="2007446643" sldId="283"/>
            <ac:spMk id="81" creationId="{53D425DC-B4E8-CD1B-CEDD-97F4FB4DCFFC}"/>
          </ac:spMkLst>
        </pc:spChg>
        <pc:spChg chg="add del mod modVis">
          <ac:chgData name="Oğuz Öztekin" userId="33c0df0f-d5fe-4bda-8f43-141ad7af67e3" providerId="ADAL" clId="{48B824AD-1B2A-47A8-8D92-6FE6E622A650}" dt="2024-12-16T11:19:10.625" v="52027"/>
          <ac:spMkLst>
            <pc:docMk/>
            <pc:sldMk cId="2007446643" sldId="283"/>
            <ac:spMk id="83" creationId="{5376A8E1-3E02-2D23-11A5-F8D5834ED015}"/>
          </ac:spMkLst>
        </pc:spChg>
        <pc:spChg chg="add del mod modVis">
          <ac:chgData name="Oğuz Öztekin" userId="33c0df0f-d5fe-4bda-8f43-141ad7af67e3" providerId="ADAL" clId="{48B824AD-1B2A-47A8-8D92-6FE6E622A650}" dt="2024-12-16T16:33:51.151" v="111318"/>
          <ac:spMkLst>
            <pc:docMk/>
            <pc:sldMk cId="2007446643" sldId="283"/>
            <ac:spMk id="83" creationId="{99B1E0D7-887B-14B3-EF66-950A3246ACED}"/>
          </ac:spMkLst>
        </pc:spChg>
        <pc:spChg chg="add del mod">
          <ac:chgData name="Oğuz Öztekin" userId="33c0df0f-d5fe-4bda-8f43-141ad7af67e3" providerId="ADAL" clId="{48B824AD-1B2A-47A8-8D92-6FE6E622A650}" dt="2024-12-16T11:19:12.709" v="52190"/>
          <ac:spMkLst>
            <pc:docMk/>
            <pc:sldMk cId="2007446643" sldId="283"/>
            <ac:spMk id="84" creationId="{A36BFE1D-15C7-D64A-3FC7-D86034638CF6}"/>
          </ac:spMkLst>
        </pc:spChg>
        <pc:spChg chg="add del mod">
          <ac:chgData name="Oğuz Öztekin" userId="33c0df0f-d5fe-4bda-8f43-141ad7af67e3" providerId="ADAL" clId="{48B824AD-1B2A-47A8-8D92-6FE6E622A650}" dt="2024-12-16T11:19:12.710" v="52191"/>
          <ac:spMkLst>
            <pc:docMk/>
            <pc:sldMk cId="2007446643" sldId="283"/>
            <ac:spMk id="85" creationId="{13F841C0-0E0B-8AE3-9C51-F415B2C7071F}"/>
          </ac:spMkLst>
        </pc:spChg>
        <pc:spChg chg="add del mod modVis">
          <ac:chgData name="Oğuz Öztekin" userId="33c0df0f-d5fe-4bda-8f43-141ad7af67e3" providerId="ADAL" clId="{48B824AD-1B2A-47A8-8D92-6FE6E622A650}" dt="2024-12-16T16:34:10.877" v="111680"/>
          <ac:spMkLst>
            <pc:docMk/>
            <pc:sldMk cId="2007446643" sldId="283"/>
            <ac:spMk id="85" creationId="{5C57E6E6-9147-1F50-367D-9E5D0AF9C59C}"/>
          </ac:spMkLst>
        </pc:spChg>
        <pc:spChg chg="del mod">
          <ac:chgData name="Oğuz Öztekin" userId="33c0df0f-d5fe-4bda-8f43-141ad7af67e3" providerId="ADAL" clId="{48B824AD-1B2A-47A8-8D92-6FE6E622A650}" dt="2024-12-16T11:17:03.084" v="48221"/>
          <ac:spMkLst>
            <pc:docMk/>
            <pc:sldMk cId="2007446643" sldId="283"/>
            <ac:spMk id="86" creationId="{066A5591-A0D3-901C-FD47-06E789828135}"/>
          </ac:spMkLst>
        </pc:spChg>
        <pc:spChg chg="add del mod modVis">
          <ac:chgData name="Oğuz Öztekin" userId="33c0df0f-d5fe-4bda-8f43-141ad7af67e3" providerId="ADAL" clId="{48B824AD-1B2A-47A8-8D92-6FE6E622A650}" dt="2024-12-16T16:34:10.877" v="111680"/>
          <ac:spMkLst>
            <pc:docMk/>
            <pc:sldMk cId="2007446643" sldId="283"/>
            <ac:spMk id="87" creationId="{402EC6EC-D1F3-6F1F-1F23-B127AB5E6DCE}"/>
          </ac:spMkLst>
        </pc:spChg>
        <pc:spChg chg="del mod">
          <ac:chgData name="Oğuz Öztekin" userId="33c0df0f-d5fe-4bda-8f43-141ad7af67e3" providerId="ADAL" clId="{48B824AD-1B2A-47A8-8D92-6FE6E622A650}" dt="2024-12-16T11:17:03.084" v="48222"/>
          <ac:spMkLst>
            <pc:docMk/>
            <pc:sldMk cId="2007446643" sldId="283"/>
            <ac:spMk id="87" creationId="{A6ED54C3-750E-3832-06ED-C1BD8E415455}"/>
          </ac:spMkLst>
        </pc:spChg>
        <pc:spChg chg="del mod">
          <ac:chgData name="Oğuz Öztekin" userId="33c0df0f-d5fe-4bda-8f43-141ad7af67e3" providerId="ADAL" clId="{48B824AD-1B2A-47A8-8D92-6FE6E622A650}" dt="2024-12-16T11:17:03.085" v="48223"/>
          <ac:spMkLst>
            <pc:docMk/>
            <pc:sldMk cId="2007446643" sldId="283"/>
            <ac:spMk id="88" creationId="{7D5828D2-E1E9-A289-104C-E4A842BA866F}"/>
          </ac:spMkLst>
        </pc:spChg>
        <pc:spChg chg="add del mod modVis">
          <ac:chgData name="Oğuz Öztekin" userId="33c0df0f-d5fe-4bda-8f43-141ad7af67e3" providerId="ADAL" clId="{48B824AD-1B2A-47A8-8D92-6FE6E622A650}" dt="2024-12-16T16:34:09.411" v="111588" actId="962"/>
          <ac:spMkLst>
            <pc:docMk/>
            <pc:sldMk cId="2007446643" sldId="283"/>
            <ac:spMk id="89" creationId="{32592679-0A55-1A5B-E139-C13D7988C76E}"/>
          </ac:spMkLst>
        </pc:spChg>
        <pc:spChg chg="del mod">
          <ac:chgData name="Oğuz Öztekin" userId="33c0df0f-d5fe-4bda-8f43-141ad7af67e3" providerId="ADAL" clId="{48B824AD-1B2A-47A8-8D92-6FE6E622A650}" dt="2024-12-16T11:17:03.085" v="48224"/>
          <ac:spMkLst>
            <pc:docMk/>
            <pc:sldMk cId="2007446643" sldId="283"/>
            <ac:spMk id="89" creationId="{3DA60AF9-6746-E28F-49E2-1FDC634101F5}"/>
          </ac:spMkLst>
        </pc:spChg>
        <pc:spChg chg="del mod">
          <ac:chgData name="Oğuz Öztekin" userId="33c0df0f-d5fe-4bda-8f43-141ad7af67e3" providerId="ADAL" clId="{48B824AD-1B2A-47A8-8D92-6FE6E622A650}" dt="2024-12-16T11:17:03.085" v="48225"/>
          <ac:spMkLst>
            <pc:docMk/>
            <pc:sldMk cId="2007446643" sldId="283"/>
            <ac:spMk id="90" creationId="{3045C7A4-2E67-5DB6-9200-8682894A1604}"/>
          </ac:spMkLst>
        </pc:spChg>
        <pc:spChg chg="del mod">
          <ac:chgData name="Oğuz Öztekin" userId="33c0df0f-d5fe-4bda-8f43-141ad7af67e3" providerId="ADAL" clId="{48B824AD-1B2A-47A8-8D92-6FE6E622A650}" dt="2024-12-16T11:17:03.086" v="48226"/>
          <ac:spMkLst>
            <pc:docMk/>
            <pc:sldMk cId="2007446643" sldId="283"/>
            <ac:spMk id="91" creationId="{159DAB28-D907-F9F4-6972-72EFDE6E943F}"/>
          </ac:spMkLst>
        </pc:spChg>
        <pc:spChg chg="add del mod modVis">
          <ac:chgData name="Oğuz Öztekin" userId="33c0df0f-d5fe-4bda-8f43-141ad7af67e3" providerId="ADAL" clId="{48B824AD-1B2A-47A8-8D92-6FE6E622A650}" dt="2024-12-16T16:34:17.034" v="111864"/>
          <ac:spMkLst>
            <pc:docMk/>
            <pc:sldMk cId="2007446643" sldId="283"/>
            <ac:spMk id="91" creationId="{B0766C95-EECC-330E-A0FA-B8B38603EBD8}"/>
          </ac:spMkLst>
        </pc:spChg>
        <pc:spChg chg="del mod">
          <ac:chgData name="Oğuz Öztekin" userId="33c0df0f-d5fe-4bda-8f43-141ad7af67e3" providerId="ADAL" clId="{48B824AD-1B2A-47A8-8D92-6FE6E622A650}" dt="2024-12-16T11:17:03.086" v="48227"/>
          <ac:spMkLst>
            <pc:docMk/>
            <pc:sldMk cId="2007446643" sldId="283"/>
            <ac:spMk id="92" creationId="{D46F0ACB-447A-01F2-7FD8-9E12F0AE1AE0}"/>
          </ac:spMkLst>
        </pc:spChg>
        <pc:spChg chg="add del mod">
          <ac:chgData name="Oğuz Öztekin" userId="33c0df0f-d5fe-4bda-8f43-141ad7af67e3" providerId="ADAL" clId="{48B824AD-1B2A-47A8-8D92-6FE6E622A650}" dt="2024-12-16T11:19:12.710" v="52192"/>
          <ac:spMkLst>
            <pc:docMk/>
            <pc:sldMk cId="2007446643" sldId="283"/>
            <ac:spMk id="93" creationId="{5F852E9D-832C-D504-B2FD-4ED7FAB91E96}"/>
          </ac:spMkLst>
        </pc:spChg>
        <pc:spChg chg="add del mod modVis">
          <ac:chgData name="Oğuz Öztekin" userId="33c0df0f-d5fe-4bda-8f43-141ad7af67e3" providerId="ADAL" clId="{48B824AD-1B2A-47A8-8D92-6FE6E622A650}" dt="2024-12-16T16:34:17.614" v="111941"/>
          <ac:spMkLst>
            <pc:docMk/>
            <pc:sldMk cId="2007446643" sldId="283"/>
            <ac:spMk id="93" creationId="{DC2DC5F2-43FE-9920-B95D-E32AD19F9950}"/>
          </ac:spMkLst>
        </pc:spChg>
        <pc:spChg chg="add del mod">
          <ac:chgData name="Oğuz Öztekin" userId="33c0df0f-d5fe-4bda-8f43-141ad7af67e3" providerId="ADAL" clId="{48B824AD-1B2A-47A8-8D92-6FE6E622A650}" dt="2024-12-16T11:19:12.711" v="52193"/>
          <ac:spMkLst>
            <pc:docMk/>
            <pc:sldMk cId="2007446643" sldId="283"/>
            <ac:spMk id="94" creationId="{E3FFC8BD-4BA6-956C-ABF4-9C8CD330E065}"/>
          </ac:spMkLst>
        </pc:spChg>
        <pc:spChg chg="add del mod">
          <ac:chgData name="Oğuz Öztekin" userId="33c0df0f-d5fe-4bda-8f43-141ad7af67e3" providerId="ADAL" clId="{48B824AD-1B2A-47A8-8D92-6FE6E622A650}" dt="2024-12-16T11:19:12.711" v="52194"/>
          <ac:spMkLst>
            <pc:docMk/>
            <pc:sldMk cId="2007446643" sldId="283"/>
            <ac:spMk id="95" creationId="{68DF34BB-8A1D-7319-D9CF-E4A49ADA2FF5}"/>
          </ac:spMkLst>
        </pc:spChg>
        <pc:spChg chg="add del mod modVis">
          <ac:chgData name="Oğuz Öztekin" userId="33c0df0f-d5fe-4bda-8f43-141ad7af67e3" providerId="ADAL" clId="{48B824AD-1B2A-47A8-8D92-6FE6E622A650}" dt="2024-12-16T16:34:19.951" v="112019"/>
          <ac:spMkLst>
            <pc:docMk/>
            <pc:sldMk cId="2007446643" sldId="283"/>
            <ac:spMk id="95" creationId="{A9BD6556-685F-49CD-C964-019F5AA69800}"/>
          </ac:spMkLst>
        </pc:spChg>
        <pc:spChg chg="add del mod">
          <ac:chgData name="Oğuz Öztekin" userId="33c0df0f-d5fe-4bda-8f43-141ad7af67e3" providerId="ADAL" clId="{48B824AD-1B2A-47A8-8D92-6FE6E622A650}" dt="2024-12-16T11:19:12.711" v="52195"/>
          <ac:spMkLst>
            <pc:docMk/>
            <pc:sldMk cId="2007446643" sldId="283"/>
            <ac:spMk id="160" creationId="{630FA92C-F00D-B830-CECC-FB6D0CF35A3A}"/>
          </ac:spMkLst>
        </pc:spChg>
        <pc:spChg chg="add del mod">
          <ac:chgData name="Oğuz Öztekin" userId="33c0df0f-d5fe-4bda-8f43-141ad7af67e3" providerId="ADAL" clId="{48B824AD-1B2A-47A8-8D92-6FE6E622A650}" dt="2024-12-16T11:19:12.712" v="52196"/>
          <ac:spMkLst>
            <pc:docMk/>
            <pc:sldMk cId="2007446643" sldId="283"/>
            <ac:spMk id="161" creationId="{47CDAA56-8158-20A3-97E0-7388C40D99B0}"/>
          </ac:spMkLst>
        </pc:spChg>
        <pc:spChg chg="add del mod modVis">
          <ac:chgData name="Oğuz Öztekin" userId="33c0df0f-d5fe-4bda-8f43-141ad7af67e3" providerId="ADAL" clId="{48B824AD-1B2A-47A8-8D92-6FE6E622A650}" dt="2024-12-16T16:34:20.603" v="112096"/>
          <ac:spMkLst>
            <pc:docMk/>
            <pc:sldMk cId="2007446643" sldId="283"/>
            <ac:spMk id="161" creationId="{B8DAD8EE-1F0F-F071-ED6F-7BE097B63E0A}"/>
          </ac:spMkLst>
        </pc:spChg>
        <pc:spChg chg="add del mod modVis">
          <ac:chgData name="Oğuz Öztekin" userId="33c0df0f-d5fe-4bda-8f43-141ad7af67e3" providerId="ADAL" clId="{48B824AD-1B2A-47A8-8D92-6FE6E622A650}" dt="2024-12-16T16:34:22.196" v="112173"/>
          <ac:spMkLst>
            <pc:docMk/>
            <pc:sldMk cId="2007446643" sldId="283"/>
            <ac:spMk id="163" creationId="{8FDE9D8C-DCE9-4E4B-E90B-0B9C990F8883}"/>
          </ac:spMkLst>
        </pc:spChg>
        <pc:spChg chg="del mod ord">
          <ac:chgData name="Oğuz Öztekin" userId="33c0df0f-d5fe-4bda-8f43-141ad7af67e3" providerId="ADAL" clId="{48B824AD-1B2A-47A8-8D92-6FE6E622A650}" dt="2024-12-16T11:18:48.719" v="51499" actId="478"/>
          <ac:spMkLst>
            <pc:docMk/>
            <pc:sldMk cId="2007446643" sldId="283"/>
            <ac:spMk id="163" creationId="{B5FB4D6A-B01E-00E6-1060-8028F2B530D0}"/>
          </ac:spMkLst>
        </pc:spChg>
        <pc:spChg chg="add del mod modVis">
          <ac:chgData name="Oğuz Öztekin" userId="33c0df0f-d5fe-4bda-8f43-141ad7af67e3" providerId="ADAL" clId="{48B824AD-1B2A-47A8-8D92-6FE6E622A650}" dt="2024-12-16T11:19:12.749" v="52246"/>
          <ac:spMkLst>
            <pc:docMk/>
            <pc:sldMk cId="2007446643" sldId="283"/>
            <ac:spMk id="164" creationId="{80A47C4D-81E3-F27F-C69B-EC73739EF1CB}"/>
          </ac:spMkLst>
        </pc:spChg>
        <pc:spChg chg="add del mod modVis">
          <ac:chgData name="Oğuz Öztekin" userId="33c0df0f-d5fe-4bda-8f43-141ad7af67e3" providerId="ADAL" clId="{48B824AD-1B2A-47A8-8D92-6FE6E622A650}" dt="2024-12-16T16:34:29.430" v="112298"/>
          <ac:spMkLst>
            <pc:docMk/>
            <pc:sldMk cId="2007446643" sldId="283"/>
            <ac:spMk id="165" creationId="{4166989F-FAFA-D680-2C29-3074F4526E0F}"/>
          </ac:spMkLst>
        </pc:spChg>
        <pc:spChg chg="add del mod modVis">
          <ac:chgData name="Oğuz Öztekin" userId="33c0df0f-d5fe-4bda-8f43-141ad7af67e3" providerId="ADAL" clId="{48B824AD-1B2A-47A8-8D92-6FE6E622A650}" dt="2024-12-16T11:19:19.105" v="52345"/>
          <ac:spMkLst>
            <pc:docMk/>
            <pc:sldMk cId="2007446643" sldId="283"/>
            <ac:spMk id="166" creationId="{1B0182F1-378C-3DB1-672E-29760453BEF7}"/>
          </ac:spMkLst>
        </pc:spChg>
        <pc:spChg chg="add del mod modVis">
          <ac:chgData name="Oğuz Öztekin" userId="33c0df0f-d5fe-4bda-8f43-141ad7af67e3" providerId="ADAL" clId="{48B824AD-1B2A-47A8-8D92-6FE6E622A650}" dt="2024-12-16T11:19:21.104" v="52444"/>
          <ac:spMkLst>
            <pc:docMk/>
            <pc:sldMk cId="2007446643" sldId="283"/>
            <ac:spMk id="168" creationId="{E5B0D9AC-5B2F-BD53-63BF-B2AA34A788BF}"/>
          </ac:spMkLst>
        </pc:spChg>
        <pc:spChg chg="del mod">
          <ac:chgData name="Oğuz Öztekin" userId="33c0df0f-d5fe-4bda-8f43-141ad7af67e3" providerId="ADAL" clId="{48B824AD-1B2A-47A8-8D92-6FE6E622A650}" dt="2024-12-16T11:18:38.185" v="51334"/>
          <ac:spMkLst>
            <pc:docMk/>
            <pc:sldMk cId="2007446643" sldId="283"/>
            <ac:spMk id="189" creationId="{15D967C2-8942-D2CD-5436-53335067A0E9}"/>
          </ac:spMkLst>
        </pc:spChg>
        <pc:spChg chg="del mod">
          <ac:chgData name="Oğuz Öztekin" userId="33c0df0f-d5fe-4bda-8f43-141ad7af67e3" providerId="ADAL" clId="{48B824AD-1B2A-47A8-8D92-6FE6E622A650}" dt="2024-12-16T11:16:36.230" v="46220"/>
          <ac:spMkLst>
            <pc:docMk/>
            <pc:sldMk cId="2007446643" sldId="283"/>
            <ac:spMk id="190" creationId="{E0359037-6B6C-AD4F-33DF-42FC195179E6}"/>
          </ac:spMkLst>
        </pc:spChg>
        <pc:spChg chg="del mod">
          <ac:chgData name="Oğuz Öztekin" userId="33c0df0f-d5fe-4bda-8f43-141ad7af67e3" providerId="ADAL" clId="{48B824AD-1B2A-47A8-8D92-6FE6E622A650}" dt="2024-12-16T11:16:36.230" v="46219"/>
          <ac:spMkLst>
            <pc:docMk/>
            <pc:sldMk cId="2007446643" sldId="283"/>
            <ac:spMk id="191" creationId="{82275CF2-9EF4-76D9-293F-720ADF04EA81}"/>
          </ac:spMkLst>
        </pc:spChg>
        <pc:spChg chg="del mod">
          <ac:chgData name="Oğuz Öztekin" userId="33c0df0f-d5fe-4bda-8f43-141ad7af67e3" providerId="ADAL" clId="{48B824AD-1B2A-47A8-8D92-6FE6E622A650}" dt="2024-12-16T11:16:36.229" v="46218"/>
          <ac:spMkLst>
            <pc:docMk/>
            <pc:sldMk cId="2007446643" sldId="283"/>
            <ac:spMk id="192" creationId="{E02ADC4C-CFBA-9417-9209-9ACDE371E481}"/>
          </ac:spMkLst>
        </pc:spChg>
        <pc:spChg chg="del mod">
          <ac:chgData name="Oğuz Öztekin" userId="33c0df0f-d5fe-4bda-8f43-141ad7af67e3" providerId="ADAL" clId="{48B824AD-1B2A-47A8-8D92-6FE6E622A650}" dt="2024-12-16T11:16:36.228" v="46217"/>
          <ac:spMkLst>
            <pc:docMk/>
            <pc:sldMk cId="2007446643" sldId="283"/>
            <ac:spMk id="193" creationId="{16298118-EE19-E7B3-AD19-BFB3E51B48E9}"/>
          </ac:spMkLst>
        </pc:spChg>
        <pc:spChg chg="del mod">
          <ac:chgData name="Oğuz Öztekin" userId="33c0df0f-d5fe-4bda-8f43-141ad7af67e3" providerId="ADAL" clId="{48B824AD-1B2A-47A8-8D92-6FE6E622A650}" dt="2024-12-16T11:16:36.228" v="46216"/>
          <ac:spMkLst>
            <pc:docMk/>
            <pc:sldMk cId="2007446643" sldId="283"/>
            <ac:spMk id="194" creationId="{ECD219A9-37F1-C67C-3AC5-3D5BDF33A7C2}"/>
          </ac:spMkLst>
        </pc:spChg>
        <pc:spChg chg="add del mod">
          <ac:chgData name="Oğuz Öztekin" userId="33c0df0f-d5fe-4bda-8f43-141ad7af67e3" providerId="ADAL" clId="{48B824AD-1B2A-47A8-8D92-6FE6E622A650}" dt="2024-12-16T11:16:38.934" v="46620"/>
          <ac:spMkLst>
            <pc:docMk/>
            <pc:sldMk cId="2007446643" sldId="283"/>
            <ac:spMk id="224" creationId="{8212AB65-6294-5C09-27A7-F76B8FF75505}"/>
          </ac:spMkLst>
        </pc:spChg>
        <pc:spChg chg="add del mod">
          <ac:chgData name="Oğuz Öztekin" userId="33c0df0f-d5fe-4bda-8f43-141ad7af67e3" providerId="ADAL" clId="{48B824AD-1B2A-47A8-8D92-6FE6E622A650}" dt="2024-12-16T11:16:38.933" v="46619"/>
          <ac:spMkLst>
            <pc:docMk/>
            <pc:sldMk cId="2007446643" sldId="283"/>
            <ac:spMk id="225" creationId="{06F1D541-9566-801F-1D33-6F3A39A4E0D8}"/>
          </ac:spMkLst>
        </pc:spChg>
        <pc:spChg chg="add del mod">
          <ac:chgData name="Oğuz Öztekin" userId="33c0df0f-d5fe-4bda-8f43-141ad7af67e3" providerId="ADAL" clId="{48B824AD-1B2A-47A8-8D92-6FE6E622A650}" dt="2024-12-16T11:16:38.933" v="46618"/>
          <ac:spMkLst>
            <pc:docMk/>
            <pc:sldMk cId="2007446643" sldId="283"/>
            <ac:spMk id="232" creationId="{43CFBF7C-807A-36DD-1BF2-2766965FACDC}"/>
          </ac:spMkLst>
        </pc:spChg>
        <pc:spChg chg="add del mod modVis">
          <ac:chgData name="Oğuz Öztekin" userId="33c0df0f-d5fe-4bda-8f43-141ad7af67e3" providerId="ADAL" clId="{48B824AD-1B2A-47A8-8D92-6FE6E622A650}" dt="2024-12-16T11:16:39.165" v="46968"/>
          <ac:spMkLst>
            <pc:docMk/>
            <pc:sldMk cId="2007446643" sldId="283"/>
            <ac:spMk id="234" creationId="{3DEB9F41-3F2B-D174-E96C-01D285D9C84C}"/>
          </ac:spMkLst>
        </pc:spChg>
        <pc:spChg chg="add del mod">
          <ac:chgData name="Oğuz Öztekin" userId="33c0df0f-d5fe-4bda-8f43-141ad7af67e3" providerId="ADAL" clId="{48B824AD-1B2A-47A8-8D92-6FE6E622A650}" dt="2024-12-16T11:16:46.851" v="47011"/>
          <ac:spMkLst>
            <pc:docMk/>
            <pc:sldMk cId="2007446643" sldId="283"/>
            <ac:spMk id="235" creationId="{41C3A488-9A3B-8E3F-C377-71718F41E2FE}"/>
          </ac:spMkLst>
        </pc:spChg>
        <pc:spChg chg="add del mod">
          <ac:chgData name="Oğuz Öztekin" userId="33c0df0f-d5fe-4bda-8f43-141ad7af67e3" providerId="ADAL" clId="{48B824AD-1B2A-47A8-8D92-6FE6E622A650}" dt="2024-12-16T11:16:46.851" v="47010"/>
          <ac:spMkLst>
            <pc:docMk/>
            <pc:sldMk cId="2007446643" sldId="283"/>
            <ac:spMk id="236" creationId="{CFE1DA40-7440-7962-1D77-9FD58363158D}"/>
          </ac:spMkLst>
        </pc:spChg>
        <pc:spChg chg="add del mod">
          <ac:chgData name="Oğuz Öztekin" userId="33c0df0f-d5fe-4bda-8f43-141ad7af67e3" providerId="ADAL" clId="{48B824AD-1B2A-47A8-8D92-6FE6E622A650}" dt="2024-12-16T11:16:46.850" v="47009"/>
          <ac:spMkLst>
            <pc:docMk/>
            <pc:sldMk cId="2007446643" sldId="283"/>
            <ac:spMk id="237" creationId="{8E3A2AFC-CDF3-D770-31B4-58E89B9BCE04}"/>
          </ac:spMkLst>
        </pc:spChg>
        <pc:spChg chg="add del mod">
          <ac:chgData name="Oğuz Öztekin" userId="33c0df0f-d5fe-4bda-8f43-141ad7af67e3" providerId="ADAL" clId="{48B824AD-1B2A-47A8-8D92-6FE6E622A650}" dt="2024-12-16T11:16:46.850" v="47008"/>
          <ac:spMkLst>
            <pc:docMk/>
            <pc:sldMk cId="2007446643" sldId="283"/>
            <ac:spMk id="238" creationId="{ECD2BFD8-AD74-C5D0-1372-81C36CF071AB}"/>
          </ac:spMkLst>
        </pc:spChg>
        <pc:spChg chg="add del mod modVis">
          <ac:chgData name="Oğuz Öztekin" userId="33c0df0f-d5fe-4bda-8f43-141ad7af67e3" providerId="ADAL" clId="{48B824AD-1B2A-47A8-8D92-6FE6E622A650}" dt="2024-12-16T11:16:47.350" v="48015"/>
          <ac:spMkLst>
            <pc:docMk/>
            <pc:sldMk cId="2007446643" sldId="283"/>
            <ac:spMk id="240" creationId="{5FA72CE2-4430-6D8A-98DE-1C3097090C55}"/>
          </ac:spMkLst>
        </pc:spChg>
        <pc:spChg chg="add del mod ord">
          <ac:chgData name="Oğuz Öztekin" userId="33c0df0f-d5fe-4bda-8f43-141ad7af67e3" providerId="ADAL" clId="{48B824AD-1B2A-47A8-8D92-6FE6E622A650}" dt="2024-12-16T11:17:03.027" v="48060"/>
          <ac:spMkLst>
            <pc:docMk/>
            <pc:sldMk cId="2007446643" sldId="283"/>
            <ac:spMk id="241" creationId="{951BB018-F9E4-D6F3-BDB9-17A7D1B44342}"/>
          </ac:spMkLst>
        </pc:spChg>
        <pc:spChg chg="add del mod ord">
          <ac:chgData name="Oğuz Öztekin" userId="33c0df0f-d5fe-4bda-8f43-141ad7af67e3" providerId="ADAL" clId="{48B824AD-1B2A-47A8-8D92-6FE6E622A650}" dt="2024-12-16T11:17:03.032" v="48075"/>
          <ac:spMkLst>
            <pc:docMk/>
            <pc:sldMk cId="2007446643" sldId="283"/>
            <ac:spMk id="242" creationId="{4302EB79-4268-13FA-E20C-86345E8CA4A8}"/>
          </ac:spMkLst>
        </pc:spChg>
        <pc:spChg chg="add del mod">
          <ac:chgData name="Oğuz Öztekin" userId="33c0df0f-d5fe-4bda-8f43-141ad7af67e3" providerId="ADAL" clId="{48B824AD-1B2A-47A8-8D92-6FE6E622A650}" dt="2024-12-16T11:17:03.038" v="48089"/>
          <ac:spMkLst>
            <pc:docMk/>
            <pc:sldMk cId="2007446643" sldId="283"/>
            <ac:spMk id="243" creationId="{A5AE0B63-5A04-BCF0-7CCE-34C89F7972BF}"/>
          </ac:spMkLst>
        </pc:spChg>
        <pc:spChg chg="add del mod ord">
          <ac:chgData name="Oğuz Öztekin" userId="33c0df0f-d5fe-4bda-8f43-141ad7af67e3" providerId="ADAL" clId="{48B824AD-1B2A-47A8-8D92-6FE6E622A650}" dt="2024-12-16T11:17:03.053" v="48149"/>
          <ac:spMkLst>
            <pc:docMk/>
            <pc:sldMk cId="2007446643" sldId="283"/>
            <ac:spMk id="244" creationId="{0C37936D-C1E9-AE54-EED3-A72982BC44B2}"/>
          </ac:spMkLst>
        </pc:spChg>
        <pc:spChg chg="add del mod ord">
          <ac:chgData name="Oğuz Öztekin" userId="33c0df0f-d5fe-4bda-8f43-141ad7af67e3" providerId="ADAL" clId="{48B824AD-1B2A-47A8-8D92-6FE6E622A650}" dt="2024-12-16T11:17:03.053" v="48147"/>
          <ac:spMkLst>
            <pc:docMk/>
            <pc:sldMk cId="2007446643" sldId="283"/>
            <ac:spMk id="245" creationId="{E6D561D7-2EC3-366F-F909-40B083BD5C1C}"/>
          </ac:spMkLst>
        </pc:spChg>
        <pc:spChg chg="del mod">
          <ac:chgData name="Oğuz Öztekin" userId="33c0df0f-d5fe-4bda-8f43-141ad7af67e3" providerId="ADAL" clId="{48B824AD-1B2A-47A8-8D92-6FE6E622A650}" dt="2024-12-16T11:18:10.528" v="49706"/>
          <ac:spMkLst>
            <pc:docMk/>
            <pc:sldMk cId="2007446643" sldId="283"/>
            <ac:spMk id="246" creationId="{7FD7BD1C-AFFE-2CBC-6C77-7C4F4D969D84}"/>
          </ac:spMkLst>
        </pc:spChg>
        <pc:spChg chg="del mod">
          <ac:chgData name="Oğuz Öztekin" userId="33c0df0f-d5fe-4bda-8f43-141ad7af67e3" providerId="ADAL" clId="{48B824AD-1B2A-47A8-8D92-6FE6E622A650}" dt="2024-12-16T11:18:10.528" v="49705"/>
          <ac:spMkLst>
            <pc:docMk/>
            <pc:sldMk cId="2007446643" sldId="283"/>
            <ac:spMk id="247" creationId="{4B56F505-FB05-499B-B81D-C693A25EB3F0}"/>
          </ac:spMkLst>
        </pc:spChg>
        <pc:spChg chg="del mod">
          <ac:chgData name="Oğuz Öztekin" userId="33c0df0f-d5fe-4bda-8f43-141ad7af67e3" providerId="ADAL" clId="{48B824AD-1B2A-47A8-8D92-6FE6E622A650}" dt="2024-12-16T11:18:10.528" v="49704"/>
          <ac:spMkLst>
            <pc:docMk/>
            <pc:sldMk cId="2007446643" sldId="283"/>
            <ac:spMk id="248" creationId="{E403B3A2-BA64-4E54-F961-E1069E001CD0}"/>
          </ac:spMkLst>
        </pc:spChg>
        <pc:spChg chg="del mod">
          <ac:chgData name="Oğuz Öztekin" userId="33c0df0f-d5fe-4bda-8f43-141ad7af67e3" providerId="ADAL" clId="{48B824AD-1B2A-47A8-8D92-6FE6E622A650}" dt="2024-12-16T11:18:10.528" v="49703"/>
          <ac:spMkLst>
            <pc:docMk/>
            <pc:sldMk cId="2007446643" sldId="283"/>
            <ac:spMk id="249" creationId="{694503C4-5653-89F0-5CF0-24AA857691EC}"/>
          </ac:spMkLst>
        </pc:spChg>
        <pc:spChg chg="del mod">
          <ac:chgData name="Oğuz Öztekin" userId="33c0df0f-d5fe-4bda-8f43-141ad7af67e3" providerId="ADAL" clId="{48B824AD-1B2A-47A8-8D92-6FE6E622A650}" dt="2024-12-16T11:18:10.527" v="49702"/>
          <ac:spMkLst>
            <pc:docMk/>
            <pc:sldMk cId="2007446643" sldId="283"/>
            <ac:spMk id="250" creationId="{B4E72644-B034-825E-DE4E-26D42331230B}"/>
          </ac:spMkLst>
        </pc:spChg>
        <pc:spChg chg="del mod">
          <ac:chgData name="Oğuz Öztekin" userId="33c0df0f-d5fe-4bda-8f43-141ad7af67e3" providerId="ADAL" clId="{48B824AD-1B2A-47A8-8D92-6FE6E622A650}" dt="2024-12-16T11:18:10.527" v="49701"/>
          <ac:spMkLst>
            <pc:docMk/>
            <pc:sldMk cId="2007446643" sldId="283"/>
            <ac:spMk id="251" creationId="{ACA3DF32-CD1A-FBAB-C801-69D4275850F2}"/>
          </ac:spMkLst>
        </pc:spChg>
        <pc:spChg chg="add del mod">
          <ac:chgData name="Oğuz Öztekin" userId="33c0df0f-d5fe-4bda-8f43-141ad7af67e3" providerId="ADAL" clId="{48B824AD-1B2A-47A8-8D92-6FE6E622A650}" dt="2024-12-16T11:17:03.052" v="48145"/>
          <ac:spMkLst>
            <pc:docMk/>
            <pc:sldMk cId="2007446643" sldId="283"/>
            <ac:spMk id="252" creationId="{0850BFEC-B8F7-FAE3-6284-E2E67885676E}"/>
          </ac:spMkLst>
        </pc:spChg>
        <pc:spChg chg="add del mod ord">
          <ac:chgData name="Oğuz Öztekin" userId="33c0df0f-d5fe-4bda-8f43-141ad7af67e3" providerId="ADAL" clId="{48B824AD-1B2A-47A8-8D92-6FE6E622A650}" dt="2024-12-16T11:17:03.052" v="48144"/>
          <ac:spMkLst>
            <pc:docMk/>
            <pc:sldMk cId="2007446643" sldId="283"/>
            <ac:spMk id="253" creationId="{9E116D50-786D-8197-3616-3953BA4B2DCB}"/>
          </ac:spMkLst>
        </pc:spChg>
        <pc:spChg chg="del mod">
          <ac:chgData name="Oğuz Öztekin" userId="33c0df0f-d5fe-4bda-8f43-141ad7af67e3" providerId="ADAL" clId="{48B824AD-1B2A-47A8-8D92-6FE6E622A650}" dt="2024-12-16T11:18:10.526" v="49699"/>
          <ac:spMkLst>
            <pc:docMk/>
            <pc:sldMk cId="2007446643" sldId="283"/>
            <ac:spMk id="254" creationId="{52DFEBD4-BE38-D752-2882-D8E476AF0A04}"/>
          </ac:spMkLst>
        </pc:spChg>
        <pc:spChg chg="del mod">
          <ac:chgData name="Oğuz Öztekin" userId="33c0df0f-d5fe-4bda-8f43-141ad7af67e3" providerId="ADAL" clId="{48B824AD-1B2A-47A8-8D92-6FE6E622A650}" dt="2024-12-16T11:18:10.526" v="49697"/>
          <ac:spMkLst>
            <pc:docMk/>
            <pc:sldMk cId="2007446643" sldId="283"/>
            <ac:spMk id="255" creationId="{9351DA8F-B829-EF73-2521-2120230B65D0}"/>
          </ac:spMkLst>
        </pc:spChg>
        <pc:spChg chg="del mod">
          <ac:chgData name="Oğuz Öztekin" userId="33c0df0f-d5fe-4bda-8f43-141ad7af67e3" providerId="ADAL" clId="{48B824AD-1B2A-47A8-8D92-6FE6E622A650}" dt="2024-12-16T11:18:10.525" v="49695"/>
          <ac:spMkLst>
            <pc:docMk/>
            <pc:sldMk cId="2007446643" sldId="283"/>
            <ac:spMk id="256" creationId="{46EEB765-2C08-DD2A-ADA4-9A503C689C57}"/>
          </ac:spMkLst>
        </pc:spChg>
        <pc:spChg chg="add del mod modVis">
          <ac:chgData name="Oğuz Öztekin" userId="33c0df0f-d5fe-4bda-8f43-141ad7af67e3" providerId="ADAL" clId="{48B824AD-1B2A-47A8-8D92-6FE6E622A650}" dt="2024-12-16T16:32:45.956" v="108420"/>
          <ac:spMkLst>
            <pc:docMk/>
            <pc:sldMk cId="2007446643" sldId="283"/>
            <ac:spMk id="256" creationId="{CCDB6B34-AAE0-34C4-BC3D-E08CE2F71657}"/>
          </ac:spMkLst>
        </pc:spChg>
        <pc:spChg chg="del mod">
          <ac:chgData name="Oğuz Öztekin" userId="33c0df0f-d5fe-4bda-8f43-141ad7af67e3" providerId="ADAL" clId="{48B824AD-1B2A-47A8-8D92-6FE6E622A650}" dt="2024-12-16T11:18:10.525" v="49693"/>
          <ac:spMkLst>
            <pc:docMk/>
            <pc:sldMk cId="2007446643" sldId="283"/>
            <ac:spMk id="257" creationId="{6AF04525-D344-9372-5539-C71D5DF3E369}"/>
          </ac:spMkLst>
        </pc:spChg>
        <pc:spChg chg="del mod">
          <ac:chgData name="Oğuz Öztekin" userId="33c0df0f-d5fe-4bda-8f43-141ad7af67e3" providerId="ADAL" clId="{48B824AD-1B2A-47A8-8D92-6FE6E622A650}" dt="2024-12-16T11:18:10.524" v="49691"/>
          <ac:spMkLst>
            <pc:docMk/>
            <pc:sldMk cId="2007446643" sldId="283"/>
            <ac:spMk id="258" creationId="{3A7FCF03-FE11-5E18-7D44-8691376EE2CF}"/>
          </ac:spMkLst>
        </pc:spChg>
        <pc:spChg chg="add del mod modVis">
          <ac:chgData name="Oğuz Öztekin" userId="33c0df0f-d5fe-4bda-8f43-141ad7af67e3" providerId="ADAL" clId="{48B824AD-1B2A-47A8-8D92-6FE6E622A650}" dt="2024-12-16T16:32:51.489" v="108515"/>
          <ac:spMkLst>
            <pc:docMk/>
            <pc:sldMk cId="2007446643" sldId="283"/>
            <ac:spMk id="258" creationId="{C2F123B6-B996-F2A7-394B-F48020B0D4E3}"/>
          </ac:spMkLst>
        </pc:spChg>
        <pc:spChg chg="del mod">
          <ac:chgData name="Oğuz Öztekin" userId="33c0df0f-d5fe-4bda-8f43-141ad7af67e3" providerId="ADAL" clId="{48B824AD-1B2A-47A8-8D92-6FE6E622A650}" dt="2024-12-16T11:18:10.523" v="49689"/>
          <ac:spMkLst>
            <pc:docMk/>
            <pc:sldMk cId="2007446643" sldId="283"/>
            <ac:spMk id="259" creationId="{6E0A89F1-39EF-5EEA-3902-A40FB0E5C199}"/>
          </ac:spMkLst>
        </pc:spChg>
        <pc:spChg chg="add del mod modVis">
          <ac:chgData name="Oğuz Öztekin" userId="33c0df0f-d5fe-4bda-8f43-141ad7af67e3" providerId="ADAL" clId="{48B824AD-1B2A-47A8-8D92-6FE6E622A650}" dt="2024-12-16T16:32:56.560" v="108618"/>
          <ac:spMkLst>
            <pc:docMk/>
            <pc:sldMk cId="2007446643" sldId="283"/>
            <ac:spMk id="260" creationId="{1752713B-92CA-07FB-C732-93742949DE84}"/>
          </ac:spMkLst>
        </pc:spChg>
        <pc:spChg chg="del mod">
          <ac:chgData name="Oğuz Öztekin" userId="33c0df0f-d5fe-4bda-8f43-141ad7af67e3" providerId="ADAL" clId="{48B824AD-1B2A-47A8-8D92-6FE6E622A650}" dt="2024-12-16T11:18:10.523" v="49687"/>
          <ac:spMkLst>
            <pc:docMk/>
            <pc:sldMk cId="2007446643" sldId="283"/>
            <ac:spMk id="260" creationId="{8DA7BF60-AB42-D865-F9B6-43F4C71C700C}"/>
          </ac:spMkLst>
        </pc:spChg>
        <pc:spChg chg="del mod">
          <ac:chgData name="Oğuz Öztekin" userId="33c0df0f-d5fe-4bda-8f43-141ad7af67e3" providerId="ADAL" clId="{48B824AD-1B2A-47A8-8D92-6FE6E622A650}" dt="2024-12-16T11:18:10.522" v="49685"/>
          <ac:spMkLst>
            <pc:docMk/>
            <pc:sldMk cId="2007446643" sldId="283"/>
            <ac:spMk id="261" creationId="{B29BD5CB-B23E-4531-0562-B9968D35631A}"/>
          </ac:spMkLst>
        </pc:spChg>
        <pc:spChg chg="add del mod modVis">
          <ac:chgData name="Oğuz Öztekin" userId="33c0df0f-d5fe-4bda-8f43-141ad7af67e3" providerId="ADAL" clId="{48B824AD-1B2A-47A8-8D92-6FE6E622A650}" dt="2024-12-16T16:32:57.939" v="108717"/>
          <ac:spMkLst>
            <pc:docMk/>
            <pc:sldMk cId="2007446643" sldId="283"/>
            <ac:spMk id="262" creationId="{4CF38FCF-7E2B-3CB7-D6A3-C214CC71C7F8}"/>
          </ac:spMkLst>
        </pc:spChg>
        <pc:spChg chg="del mod">
          <ac:chgData name="Oğuz Öztekin" userId="33c0df0f-d5fe-4bda-8f43-141ad7af67e3" providerId="ADAL" clId="{48B824AD-1B2A-47A8-8D92-6FE6E622A650}" dt="2024-12-16T11:18:10.522" v="49683"/>
          <ac:spMkLst>
            <pc:docMk/>
            <pc:sldMk cId="2007446643" sldId="283"/>
            <ac:spMk id="262" creationId="{82296CC5-6927-E655-C973-3732AA747E72}"/>
          </ac:spMkLst>
        </pc:spChg>
        <pc:spChg chg="del mod">
          <ac:chgData name="Oğuz Öztekin" userId="33c0df0f-d5fe-4bda-8f43-141ad7af67e3" providerId="ADAL" clId="{48B824AD-1B2A-47A8-8D92-6FE6E622A650}" dt="2024-12-16T11:18:10.521" v="49681"/>
          <ac:spMkLst>
            <pc:docMk/>
            <pc:sldMk cId="2007446643" sldId="283"/>
            <ac:spMk id="263" creationId="{7F7297C9-FD7F-9DAF-141A-073FD998C343}"/>
          </ac:spMkLst>
        </pc:spChg>
        <pc:spChg chg="add del mod ord">
          <ac:chgData name="Oğuz Öztekin" userId="33c0df0f-d5fe-4bda-8f43-141ad7af67e3" providerId="ADAL" clId="{48B824AD-1B2A-47A8-8D92-6FE6E622A650}" dt="2024-12-16T11:17:03.051" v="48142"/>
          <ac:spMkLst>
            <pc:docMk/>
            <pc:sldMk cId="2007446643" sldId="283"/>
            <ac:spMk id="264" creationId="{1D0F3416-8BDC-A7B6-95FD-8D62D62CA14C}"/>
          </ac:spMkLst>
        </pc:spChg>
        <pc:spChg chg="add del mod modVis">
          <ac:chgData name="Oğuz Öztekin" userId="33c0df0f-d5fe-4bda-8f43-141ad7af67e3" providerId="ADAL" clId="{48B824AD-1B2A-47A8-8D92-6FE6E622A650}" dt="2024-12-16T16:33:00.614" v="108851"/>
          <ac:spMkLst>
            <pc:docMk/>
            <pc:sldMk cId="2007446643" sldId="283"/>
            <ac:spMk id="264" creationId="{AA45C7DD-E479-AE53-7AB5-FD232C1B6645}"/>
          </ac:spMkLst>
        </pc:spChg>
        <pc:spChg chg="add mod">
          <ac:chgData name="Oğuz Öztekin" userId="33c0df0f-d5fe-4bda-8f43-141ad7af67e3" providerId="ADAL" clId="{48B824AD-1B2A-47A8-8D92-6FE6E622A650}" dt="2024-12-16T16:34:29.429" v="112292"/>
          <ac:spMkLst>
            <pc:docMk/>
            <pc:sldMk cId="2007446643" sldId="283"/>
            <ac:spMk id="265" creationId="{60BFA355-7712-6726-0F10-A414E2E84414}"/>
          </ac:spMkLst>
        </pc:spChg>
        <pc:spChg chg="add del mod">
          <ac:chgData name="Oğuz Öztekin" userId="33c0df0f-d5fe-4bda-8f43-141ad7af67e3" providerId="ADAL" clId="{48B824AD-1B2A-47A8-8D92-6FE6E622A650}" dt="2024-12-16T11:17:03.051" v="48140"/>
          <ac:spMkLst>
            <pc:docMk/>
            <pc:sldMk cId="2007446643" sldId="283"/>
            <ac:spMk id="265" creationId="{66F5CC87-DC26-A240-38E1-1753976D5D40}"/>
          </ac:spMkLst>
        </pc:spChg>
        <pc:spChg chg="add del mod ord">
          <ac:chgData name="Oğuz Öztekin" userId="33c0df0f-d5fe-4bda-8f43-141ad7af67e3" providerId="ADAL" clId="{48B824AD-1B2A-47A8-8D92-6FE6E622A650}" dt="2024-12-16T11:17:03.051" v="48139"/>
          <ac:spMkLst>
            <pc:docMk/>
            <pc:sldMk cId="2007446643" sldId="283"/>
            <ac:spMk id="266" creationId="{500C9D8D-470F-4672-8F5B-57850CACF04B}"/>
          </ac:spMkLst>
        </pc:spChg>
        <pc:spChg chg="add del mod modVis">
          <ac:chgData name="Oğuz Öztekin" userId="33c0df0f-d5fe-4bda-8f43-141ad7af67e3" providerId="ADAL" clId="{48B824AD-1B2A-47A8-8D92-6FE6E622A650}" dt="2024-12-16T16:33:03.699" v="108931"/>
          <ac:spMkLst>
            <pc:docMk/>
            <pc:sldMk cId="2007446643" sldId="283"/>
            <ac:spMk id="267" creationId="{2D5FBA73-7BA1-10F4-B15B-2C4DC8632534}"/>
          </ac:spMkLst>
        </pc:spChg>
        <pc:spChg chg="add del mod ord">
          <ac:chgData name="Oğuz Öztekin" userId="33c0df0f-d5fe-4bda-8f43-141ad7af67e3" providerId="ADAL" clId="{48B824AD-1B2A-47A8-8D92-6FE6E622A650}" dt="2024-12-16T11:17:03.050" v="48137"/>
          <ac:spMkLst>
            <pc:docMk/>
            <pc:sldMk cId="2007446643" sldId="283"/>
            <ac:spMk id="267" creationId="{B17706F3-FD40-7C61-3F35-9CD2400D1BAE}"/>
          </ac:spMkLst>
        </pc:spChg>
        <pc:spChg chg="add del mod">
          <ac:chgData name="Oğuz Öztekin" userId="33c0df0f-d5fe-4bda-8f43-141ad7af67e3" providerId="ADAL" clId="{48B824AD-1B2A-47A8-8D92-6FE6E622A650}" dt="2024-12-16T11:17:03.050" v="48135"/>
          <ac:spMkLst>
            <pc:docMk/>
            <pc:sldMk cId="2007446643" sldId="283"/>
            <ac:spMk id="268" creationId="{76CE50D8-10ED-FE18-240A-AD08F0B5156D}"/>
          </ac:spMkLst>
        </pc:spChg>
        <pc:spChg chg="add del mod modVis">
          <ac:chgData name="Oğuz Öztekin" userId="33c0df0f-d5fe-4bda-8f43-141ad7af67e3" providerId="ADAL" clId="{48B824AD-1B2A-47A8-8D92-6FE6E622A650}" dt="2024-12-16T16:33:07.031" v="109010"/>
          <ac:spMkLst>
            <pc:docMk/>
            <pc:sldMk cId="2007446643" sldId="283"/>
            <ac:spMk id="269" creationId="{90F2BE6E-0011-EDE2-5B09-C2BF23F8524C}"/>
          </ac:spMkLst>
        </pc:spChg>
        <pc:spChg chg="add del mod ord">
          <ac:chgData name="Oğuz Öztekin" userId="33c0df0f-d5fe-4bda-8f43-141ad7af67e3" providerId="ADAL" clId="{48B824AD-1B2A-47A8-8D92-6FE6E622A650}" dt="2024-12-16T11:17:03.050" v="48134"/>
          <ac:spMkLst>
            <pc:docMk/>
            <pc:sldMk cId="2007446643" sldId="283"/>
            <ac:spMk id="269" creationId="{9165E959-A62C-027F-E135-981C33F3FB59}"/>
          </ac:spMkLst>
        </pc:spChg>
        <pc:spChg chg="add del mod ord">
          <ac:chgData name="Oğuz Öztekin" userId="33c0df0f-d5fe-4bda-8f43-141ad7af67e3" providerId="ADAL" clId="{48B824AD-1B2A-47A8-8D92-6FE6E622A650}" dt="2024-12-16T11:17:03.049" v="48132"/>
          <ac:spMkLst>
            <pc:docMk/>
            <pc:sldMk cId="2007446643" sldId="283"/>
            <ac:spMk id="270" creationId="{68FAF06A-AF34-7A5D-06DC-6C4B0BB6EA73}"/>
          </ac:spMkLst>
        </pc:spChg>
        <pc:spChg chg="add del mod">
          <ac:chgData name="Oğuz Öztekin" userId="33c0df0f-d5fe-4bda-8f43-141ad7af67e3" providerId="ADAL" clId="{48B824AD-1B2A-47A8-8D92-6FE6E622A650}" dt="2024-12-16T11:17:03.049" v="48130"/>
          <ac:spMkLst>
            <pc:docMk/>
            <pc:sldMk cId="2007446643" sldId="283"/>
            <ac:spMk id="271" creationId="{A47808E6-E897-013A-CB16-74125DA49642}"/>
          </ac:spMkLst>
        </pc:spChg>
        <pc:spChg chg="add del mod modVis">
          <ac:chgData name="Oğuz Öztekin" userId="33c0df0f-d5fe-4bda-8f43-141ad7af67e3" providerId="ADAL" clId="{48B824AD-1B2A-47A8-8D92-6FE6E622A650}" dt="2024-12-16T16:33:17.714" v="109131"/>
          <ac:spMkLst>
            <pc:docMk/>
            <pc:sldMk cId="2007446643" sldId="283"/>
            <ac:spMk id="271" creationId="{E2F71A12-1C56-B21D-FFF3-2D4C46814CF8}"/>
          </ac:spMkLst>
        </pc:spChg>
        <pc:spChg chg="add del mod ord">
          <ac:chgData name="Oğuz Öztekin" userId="33c0df0f-d5fe-4bda-8f43-141ad7af67e3" providerId="ADAL" clId="{48B824AD-1B2A-47A8-8D92-6FE6E622A650}" dt="2024-12-16T11:17:03.048" v="48129"/>
          <ac:spMkLst>
            <pc:docMk/>
            <pc:sldMk cId="2007446643" sldId="283"/>
            <ac:spMk id="272" creationId="{0A129091-D38F-8A38-C366-7C6553B620D7}"/>
          </ac:spMkLst>
        </pc:spChg>
        <pc:spChg chg="add del mod ord">
          <ac:chgData name="Oğuz Öztekin" userId="33c0df0f-d5fe-4bda-8f43-141ad7af67e3" providerId="ADAL" clId="{48B824AD-1B2A-47A8-8D92-6FE6E622A650}" dt="2024-12-16T11:17:03.048" v="48127"/>
          <ac:spMkLst>
            <pc:docMk/>
            <pc:sldMk cId="2007446643" sldId="283"/>
            <ac:spMk id="273" creationId="{97CCEF2E-6473-C887-A13B-82A5ECA53BBF}"/>
          </ac:spMkLst>
        </pc:spChg>
        <pc:spChg chg="add del mod modVis">
          <ac:chgData name="Oğuz Öztekin" userId="33c0df0f-d5fe-4bda-8f43-141ad7af67e3" providerId="ADAL" clId="{48B824AD-1B2A-47A8-8D92-6FE6E622A650}" dt="2024-12-16T16:33:25.145" v="109909"/>
          <ac:spMkLst>
            <pc:docMk/>
            <pc:sldMk cId="2007446643" sldId="283"/>
            <ac:spMk id="273" creationId="{DD5B607F-BD5E-248A-8BBD-AA7C3EF0527C}"/>
          </ac:spMkLst>
        </pc:spChg>
        <pc:spChg chg="add mod">
          <ac:chgData name="Oğuz Öztekin" userId="33c0df0f-d5fe-4bda-8f43-141ad7af67e3" providerId="ADAL" clId="{48B824AD-1B2A-47A8-8D92-6FE6E622A650}" dt="2024-12-16T16:33:25.145" v="109909"/>
          <ac:spMkLst>
            <pc:docMk/>
            <pc:sldMk cId="2007446643" sldId="283"/>
            <ac:spMk id="274" creationId="{8A058684-A38E-25FC-7DEE-C3FE3CEF1D4C}"/>
          </ac:spMkLst>
        </pc:spChg>
        <pc:spChg chg="add del mod">
          <ac:chgData name="Oğuz Öztekin" userId="33c0df0f-d5fe-4bda-8f43-141ad7af67e3" providerId="ADAL" clId="{48B824AD-1B2A-47A8-8D92-6FE6E622A650}" dt="2024-12-16T11:17:03.048" v="48125"/>
          <ac:spMkLst>
            <pc:docMk/>
            <pc:sldMk cId="2007446643" sldId="283"/>
            <ac:spMk id="274" creationId="{97DA5E57-BDDE-A63A-E9F2-B2EFC3AB128E}"/>
          </ac:spMkLst>
        </pc:spChg>
        <pc:spChg chg="add del mod ord">
          <ac:chgData name="Oğuz Öztekin" userId="33c0df0f-d5fe-4bda-8f43-141ad7af67e3" providerId="ADAL" clId="{48B824AD-1B2A-47A8-8D92-6FE6E622A650}" dt="2024-12-16T11:17:03.047" v="48124"/>
          <ac:spMkLst>
            <pc:docMk/>
            <pc:sldMk cId="2007446643" sldId="283"/>
            <ac:spMk id="275" creationId="{81C690AB-479C-4ADC-62C8-FB42A4E61AB6}"/>
          </ac:spMkLst>
        </pc:spChg>
        <pc:spChg chg="add mod">
          <ac:chgData name="Oğuz Öztekin" userId="33c0df0f-d5fe-4bda-8f43-141ad7af67e3" providerId="ADAL" clId="{48B824AD-1B2A-47A8-8D92-6FE6E622A650}" dt="2024-12-16T16:33:25.145" v="109909"/>
          <ac:spMkLst>
            <pc:docMk/>
            <pc:sldMk cId="2007446643" sldId="283"/>
            <ac:spMk id="275" creationId="{977B2962-C0F8-15BD-7B33-3B386DB081B5}"/>
          </ac:spMkLst>
        </pc:spChg>
        <pc:spChg chg="add del mod ord">
          <ac:chgData name="Oğuz Öztekin" userId="33c0df0f-d5fe-4bda-8f43-141ad7af67e3" providerId="ADAL" clId="{48B824AD-1B2A-47A8-8D92-6FE6E622A650}" dt="2024-12-16T11:17:03.047" v="48122"/>
          <ac:spMkLst>
            <pc:docMk/>
            <pc:sldMk cId="2007446643" sldId="283"/>
            <ac:spMk id="276" creationId="{193FF71D-E566-B087-1B7C-9F044B3780D2}"/>
          </ac:spMkLst>
        </pc:spChg>
        <pc:spChg chg="add mod">
          <ac:chgData name="Oğuz Öztekin" userId="33c0df0f-d5fe-4bda-8f43-141ad7af67e3" providerId="ADAL" clId="{48B824AD-1B2A-47A8-8D92-6FE6E622A650}" dt="2024-12-16T16:33:25.145" v="109909"/>
          <ac:spMkLst>
            <pc:docMk/>
            <pc:sldMk cId="2007446643" sldId="283"/>
            <ac:spMk id="276" creationId="{D384EA8B-6795-9427-6249-6378471FC87C}"/>
          </ac:spMkLst>
        </pc:spChg>
        <pc:spChg chg="add mod">
          <ac:chgData name="Oğuz Öztekin" userId="33c0df0f-d5fe-4bda-8f43-141ad7af67e3" providerId="ADAL" clId="{48B824AD-1B2A-47A8-8D92-6FE6E622A650}" dt="2024-12-16T16:33:25.145" v="109909"/>
          <ac:spMkLst>
            <pc:docMk/>
            <pc:sldMk cId="2007446643" sldId="283"/>
            <ac:spMk id="277" creationId="{8716F319-1899-E6A9-6ED8-B538B045FD2B}"/>
          </ac:spMkLst>
        </pc:spChg>
        <pc:spChg chg="add del mod">
          <ac:chgData name="Oğuz Öztekin" userId="33c0df0f-d5fe-4bda-8f43-141ad7af67e3" providerId="ADAL" clId="{48B824AD-1B2A-47A8-8D92-6FE6E622A650}" dt="2024-12-16T11:17:03.046" v="48120"/>
          <ac:spMkLst>
            <pc:docMk/>
            <pc:sldMk cId="2007446643" sldId="283"/>
            <ac:spMk id="277" creationId="{F8D7C775-D1D0-C54E-1BB3-A8A870AF5EBD}"/>
          </ac:spMkLst>
        </pc:spChg>
        <pc:spChg chg="add del mod ord">
          <ac:chgData name="Oğuz Öztekin" userId="33c0df0f-d5fe-4bda-8f43-141ad7af67e3" providerId="ADAL" clId="{48B824AD-1B2A-47A8-8D92-6FE6E622A650}" dt="2024-12-16T11:17:03.046" v="48119"/>
          <ac:spMkLst>
            <pc:docMk/>
            <pc:sldMk cId="2007446643" sldId="283"/>
            <ac:spMk id="278" creationId="{3A40D3AE-69BC-36AA-C8E6-AF4494B5D9D5}"/>
          </ac:spMkLst>
        </pc:spChg>
        <pc:spChg chg="add mod">
          <ac:chgData name="Oğuz Öztekin" userId="33c0df0f-d5fe-4bda-8f43-141ad7af67e3" providerId="ADAL" clId="{48B824AD-1B2A-47A8-8D92-6FE6E622A650}" dt="2024-12-16T16:33:25.145" v="109909"/>
          <ac:spMkLst>
            <pc:docMk/>
            <pc:sldMk cId="2007446643" sldId="283"/>
            <ac:spMk id="278" creationId="{C9EC9958-8AA1-3951-1458-EA4DA3286464}"/>
          </ac:spMkLst>
        </pc:spChg>
        <pc:spChg chg="add mod">
          <ac:chgData name="Oğuz Öztekin" userId="33c0df0f-d5fe-4bda-8f43-141ad7af67e3" providerId="ADAL" clId="{48B824AD-1B2A-47A8-8D92-6FE6E622A650}" dt="2024-12-16T16:33:25.145" v="109909"/>
          <ac:spMkLst>
            <pc:docMk/>
            <pc:sldMk cId="2007446643" sldId="283"/>
            <ac:spMk id="279" creationId="{6AE0C4D3-EB65-A424-7EE6-E619744A387C}"/>
          </ac:spMkLst>
        </pc:spChg>
        <pc:spChg chg="add del mod ord">
          <ac:chgData name="Oğuz Öztekin" userId="33c0df0f-d5fe-4bda-8f43-141ad7af67e3" providerId="ADAL" clId="{48B824AD-1B2A-47A8-8D92-6FE6E622A650}" dt="2024-12-16T11:17:03.046" v="48117"/>
          <ac:spMkLst>
            <pc:docMk/>
            <pc:sldMk cId="2007446643" sldId="283"/>
            <ac:spMk id="279" creationId="{CF8E4931-A7B2-6B69-1040-2013D36AC4B3}"/>
          </ac:spMkLst>
        </pc:spChg>
        <pc:spChg chg="add mod">
          <ac:chgData name="Oğuz Öztekin" userId="33c0df0f-d5fe-4bda-8f43-141ad7af67e3" providerId="ADAL" clId="{48B824AD-1B2A-47A8-8D92-6FE6E622A650}" dt="2024-12-16T16:33:25.145" v="109909"/>
          <ac:spMkLst>
            <pc:docMk/>
            <pc:sldMk cId="2007446643" sldId="283"/>
            <ac:spMk id="280" creationId="{3DCD78EE-E572-121D-0B2D-333AB7600A40}"/>
          </ac:spMkLst>
        </pc:spChg>
        <pc:spChg chg="add del mod">
          <ac:chgData name="Oğuz Öztekin" userId="33c0df0f-d5fe-4bda-8f43-141ad7af67e3" providerId="ADAL" clId="{48B824AD-1B2A-47A8-8D92-6FE6E622A650}" dt="2024-12-16T11:17:03.045" v="48115"/>
          <ac:spMkLst>
            <pc:docMk/>
            <pc:sldMk cId="2007446643" sldId="283"/>
            <ac:spMk id="280" creationId="{4CEDD575-EF73-FEDB-71F0-33B861EA6653}"/>
          </ac:spMkLst>
        </pc:spChg>
        <pc:spChg chg="add del mod ord">
          <ac:chgData name="Oğuz Öztekin" userId="33c0df0f-d5fe-4bda-8f43-141ad7af67e3" providerId="ADAL" clId="{48B824AD-1B2A-47A8-8D92-6FE6E622A650}" dt="2024-12-16T11:17:03.045" v="48114"/>
          <ac:spMkLst>
            <pc:docMk/>
            <pc:sldMk cId="2007446643" sldId="283"/>
            <ac:spMk id="281" creationId="{936C11E2-3ECA-6AE7-5092-06BFF24F30FD}"/>
          </ac:spMkLst>
        </pc:spChg>
        <pc:spChg chg="add del mod modVis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282" creationId="{7298B681-D275-59A2-895B-BD9E9085E754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283" creationId="{166436D1-9E0C-05A3-5AF2-5941D4582AB2}"/>
          </ac:spMkLst>
        </pc:spChg>
        <pc:spChg chg="add del mod ord">
          <ac:chgData name="Oğuz Öztekin" userId="33c0df0f-d5fe-4bda-8f43-141ad7af67e3" providerId="ADAL" clId="{48B824AD-1B2A-47A8-8D92-6FE6E622A650}" dt="2024-12-16T11:17:03.044" v="48112"/>
          <ac:spMkLst>
            <pc:docMk/>
            <pc:sldMk cId="2007446643" sldId="283"/>
            <ac:spMk id="283" creationId="{27F243DC-05F0-6DE5-C755-4803267BEFBE}"/>
          </ac:spMkLst>
        </pc:spChg>
        <pc:spChg chg="mod">
          <ac:chgData name="Oğuz Öztekin" userId="33c0df0f-d5fe-4bda-8f43-141ad7af67e3" providerId="ADAL" clId="{48B824AD-1B2A-47A8-8D92-6FE6E622A650}" dt="2024-12-16T16:34:29.429" v="112294"/>
          <ac:spMkLst>
            <pc:docMk/>
            <pc:sldMk cId="2007446643" sldId="283"/>
            <ac:spMk id="284" creationId="{82637249-2F31-9DE2-D26C-5975CF7ED98F}"/>
          </ac:spMkLst>
        </pc:spChg>
        <pc:spChg chg="mod">
          <ac:chgData name="Oğuz Öztekin" userId="33c0df0f-d5fe-4bda-8f43-141ad7af67e3" providerId="ADAL" clId="{48B824AD-1B2A-47A8-8D92-6FE6E622A650}" dt="2024-12-16T16:34:29.428" v="112289"/>
          <ac:spMkLst>
            <pc:docMk/>
            <pc:sldMk cId="2007446643" sldId="283"/>
            <ac:spMk id="285" creationId="{AC014952-765E-58B1-8663-3CD96289C55E}"/>
          </ac:spMkLst>
        </pc:spChg>
        <pc:spChg chg="add mod">
          <ac:chgData name="Oğuz Öztekin" userId="33c0df0f-d5fe-4bda-8f43-141ad7af67e3" providerId="ADAL" clId="{48B824AD-1B2A-47A8-8D92-6FE6E622A650}" dt="2024-12-16T16:33:33.348" v="110878"/>
          <ac:spMkLst>
            <pc:docMk/>
            <pc:sldMk cId="2007446643" sldId="283"/>
            <ac:spMk id="287" creationId="{D5230F0E-57BB-843F-5027-75FDCCB7CF86}"/>
          </ac:spMkLst>
        </pc:spChg>
        <pc:spChg chg="add del mod">
          <ac:chgData name="Oğuz Öztekin" userId="33c0df0f-d5fe-4bda-8f43-141ad7af67e3" providerId="ADAL" clId="{48B824AD-1B2A-47A8-8D92-6FE6E622A650}" dt="2024-12-16T11:17:03.044" v="48110"/>
          <ac:spMkLst>
            <pc:docMk/>
            <pc:sldMk cId="2007446643" sldId="283"/>
            <ac:spMk id="287" creationId="{E36CF1C9-30BA-822D-41ED-FC4E6A06B47B}"/>
          </ac:spMkLst>
        </pc:spChg>
        <pc:spChg chg="add del mod modVis">
          <ac:chgData name="Oğuz Öztekin" userId="33c0df0f-d5fe-4bda-8f43-141ad7af67e3" providerId="ADAL" clId="{48B824AD-1B2A-47A8-8D92-6FE6E622A650}" dt="2024-12-16T11:17:17.690" v="48902"/>
          <ac:spMkLst>
            <pc:docMk/>
            <pc:sldMk cId="2007446643" sldId="283"/>
            <ac:spMk id="288" creationId="{FC1A166D-B65B-236D-20FB-849D63788337}"/>
          </ac:spMkLst>
        </pc:spChg>
        <pc:spChg chg="add del mod modVis">
          <ac:chgData name="Oğuz Öztekin" userId="33c0df0f-d5fe-4bda-8f43-141ad7af67e3" providerId="ADAL" clId="{48B824AD-1B2A-47A8-8D92-6FE6E622A650}" dt="2024-12-16T11:17:21.659" v="49059"/>
          <ac:spMkLst>
            <pc:docMk/>
            <pc:sldMk cId="2007446643" sldId="283"/>
            <ac:spMk id="290" creationId="{8F35D9E3-9E71-3ED0-D56E-9337DBB5D26F}"/>
          </ac:spMkLst>
        </pc:spChg>
        <pc:spChg chg="add del mod modVis">
          <ac:chgData name="Oğuz Öztekin" userId="33c0df0f-d5fe-4bda-8f43-141ad7af67e3" providerId="ADAL" clId="{48B824AD-1B2A-47A8-8D92-6FE6E622A650}" dt="2024-12-16T11:17:28.336" v="49216"/>
          <ac:spMkLst>
            <pc:docMk/>
            <pc:sldMk cId="2007446643" sldId="283"/>
            <ac:spMk id="292" creationId="{9371A9FB-1818-82F5-1AFE-CA798F996A25}"/>
          </ac:spMkLst>
        </pc:spChg>
        <pc:spChg chg="add del mod modVis">
          <ac:chgData name="Oğuz Öztekin" userId="33c0df0f-d5fe-4bda-8f43-141ad7af67e3" providerId="ADAL" clId="{48B824AD-1B2A-47A8-8D92-6FE6E622A650}" dt="2024-12-16T11:18:04.596" v="49497"/>
          <ac:spMkLst>
            <pc:docMk/>
            <pc:sldMk cId="2007446643" sldId="283"/>
            <ac:spMk id="295" creationId="{A05E88A2-2117-653F-A5D3-E6DC89A9DDF8}"/>
          </ac:spMkLst>
        </pc:spChg>
        <pc:spChg chg="add del mod modVis">
          <ac:chgData name="Oğuz Öztekin" userId="33c0df0f-d5fe-4bda-8f43-141ad7af67e3" providerId="ADAL" clId="{48B824AD-1B2A-47A8-8D92-6FE6E622A650}" dt="2024-12-16T11:18:06.367" v="49654"/>
          <ac:spMkLst>
            <pc:docMk/>
            <pc:sldMk cId="2007446643" sldId="283"/>
            <ac:spMk id="297" creationId="{CD7E386F-83B0-E437-CDEC-1087F02E04C9}"/>
          </ac:spMkLst>
        </pc:spChg>
        <pc:spChg chg="add del mod modVis">
          <ac:chgData name="Oğuz Öztekin" userId="33c0df0f-d5fe-4bda-8f43-141ad7af67e3" providerId="ADAL" clId="{48B824AD-1B2A-47A8-8D92-6FE6E622A650}" dt="2024-12-16T11:18:14.419" v="50277"/>
          <ac:spMkLst>
            <pc:docMk/>
            <pc:sldMk cId="2007446643" sldId="283"/>
            <ac:spMk id="299" creationId="{1A95E31B-7778-D96A-D55E-A7D609939365}"/>
          </ac:spMkLst>
        </pc:spChg>
        <pc:spChg chg="add del mod">
          <ac:chgData name="Oğuz Öztekin" userId="33c0df0f-d5fe-4bda-8f43-141ad7af67e3" providerId="ADAL" clId="{48B824AD-1B2A-47A8-8D92-6FE6E622A650}" dt="2024-12-16T11:18:26.166" v="51084"/>
          <ac:spMkLst>
            <pc:docMk/>
            <pc:sldMk cId="2007446643" sldId="283"/>
            <ac:spMk id="300" creationId="{B3ED443B-746B-1581-55F8-84F734662181}"/>
          </ac:spMkLst>
        </pc:spChg>
        <pc:spChg chg="add del mod">
          <ac:chgData name="Oğuz Öztekin" userId="33c0df0f-d5fe-4bda-8f43-141ad7af67e3" providerId="ADAL" clId="{48B824AD-1B2A-47A8-8D92-6FE6E622A650}" dt="2024-12-16T11:18:26.164" v="51078"/>
          <ac:spMkLst>
            <pc:docMk/>
            <pc:sldMk cId="2007446643" sldId="283"/>
            <ac:spMk id="301" creationId="{DBA8978C-8602-EB06-79D3-9121554835F9}"/>
          </ac:spMkLst>
        </pc:spChg>
        <pc:spChg chg="add del mod">
          <ac:chgData name="Oğuz Öztekin" userId="33c0df0f-d5fe-4bda-8f43-141ad7af67e3" providerId="ADAL" clId="{48B824AD-1B2A-47A8-8D92-6FE6E622A650}" dt="2024-12-16T11:18:38.186" v="51335"/>
          <ac:spMkLst>
            <pc:docMk/>
            <pc:sldMk cId="2007446643" sldId="283"/>
            <ac:spMk id="302" creationId="{F5B10A35-0885-CEEB-38BC-DCC2E9D00661}"/>
          </ac:spMkLst>
        </pc:spChg>
        <pc:spChg chg="add del mod">
          <ac:chgData name="Oğuz Öztekin" userId="33c0df0f-d5fe-4bda-8f43-141ad7af67e3" providerId="ADAL" clId="{48B824AD-1B2A-47A8-8D92-6FE6E622A650}" dt="2024-12-16T11:18:26.162" v="51069"/>
          <ac:spMkLst>
            <pc:docMk/>
            <pc:sldMk cId="2007446643" sldId="283"/>
            <ac:spMk id="303" creationId="{448FD1F8-A0E3-0FE3-23C9-E73171699837}"/>
          </ac:spMkLst>
        </pc:spChg>
        <pc:spChg chg="add del mod">
          <ac:chgData name="Oğuz Öztekin" userId="33c0df0f-d5fe-4bda-8f43-141ad7af67e3" providerId="ADAL" clId="{48B824AD-1B2A-47A8-8D92-6FE6E622A650}" dt="2024-12-16T11:18:26.160" v="51063"/>
          <ac:spMkLst>
            <pc:docMk/>
            <pc:sldMk cId="2007446643" sldId="283"/>
            <ac:spMk id="304" creationId="{B0063266-D53B-E51E-C755-6D9161A1D00B}"/>
          </ac:spMkLst>
        </pc:spChg>
        <pc:spChg chg="add del mod">
          <ac:chgData name="Oğuz Öztekin" userId="33c0df0f-d5fe-4bda-8f43-141ad7af67e3" providerId="ADAL" clId="{48B824AD-1B2A-47A8-8D92-6FE6E622A650}" dt="2024-12-16T11:18:26.159" v="51060"/>
          <ac:spMkLst>
            <pc:docMk/>
            <pc:sldMk cId="2007446643" sldId="283"/>
            <ac:spMk id="305" creationId="{AFE027C0-68D7-0585-7F84-4BBE9F66BF8E}"/>
          </ac:spMkLst>
        </pc:spChg>
        <pc:spChg chg="add del mod modVis">
          <ac:chgData name="Oğuz Öztekin" userId="33c0df0f-d5fe-4bda-8f43-141ad7af67e3" providerId="ADAL" clId="{48B824AD-1B2A-47A8-8D92-6FE6E622A650}" dt="2024-12-16T11:18:19.973" v="50513"/>
          <ac:spMkLst>
            <pc:docMk/>
            <pc:sldMk cId="2007446643" sldId="283"/>
            <ac:spMk id="313" creationId="{8DBA7FF4-13E3-C08C-C14E-937B1FBEE371}"/>
          </ac:spMkLst>
        </pc:spChg>
        <pc:spChg chg="add del mod modVis">
          <ac:chgData name="Oğuz Öztekin" userId="33c0df0f-d5fe-4bda-8f43-141ad7af67e3" providerId="ADAL" clId="{48B824AD-1B2A-47A8-8D92-6FE6E622A650}" dt="2024-12-16T11:18:23.650" v="51004"/>
          <ac:spMkLst>
            <pc:docMk/>
            <pc:sldMk cId="2007446643" sldId="283"/>
            <ac:spMk id="315" creationId="{4F80844C-0C83-5AFB-7F04-1CA36436E1B1}"/>
          </ac:spMkLst>
        </pc:spChg>
        <pc:spChg chg="add del mod">
          <ac:chgData name="Oğuz Öztekin" userId="33c0df0f-d5fe-4bda-8f43-141ad7af67e3" providerId="ADAL" clId="{48B824AD-1B2A-47A8-8D92-6FE6E622A650}" dt="2024-12-16T11:18:26.158" v="51054"/>
          <ac:spMkLst>
            <pc:docMk/>
            <pc:sldMk cId="2007446643" sldId="283"/>
            <ac:spMk id="316" creationId="{77A8221E-F5AA-97E5-7EBB-1A93F9A53FE5}"/>
          </ac:spMkLst>
        </pc:spChg>
        <pc:spChg chg="add del mod">
          <ac:chgData name="Oğuz Öztekin" userId="33c0df0f-d5fe-4bda-8f43-141ad7af67e3" providerId="ADAL" clId="{48B824AD-1B2A-47A8-8D92-6FE6E622A650}" dt="2024-12-16T11:18:26.157" v="51051"/>
          <ac:spMkLst>
            <pc:docMk/>
            <pc:sldMk cId="2007446643" sldId="283"/>
            <ac:spMk id="317" creationId="{F2AB3FCB-421C-9316-D9DC-C95D76A4A10B}"/>
          </ac:spMkLst>
        </pc:spChg>
        <pc:spChg chg="add del mod">
          <ac:chgData name="Oğuz Öztekin" userId="33c0df0f-d5fe-4bda-8f43-141ad7af67e3" providerId="ADAL" clId="{48B824AD-1B2A-47A8-8D92-6FE6E622A650}" dt="2024-12-16T11:18:38.186" v="51337"/>
          <ac:spMkLst>
            <pc:docMk/>
            <pc:sldMk cId="2007446643" sldId="283"/>
            <ac:spMk id="318" creationId="{DD6532A2-E4CA-C785-B3CB-B7746DC6651D}"/>
          </ac:spMkLst>
        </pc:spChg>
        <pc:spChg chg="add del mod">
          <ac:chgData name="Oğuz Öztekin" userId="33c0df0f-d5fe-4bda-8f43-141ad7af67e3" providerId="ADAL" clId="{48B824AD-1B2A-47A8-8D92-6FE6E622A650}" dt="2024-12-16T11:18:26.156" v="51048"/>
          <ac:spMkLst>
            <pc:docMk/>
            <pc:sldMk cId="2007446643" sldId="283"/>
            <ac:spMk id="319" creationId="{403D2604-413E-D6D3-256C-6F9BB243E9DB}"/>
          </ac:spMkLst>
        </pc:spChg>
        <pc:graphicFrameChg chg="mod">
          <ac:chgData name="Oğuz Öztekin" userId="33c0df0f-d5fe-4bda-8f43-141ad7af67e3" providerId="ADAL" clId="{48B824AD-1B2A-47A8-8D92-6FE6E622A650}" dt="2024-12-16T16:34:29.431" v="112300"/>
          <ac:graphicFrameMkLst>
            <pc:docMk/>
            <pc:sldMk cId="2007446643" sldId="283"/>
            <ac:graphicFrameMk id="3" creationId="{E418FDB3-68EC-E483-A5C7-C27EB9BEEE7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2:53.329" v="45868" actId="478"/>
          <ac:graphicFrameMkLst>
            <pc:docMk/>
            <pc:sldMk cId="2007446643" sldId="283"/>
            <ac:graphicFrameMk id="5" creationId="{14779884-AE7B-AD24-CB23-0BDEEA58129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10.529" v="49708"/>
          <ac:graphicFrameMkLst>
            <pc:docMk/>
            <pc:sldMk cId="2007446643" sldId="283"/>
            <ac:graphicFrameMk id="24" creationId="{999258AC-E513-C960-1E3C-2770AC5A067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2:34.767" v="108084"/>
          <ac:graphicFrameMkLst>
            <pc:docMk/>
            <pc:sldMk cId="2007446643" sldId="283"/>
            <ac:graphicFrameMk id="24" creationId="{EB0EB23E-0CF5-ABEA-78C1-EE8A680BF88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2:39.949" v="108199"/>
          <ac:graphicFrameMkLst>
            <pc:docMk/>
            <pc:sldMk cId="2007446643" sldId="283"/>
            <ac:graphicFrameMk id="26" creationId="{1EA7DEEB-FBE0-B765-6687-82A44DAC223B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1:12:38.821" v="45330" actId="1076"/>
          <ac:graphicFrameMkLst>
            <pc:docMk/>
            <pc:sldMk cId="2007446643" sldId="283"/>
            <ac:graphicFrameMk id="26" creationId="{713FB04C-CEEE-6C32-063B-D4603A14B11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2:43.590" v="108293"/>
          <ac:graphicFrameMkLst>
            <pc:docMk/>
            <pc:sldMk cId="2007446643" sldId="283"/>
            <ac:graphicFrameMk id="29" creationId="{99E44312-E408-0C4C-0C39-4926969056C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6:36.438" v="46488"/>
          <ac:graphicFrameMkLst>
            <pc:docMk/>
            <pc:sldMk cId="2007446643" sldId="283"/>
            <ac:graphicFrameMk id="29" creationId="{F304A50F-627A-DF7D-2593-26D68EDD4DC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2:45.927" v="108379"/>
          <ac:graphicFrameMkLst>
            <pc:docMk/>
            <pc:sldMk cId="2007446643" sldId="283"/>
            <ac:graphicFrameMk id="31" creationId="{6562D7C8-C6CA-7800-4952-8328D0FD623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03.101" v="48280"/>
          <ac:graphicFrameMkLst>
            <pc:docMk/>
            <pc:sldMk cId="2007446643" sldId="283"/>
            <ac:graphicFrameMk id="54" creationId="{E3827764-F724-450F-35BF-C7F12E59CE5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11.506" v="48453"/>
          <ac:graphicFrameMkLst>
            <pc:docMk/>
            <pc:sldMk cId="2007446643" sldId="283"/>
            <ac:graphicFrameMk id="59" creationId="{5B5F7E5E-3D7D-3281-2736-0290C26E188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14.270" v="48626"/>
          <ac:graphicFrameMkLst>
            <pc:docMk/>
            <pc:sldMk cId="2007446643" sldId="283"/>
            <ac:graphicFrameMk id="61" creationId="{A6909E06-CA2E-A1D0-21A9-C40AF85084F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17.651" v="48799"/>
          <ac:graphicFrameMkLst>
            <pc:docMk/>
            <pc:sldMk cId="2007446643" sldId="283"/>
            <ac:graphicFrameMk id="63" creationId="{C80389DA-75DC-A06F-4459-FDF22A20AA3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26.224" v="51200"/>
          <ac:graphicFrameMkLst>
            <pc:docMk/>
            <pc:sldMk cId="2007446643" sldId="283"/>
            <ac:graphicFrameMk id="68" creationId="{A2EF2EE6-25CA-CD4E-CA56-06141E538E0C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33:33.348" v="110878"/>
          <ac:graphicFrameMkLst>
            <pc:docMk/>
            <pc:sldMk cId="2007446643" sldId="283"/>
            <ac:graphicFrameMk id="76" creationId="{3F4A32D2-50FF-4584-DF58-94FD6884D8C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38.199" v="51375"/>
          <ac:graphicFrameMkLst>
            <pc:docMk/>
            <pc:sldMk cId="2007446643" sldId="283"/>
            <ac:graphicFrameMk id="76" creationId="{CF537691-3ED7-C010-EA0F-D0836EFA95E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3:44.934" v="111129"/>
          <ac:graphicFrameMkLst>
            <pc:docMk/>
            <pc:sldMk cId="2007446643" sldId="283"/>
            <ac:graphicFrameMk id="78" creationId="{02F422F0-30FD-9D7F-BBBC-5BD8DEB7C5A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42.724" v="51471"/>
          <ac:graphicFrameMkLst>
            <pc:docMk/>
            <pc:sldMk cId="2007446643" sldId="283"/>
            <ac:graphicFrameMk id="78" creationId="{1CE6E0D8-10D3-69A7-FB66-F638E687A9A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3:48.966" v="111203"/>
          <ac:graphicFrameMkLst>
            <pc:docMk/>
            <pc:sldMk cId="2007446643" sldId="283"/>
            <ac:graphicFrameMk id="80" creationId="{000AB0B3-32EE-AB4F-5558-50A122CE86A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54.494" v="51552"/>
          <ac:graphicFrameMkLst>
            <pc:docMk/>
            <pc:sldMk cId="2007446643" sldId="283"/>
            <ac:graphicFrameMk id="80" creationId="{A434B9C3-1EA2-459C-FD8D-3022ABD3AC2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9:10.598" v="51986"/>
          <ac:graphicFrameMkLst>
            <pc:docMk/>
            <pc:sldMk cId="2007446643" sldId="283"/>
            <ac:graphicFrameMk id="82" creationId="{1D47C297-69B2-D833-2CD7-66F7074685B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3:51.132" v="111293"/>
          <ac:graphicFrameMkLst>
            <pc:docMk/>
            <pc:sldMk cId="2007446643" sldId="283"/>
            <ac:graphicFrameMk id="82" creationId="{717DC3BC-9193-7840-D0C8-317B90493CB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4:17.006" v="111822"/>
          <ac:graphicFrameMkLst>
            <pc:docMk/>
            <pc:sldMk cId="2007446643" sldId="283"/>
            <ac:graphicFrameMk id="84" creationId="{65964AFD-DDCE-DFE3-FC09-29F9CF17947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4:10.877" v="111680"/>
          <ac:graphicFrameMkLst>
            <pc:docMk/>
            <pc:sldMk cId="2007446643" sldId="283"/>
            <ac:graphicFrameMk id="86" creationId="{06A96B65-1FF8-FBEF-DCB1-50DC00D3C19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4:10.877" v="111680"/>
          <ac:graphicFrameMkLst>
            <pc:docMk/>
            <pc:sldMk cId="2007446643" sldId="283"/>
            <ac:graphicFrameMk id="88" creationId="{D96A93BE-ADB5-64E8-F216-4165756AA984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34:09.397" v="111557" actId="1076"/>
          <ac:graphicFrameMkLst>
            <pc:docMk/>
            <pc:sldMk cId="2007446643" sldId="283"/>
            <ac:graphicFrameMk id="90" creationId="{597ADDBD-704F-A717-F9A3-549E6A5AD62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4:17.595" v="111916"/>
          <ac:graphicFrameMkLst>
            <pc:docMk/>
            <pc:sldMk cId="2007446643" sldId="283"/>
            <ac:graphicFrameMk id="92" creationId="{750DC301-37A1-FF96-6DDB-4662E2D1843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4:19.933" v="111994"/>
          <ac:graphicFrameMkLst>
            <pc:docMk/>
            <pc:sldMk cId="2007446643" sldId="283"/>
            <ac:graphicFrameMk id="94" creationId="{4E68B36E-9C4C-A81A-5EBC-EC86018251E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4:20.584" v="112071"/>
          <ac:graphicFrameMkLst>
            <pc:docMk/>
            <pc:sldMk cId="2007446643" sldId="283"/>
            <ac:graphicFrameMk id="160" creationId="{37D58658-2A38-63E3-E2EE-65444E60B59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4:22.178" v="112148"/>
          <ac:graphicFrameMkLst>
            <pc:docMk/>
            <pc:sldMk cId="2007446643" sldId="283"/>
            <ac:graphicFrameMk id="162" creationId="{98204D8D-99F2-4175-9234-4CD82E64BC4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9:12.721" v="52206"/>
          <ac:graphicFrameMkLst>
            <pc:docMk/>
            <pc:sldMk cId="2007446643" sldId="283"/>
            <ac:graphicFrameMk id="162" creationId="{BCED84FC-EAAD-1227-5219-7F7F79415DB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4:29.411" v="112273"/>
          <ac:graphicFrameMkLst>
            <pc:docMk/>
            <pc:sldMk cId="2007446643" sldId="283"/>
            <ac:graphicFrameMk id="164" creationId="{EF4D4917-7BB7-7890-361B-5C30905C23D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9:19.078" v="52305"/>
          <ac:graphicFrameMkLst>
            <pc:docMk/>
            <pc:sldMk cId="2007446643" sldId="283"/>
            <ac:graphicFrameMk id="165" creationId="{E24DA886-47EB-5BC0-3477-B6E8E3BC005C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34:29.427" v="112282"/>
          <ac:graphicFrameMkLst>
            <pc:docMk/>
            <pc:sldMk cId="2007446643" sldId="283"/>
            <ac:graphicFrameMk id="166" creationId="{44B67C53-2485-D018-27FB-128F2503259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9:21.077" v="52404"/>
          <ac:graphicFrameMkLst>
            <pc:docMk/>
            <pc:sldMk cId="2007446643" sldId="283"/>
            <ac:graphicFrameMk id="167" creationId="{BA7DAE30-F5A2-761E-F648-D49197783BC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2:32.226" v="107949"/>
          <ac:graphicFrameMkLst>
            <pc:docMk/>
            <pc:sldMk cId="2007446643" sldId="283"/>
            <ac:graphicFrameMk id="169" creationId="{DFB48917-7568-E8E6-9D7E-9669A66785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6:39.121" v="46876"/>
          <ac:graphicFrameMkLst>
            <pc:docMk/>
            <pc:sldMk cId="2007446643" sldId="283"/>
            <ac:graphicFrameMk id="233" creationId="{24197DDF-5FC7-A341-76F1-B53B36F6116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6:47.292" v="47852"/>
          <ac:graphicFrameMkLst>
            <pc:docMk/>
            <pc:sldMk cId="2007446643" sldId="283"/>
            <ac:graphicFrameMk id="239" creationId="{D7816F02-AE83-2D2C-5B04-3EFE4EE6D0E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2:51.468" v="108491"/>
          <ac:graphicFrameMkLst>
            <pc:docMk/>
            <pc:sldMk cId="2007446643" sldId="283"/>
            <ac:graphicFrameMk id="257" creationId="{B6A2AADE-AA0B-A0FD-BE45-EA8DFD55207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2:56.542" v="108594"/>
          <ac:graphicFrameMkLst>
            <pc:docMk/>
            <pc:sldMk cId="2007446643" sldId="283"/>
            <ac:graphicFrameMk id="259" creationId="{5FBE149A-E848-4934-20CC-0322DB851C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2:57.916" v="108693"/>
          <ac:graphicFrameMkLst>
            <pc:docMk/>
            <pc:sldMk cId="2007446643" sldId="283"/>
            <ac:graphicFrameMk id="261" creationId="{A824F82A-ADD6-CFAB-7C37-C83C9FF5BE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3:00.577" v="108810"/>
          <ac:graphicFrameMkLst>
            <pc:docMk/>
            <pc:sldMk cId="2007446643" sldId="283"/>
            <ac:graphicFrameMk id="263" creationId="{1E782BC3-7D15-7691-C7D5-CE35A9180F5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3:03.680" v="108906"/>
          <ac:graphicFrameMkLst>
            <pc:docMk/>
            <pc:sldMk cId="2007446643" sldId="283"/>
            <ac:graphicFrameMk id="266" creationId="{E7EEE73D-EF26-66F7-F367-BC59C3387BB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3:07.008" v="108985"/>
          <ac:graphicFrameMkLst>
            <pc:docMk/>
            <pc:sldMk cId="2007446643" sldId="283"/>
            <ac:graphicFrameMk id="268" creationId="{9A285934-7FD7-7787-3E38-5E18105D8EF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33:41.207" v="111020"/>
          <ac:graphicFrameMkLst>
            <pc:docMk/>
            <pc:sldMk cId="2007446643" sldId="283"/>
            <ac:graphicFrameMk id="270" creationId="{FB7410EE-FF7A-0B8E-F77E-79A13E9BBAF2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33:17.714" v="109131"/>
          <ac:graphicFrameMkLst>
            <pc:docMk/>
            <pc:sldMk cId="2007446643" sldId="283"/>
            <ac:graphicFrameMk id="272" creationId="{D3CF758E-1EAD-D1B6-F443-4695AE3DE79F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6:33:25.145" v="109909"/>
          <ac:graphicFrameMkLst>
            <pc:docMk/>
            <pc:sldMk cId="2007446643" sldId="283"/>
            <ac:graphicFrameMk id="281" creationId="{E9C0B43D-968E-23BC-0C07-26195FCB4CE7}"/>
          </ac:graphicFrameMkLst>
        </pc:graphicFrameChg>
        <pc:graphicFrameChg chg="add del">
          <ac:chgData name="Oğuz Öztekin" userId="33c0df0f-d5fe-4bda-8f43-141ad7af67e3" providerId="ADAL" clId="{48B824AD-1B2A-47A8-8D92-6FE6E622A650}" dt="2024-12-16T11:12:52.129" v="45783" actId="478"/>
          <ac:graphicFrameMkLst>
            <pc:docMk/>
            <pc:sldMk cId="2007446643" sldId="283"/>
            <ac:graphicFrameMk id="282" creationId="{1FBAC997-32D4-960B-5DCB-5B6ADC6EDA0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21.620" v="48956"/>
          <ac:graphicFrameMkLst>
            <pc:docMk/>
            <pc:sldMk cId="2007446643" sldId="283"/>
            <ac:graphicFrameMk id="289" creationId="{C3C2A3B8-EF70-D2FC-6C65-6308E7FB844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28.297" v="49113"/>
          <ac:graphicFrameMkLst>
            <pc:docMk/>
            <pc:sldMk cId="2007446643" sldId="283"/>
            <ac:graphicFrameMk id="291" creationId="{C067B461-3F02-BADA-0C74-5AD350A749A8}"/>
          </ac:graphicFrameMkLst>
        </pc:graphicFrameChg>
        <pc:graphicFrameChg chg="del mod ord">
          <ac:chgData name="Oğuz Öztekin" userId="33c0df0f-d5fe-4bda-8f43-141ad7af67e3" providerId="ADAL" clId="{48B824AD-1B2A-47A8-8D92-6FE6E622A650}" dt="2024-12-16T11:16:25.672" v="46064"/>
          <ac:graphicFrameMkLst>
            <pc:docMk/>
            <pc:sldMk cId="2007446643" sldId="283"/>
            <ac:graphicFrameMk id="293" creationId="{371F88BE-86B6-DAE5-8155-B0BDB5B9201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04.548" v="49384"/>
          <ac:graphicFrameMkLst>
            <pc:docMk/>
            <pc:sldMk cId="2007446643" sldId="283"/>
            <ac:graphicFrameMk id="294" creationId="{CC9E85C2-2F3D-5B9B-8EE9-17DDE84ABBA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06.327" v="49551"/>
          <ac:graphicFrameMkLst>
            <pc:docMk/>
            <pc:sldMk cId="2007446643" sldId="283"/>
            <ac:graphicFrameMk id="296" creationId="{22D04A9C-D1FE-B33C-D36E-EF7EC2EECE7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14.385" v="50198"/>
          <ac:graphicFrameMkLst>
            <pc:docMk/>
            <pc:sldMk cId="2007446643" sldId="283"/>
            <ac:graphicFrameMk id="298" creationId="{FAA66B9F-9536-9F77-AF8D-C2A4516F137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19.944" v="50444"/>
          <ac:graphicFrameMkLst>
            <pc:docMk/>
            <pc:sldMk cId="2007446643" sldId="283"/>
            <ac:graphicFrameMk id="312" creationId="{FB6CFE32-0C60-DF7D-16FD-3B22EEB3195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23.613" v="50913"/>
          <ac:graphicFrameMkLst>
            <pc:docMk/>
            <pc:sldMk cId="2007446643" sldId="283"/>
            <ac:graphicFrameMk id="314" creationId="{4A436C58-0ACA-441A-E18D-26281251CE07}"/>
          </ac:graphicFrameMkLst>
        </pc:graphicFrameChg>
        <pc:cxnChg chg="del mod ord">
          <ac:chgData name="Oğuz Öztekin" userId="33c0df0f-d5fe-4bda-8f43-141ad7af67e3" providerId="ADAL" clId="{48B824AD-1B2A-47A8-8D92-6FE6E622A650}" dt="2024-12-16T11:18:10.515" v="49662"/>
          <ac:cxnSpMkLst>
            <pc:docMk/>
            <pc:sldMk cId="2007446643" sldId="283"/>
            <ac:cxnSpMk id="7" creationId="{563EAFD6-F758-9A03-E162-71400F275668}"/>
          </ac:cxnSpMkLst>
        </pc:cxnChg>
        <pc:cxnChg chg="del mod ord">
          <ac:chgData name="Oğuz Öztekin" userId="33c0df0f-d5fe-4bda-8f43-141ad7af67e3" providerId="ADAL" clId="{48B824AD-1B2A-47A8-8D92-6FE6E622A650}" dt="2024-12-16T11:18:10.515" v="49660"/>
          <ac:cxnSpMkLst>
            <pc:docMk/>
            <pc:sldMk cId="2007446643" sldId="283"/>
            <ac:cxnSpMk id="8" creationId="{E1F93894-515F-A34D-BF01-32F222A9D7CD}"/>
          </ac:cxnSpMkLst>
        </pc:cxnChg>
        <pc:cxnChg chg="del mod ord">
          <ac:chgData name="Oğuz Öztekin" userId="33c0df0f-d5fe-4bda-8f43-141ad7af67e3" providerId="ADAL" clId="{48B824AD-1B2A-47A8-8D92-6FE6E622A650}" dt="2024-12-16T11:18:10.514" v="49658"/>
          <ac:cxnSpMkLst>
            <pc:docMk/>
            <pc:sldMk cId="2007446643" sldId="283"/>
            <ac:cxnSpMk id="9" creationId="{618C0DD4-B5B7-FB7B-384A-549C547E84B6}"/>
          </ac:cxnSpMkLst>
        </pc:cxnChg>
        <pc:cxnChg chg="del mod ord">
          <ac:chgData name="Oğuz Öztekin" userId="33c0df0f-d5fe-4bda-8f43-141ad7af67e3" providerId="ADAL" clId="{48B824AD-1B2A-47A8-8D92-6FE6E622A650}" dt="2024-12-16T11:18:10.520" v="49678"/>
          <ac:cxnSpMkLst>
            <pc:docMk/>
            <pc:sldMk cId="2007446643" sldId="283"/>
            <ac:cxnSpMk id="11" creationId="{D0258EAF-59B5-66F5-2FAA-0E504352809F}"/>
          </ac:cxnSpMkLst>
        </pc:cxnChg>
        <pc:cxnChg chg="add del mod ord">
          <ac:chgData name="Oğuz Öztekin" userId="33c0df0f-d5fe-4bda-8f43-141ad7af67e3" providerId="ADAL" clId="{48B824AD-1B2A-47A8-8D92-6FE6E622A650}" dt="2024-12-16T11:18:38.188" v="51340"/>
          <ac:cxnSpMkLst>
            <pc:docMk/>
            <pc:sldMk cId="2007446643" sldId="283"/>
            <ac:cxnSpMk id="47" creationId="{8DB84D1B-F782-F5B4-FE81-1F2749E0F0C1}"/>
          </ac:cxnSpMkLst>
        </pc:cxnChg>
        <pc:cxnChg chg="add del mod ord">
          <ac:chgData name="Oğuz Öztekin" userId="33c0df0f-d5fe-4bda-8f43-141ad7af67e3" providerId="ADAL" clId="{48B824AD-1B2A-47A8-8D92-6FE6E622A650}" dt="2024-12-16T11:18:26.166" v="51083"/>
          <ac:cxnSpMkLst>
            <pc:docMk/>
            <pc:sldMk cId="2007446643" sldId="283"/>
            <ac:cxnSpMk id="48" creationId="{E8EED7FD-2798-893E-0485-420C35B8A648}"/>
          </ac:cxnSpMkLst>
        </pc:cxnChg>
        <pc:cxnChg chg="add del mod ord">
          <ac:chgData name="Oğuz Öztekin" userId="33c0df0f-d5fe-4bda-8f43-141ad7af67e3" providerId="ADAL" clId="{48B824AD-1B2A-47A8-8D92-6FE6E622A650}" dt="2024-12-16T11:18:26.164" v="51077"/>
          <ac:cxnSpMkLst>
            <pc:docMk/>
            <pc:sldMk cId="2007446643" sldId="283"/>
            <ac:cxnSpMk id="49" creationId="{284A34F9-BB3B-41F8-2D8C-E6E2BC2F16E9}"/>
          </ac:cxnSpMkLst>
        </pc:cxnChg>
        <pc:cxnChg chg="add del mod ord">
          <ac:chgData name="Oğuz Öztekin" userId="33c0df0f-d5fe-4bda-8f43-141ad7af67e3" providerId="ADAL" clId="{48B824AD-1B2A-47A8-8D92-6FE6E622A650}" dt="2024-12-16T11:18:26.163" v="51074"/>
          <ac:cxnSpMkLst>
            <pc:docMk/>
            <pc:sldMk cId="2007446643" sldId="283"/>
            <ac:cxnSpMk id="50" creationId="{BA05BDAF-E7D3-DCDE-D6B0-2E988918F78F}"/>
          </ac:cxnSpMkLst>
        </pc:cxnChg>
        <pc:cxnChg chg="add del mod ord">
          <ac:chgData name="Oğuz Öztekin" userId="33c0df0f-d5fe-4bda-8f43-141ad7af67e3" providerId="ADAL" clId="{48B824AD-1B2A-47A8-8D92-6FE6E622A650}" dt="2024-12-16T11:18:26.162" v="51068"/>
          <ac:cxnSpMkLst>
            <pc:docMk/>
            <pc:sldMk cId="2007446643" sldId="283"/>
            <ac:cxnSpMk id="51" creationId="{9596225A-77A1-6AD8-1748-BF30F71B85EA}"/>
          </ac:cxnSpMkLst>
        </pc:cxnChg>
        <pc:cxnChg chg="add del mod ord">
          <ac:chgData name="Oğuz Öztekin" userId="33c0df0f-d5fe-4bda-8f43-141ad7af67e3" providerId="ADAL" clId="{48B824AD-1B2A-47A8-8D92-6FE6E622A650}" dt="2024-12-16T11:18:38.189" v="51344"/>
          <ac:cxnSpMkLst>
            <pc:docMk/>
            <pc:sldMk cId="2007446643" sldId="283"/>
            <ac:cxnSpMk id="52" creationId="{6E902599-DA74-A096-5F84-96AC883C73A4}"/>
          </ac:cxnSpMkLst>
        </pc:cxnChg>
        <pc:cxnChg chg="add del mod ord">
          <ac:chgData name="Oğuz Öztekin" userId="33c0df0f-d5fe-4bda-8f43-141ad7af67e3" providerId="ADAL" clId="{48B824AD-1B2A-47A8-8D92-6FE6E622A650}" dt="2024-12-16T11:18:26.159" v="51059"/>
          <ac:cxnSpMkLst>
            <pc:docMk/>
            <pc:sldMk cId="2007446643" sldId="283"/>
            <ac:cxnSpMk id="53" creationId="{CAFF7BB7-A534-ED01-9715-E52F0DEE83C7}"/>
          </ac:cxnSpMkLst>
        </pc:cxnChg>
        <pc:cxnChg chg="add del mod ord">
          <ac:chgData name="Oğuz Öztekin" userId="33c0df0f-d5fe-4bda-8f43-141ad7af67e3" providerId="ADAL" clId="{48B824AD-1B2A-47A8-8D92-6FE6E622A650}" dt="2024-12-16T11:18:26.158" v="51056"/>
          <ac:cxnSpMkLst>
            <pc:docMk/>
            <pc:sldMk cId="2007446643" sldId="283"/>
            <ac:cxnSpMk id="64" creationId="{B93D5D22-65CD-F98D-6D62-6D286868A030}"/>
          </ac:cxnSpMkLst>
        </pc:cxnChg>
        <pc:cxnChg chg="add del mod ord">
          <ac:chgData name="Oğuz Öztekin" userId="33c0df0f-d5fe-4bda-8f43-141ad7af67e3" providerId="ADAL" clId="{48B824AD-1B2A-47A8-8D92-6FE6E622A650}" dt="2024-12-16T11:18:26.157" v="51053"/>
          <ac:cxnSpMkLst>
            <pc:docMk/>
            <pc:sldMk cId="2007446643" sldId="283"/>
            <ac:cxnSpMk id="65" creationId="{B1BE6126-DEEC-4560-3557-A1C623A969CF}"/>
          </ac:cxnSpMkLst>
        </pc:cxnChg>
        <pc:cxnChg chg="add del mod ord">
          <ac:chgData name="Oğuz Öztekin" userId="33c0df0f-d5fe-4bda-8f43-141ad7af67e3" providerId="ADAL" clId="{48B824AD-1B2A-47A8-8D92-6FE6E622A650}" dt="2024-12-16T11:18:38.190" v="51346"/>
          <ac:cxnSpMkLst>
            <pc:docMk/>
            <pc:sldMk cId="2007446643" sldId="283"/>
            <ac:cxnSpMk id="66" creationId="{DC1CADFF-ED0E-7FF7-9DB0-3DB5C17C4438}"/>
          </ac:cxnSpMkLst>
        </pc:cxnChg>
        <pc:cxnChg chg="add del mod ord">
          <ac:chgData name="Oğuz Öztekin" userId="33c0df0f-d5fe-4bda-8f43-141ad7af67e3" providerId="ADAL" clId="{48B824AD-1B2A-47A8-8D92-6FE6E622A650}" dt="2024-12-16T11:18:26.157" v="51050"/>
          <ac:cxnSpMkLst>
            <pc:docMk/>
            <pc:sldMk cId="2007446643" sldId="283"/>
            <ac:cxnSpMk id="67" creationId="{84977D94-9D9E-2043-4841-8FD8357A0EE0}"/>
          </ac:cxnSpMkLst>
        </pc:cxnChg>
        <pc:cxnChg chg="add del mod ord">
          <ac:chgData name="Oğuz Öztekin" userId="33c0df0f-d5fe-4bda-8f43-141ad7af67e3" providerId="ADAL" clId="{48B824AD-1B2A-47A8-8D92-6FE6E622A650}" dt="2024-12-16T11:18:38.190" v="51348"/>
          <ac:cxnSpMkLst>
            <pc:docMk/>
            <pc:sldMk cId="2007446643" sldId="283"/>
            <ac:cxnSpMk id="71" creationId="{54D6C727-AD7D-8D00-DDF2-0A04D80C4935}"/>
          </ac:cxnSpMkLst>
        </pc:cxnChg>
        <pc:cxnChg chg="mod ord">
          <ac:chgData name="Oğuz Öztekin" userId="33c0df0f-d5fe-4bda-8f43-141ad7af67e3" providerId="ADAL" clId="{48B824AD-1B2A-47A8-8D92-6FE6E622A650}" dt="2024-12-16T16:34:29.427" v="112284"/>
          <ac:cxnSpMkLst>
            <pc:docMk/>
            <pc:sldMk cId="2007446643" sldId="283"/>
            <ac:cxnSpMk id="73" creationId="{5C37EC03-2791-9D51-BF2D-AE023B3DC68B}"/>
          </ac:cxnSpMkLst>
        </pc:cxnChg>
        <pc:cxnChg chg="mod ord">
          <ac:chgData name="Oğuz Öztekin" userId="33c0df0f-d5fe-4bda-8f43-141ad7af67e3" providerId="ADAL" clId="{48B824AD-1B2A-47A8-8D92-6FE6E622A650}" dt="2024-12-16T16:34:29.428" v="112286"/>
          <ac:cxnSpMkLst>
            <pc:docMk/>
            <pc:sldMk cId="2007446643" sldId="283"/>
            <ac:cxnSpMk id="74" creationId="{493A1725-89D2-C50C-61AF-C068F1B4A706}"/>
          </ac:cxnSpMkLst>
        </pc:cxnChg>
        <pc:cxnChg chg="mod ord">
          <ac:chgData name="Oğuz Öztekin" userId="33c0df0f-d5fe-4bda-8f43-141ad7af67e3" providerId="ADAL" clId="{48B824AD-1B2A-47A8-8D92-6FE6E622A650}" dt="2024-12-16T16:34:29.428" v="112288"/>
          <ac:cxnSpMkLst>
            <pc:docMk/>
            <pc:sldMk cId="2007446643" sldId="283"/>
            <ac:cxnSpMk id="75" creationId="{CB05B057-4874-BB30-C991-47F6CA85AF90}"/>
          </ac:cxnSpMkLst>
        </pc:cxnChg>
        <pc:cxnChg chg="del mod ord">
          <ac:chgData name="Oğuz Öztekin" userId="33c0df0f-d5fe-4bda-8f43-141ad7af67e3" providerId="ADAL" clId="{48B824AD-1B2A-47A8-8D92-6FE6E622A650}" dt="2024-12-16T11:18:10.519" v="49676"/>
          <ac:cxnSpMkLst>
            <pc:docMk/>
            <pc:sldMk cId="2007446643" sldId="283"/>
            <ac:cxnSpMk id="226" creationId="{96A5C315-C69A-4968-5B4C-E256D6DCDE40}"/>
          </ac:cxnSpMkLst>
        </pc:cxnChg>
        <pc:cxnChg chg="del mod ord">
          <ac:chgData name="Oğuz Öztekin" userId="33c0df0f-d5fe-4bda-8f43-141ad7af67e3" providerId="ADAL" clId="{48B824AD-1B2A-47A8-8D92-6FE6E622A650}" dt="2024-12-16T11:18:10.519" v="49674"/>
          <ac:cxnSpMkLst>
            <pc:docMk/>
            <pc:sldMk cId="2007446643" sldId="283"/>
            <ac:cxnSpMk id="227" creationId="{5975C226-582C-3B9B-7814-EE99E37C9468}"/>
          </ac:cxnSpMkLst>
        </pc:cxnChg>
        <pc:cxnChg chg="del mod ord">
          <ac:chgData name="Oğuz Öztekin" userId="33c0df0f-d5fe-4bda-8f43-141ad7af67e3" providerId="ADAL" clId="{48B824AD-1B2A-47A8-8D92-6FE6E622A650}" dt="2024-12-16T11:18:10.518" v="49672"/>
          <ac:cxnSpMkLst>
            <pc:docMk/>
            <pc:sldMk cId="2007446643" sldId="283"/>
            <ac:cxnSpMk id="228" creationId="{AC3C0D82-9B7B-546F-D928-0E8F518B027A}"/>
          </ac:cxnSpMkLst>
        </pc:cxnChg>
        <pc:cxnChg chg="del mod ord">
          <ac:chgData name="Oğuz Öztekin" userId="33c0df0f-d5fe-4bda-8f43-141ad7af67e3" providerId="ADAL" clId="{48B824AD-1B2A-47A8-8D92-6FE6E622A650}" dt="2024-12-16T11:18:10.518" v="49670"/>
          <ac:cxnSpMkLst>
            <pc:docMk/>
            <pc:sldMk cId="2007446643" sldId="283"/>
            <ac:cxnSpMk id="229" creationId="{58C25EA1-9AAD-4DBB-6BD6-C4FFBB876F09}"/>
          </ac:cxnSpMkLst>
        </pc:cxnChg>
        <pc:cxnChg chg="del mod ord">
          <ac:chgData name="Oğuz Öztekin" userId="33c0df0f-d5fe-4bda-8f43-141ad7af67e3" providerId="ADAL" clId="{48B824AD-1B2A-47A8-8D92-6FE6E622A650}" dt="2024-12-16T11:18:10.517" v="49668"/>
          <ac:cxnSpMkLst>
            <pc:docMk/>
            <pc:sldMk cId="2007446643" sldId="283"/>
            <ac:cxnSpMk id="230" creationId="{9F0050AF-5AE7-8A31-4D5F-473F08B10CBD}"/>
          </ac:cxnSpMkLst>
        </pc:cxnChg>
        <pc:cxnChg chg="del mod ord">
          <ac:chgData name="Oğuz Öztekin" userId="33c0df0f-d5fe-4bda-8f43-141ad7af67e3" providerId="ADAL" clId="{48B824AD-1B2A-47A8-8D92-6FE6E622A650}" dt="2024-12-16T11:18:10.517" v="49666"/>
          <ac:cxnSpMkLst>
            <pc:docMk/>
            <pc:sldMk cId="2007446643" sldId="283"/>
            <ac:cxnSpMk id="231" creationId="{9AD83182-D483-BFC8-149A-44A54C2FA44E}"/>
          </ac:cxnSpMkLst>
        </pc:cxnChg>
        <pc:cxnChg chg="mod ord">
          <ac:chgData name="Oğuz Öztekin" userId="33c0df0f-d5fe-4bda-8f43-141ad7af67e3" providerId="ADAL" clId="{48B824AD-1B2A-47A8-8D92-6FE6E622A650}" dt="2024-12-16T16:34:29.429" v="112291"/>
          <ac:cxnSpMkLst>
            <pc:docMk/>
            <pc:sldMk cId="2007446643" sldId="283"/>
            <ac:cxnSpMk id="286" creationId="{CAB51130-A452-83CD-6FF4-1237A41290F2}"/>
          </ac:cxnSpMkLst>
        </pc:cxnChg>
        <pc:cxnChg chg="add del mod ord">
          <ac:chgData name="Oğuz Öztekin" userId="33c0df0f-d5fe-4bda-8f43-141ad7af67e3" providerId="ADAL" clId="{48B824AD-1B2A-47A8-8D92-6FE6E622A650}" dt="2024-12-16T11:18:26.166" v="51086"/>
          <ac:cxnSpMkLst>
            <pc:docMk/>
            <pc:sldMk cId="2007446643" sldId="283"/>
            <ac:cxnSpMk id="306" creationId="{AC95F02E-5906-2C5A-B4DC-5D687A954D2A}"/>
          </ac:cxnSpMkLst>
        </pc:cxnChg>
        <pc:cxnChg chg="add del mod ord">
          <ac:chgData name="Oğuz Öztekin" userId="33c0df0f-d5fe-4bda-8f43-141ad7af67e3" providerId="ADAL" clId="{48B824AD-1B2A-47A8-8D92-6FE6E622A650}" dt="2024-12-16T11:18:26.165" v="51080"/>
          <ac:cxnSpMkLst>
            <pc:docMk/>
            <pc:sldMk cId="2007446643" sldId="283"/>
            <ac:cxnSpMk id="307" creationId="{5B9E098D-58B1-970E-61D0-0DE91B7B962C}"/>
          </ac:cxnSpMkLst>
        </pc:cxnChg>
        <pc:cxnChg chg="add del mod ord">
          <ac:chgData name="Oğuz Öztekin" userId="33c0df0f-d5fe-4bda-8f43-141ad7af67e3" providerId="ADAL" clId="{48B824AD-1B2A-47A8-8D92-6FE6E622A650}" dt="2024-12-16T11:18:38.189" v="51342"/>
          <ac:cxnSpMkLst>
            <pc:docMk/>
            <pc:sldMk cId="2007446643" sldId="283"/>
            <ac:cxnSpMk id="308" creationId="{29C19DF3-F086-FA22-8821-413E891E773C}"/>
          </ac:cxnSpMkLst>
        </pc:cxnChg>
        <pc:cxnChg chg="add del mod ord">
          <ac:chgData name="Oğuz Öztekin" userId="33c0df0f-d5fe-4bda-8f43-141ad7af67e3" providerId="ADAL" clId="{48B824AD-1B2A-47A8-8D92-6FE6E622A650}" dt="2024-12-16T11:18:26.163" v="51071"/>
          <ac:cxnSpMkLst>
            <pc:docMk/>
            <pc:sldMk cId="2007446643" sldId="283"/>
            <ac:cxnSpMk id="309" creationId="{0F182A21-C366-0737-B179-D3EA8B158CCB}"/>
          </ac:cxnSpMkLst>
        </pc:cxnChg>
        <pc:cxnChg chg="add del mod ord">
          <ac:chgData name="Oğuz Öztekin" userId="33c0df0f-d5fe-4bda-8f43-141ad7af67e3" providerId="ADAL" clId="{48B824AD-1B2A-47A8-8D92-6FE6E622A650}" dt="2024-12-16T11:18:26.161" v="51065"/>
          <ac:cxnSpMkLst>
            <pc:docMk/>
            <pc:sldMk cId="2007446643" sldId="283"/>
            <ac:cxnSpMk id="310" creationId="{7DF6A6D7-6C37-E023-026B-C377689756C8}"/>
          </ac:cxnSpMkLst>
        </pc:cxnChg>
        <pc:cxnChg chg="add del mod ord">
          <ac:chgData name="Oğuz Öztekin" userId="33c0df0f-d5fe-4bda-8f43-141ad7af67e3" providerId="ADAL" clId="{48B824AD-1B2A-47A8-8D92-6FE6E622A650}" dt="2024-12-16T11:18:26.160" v="51062"/>
          <ac:cxnSpMkLst>
            <pc:docMk/>
            <pc:sldMk cId="2007446643" sldId="283"/>
            <ac:cxnSpMk id="311" creationId="{9B132A5B-590F-11D0-EEE3-8AC8C9FC3B74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17:43:58.177" v="112921"/>
        <pc:sldMkLst>
          <pc:docMk/>
          <pc:sldMk cId="643973876" sldId="284"/>
        </pc:sldMkLst>
        <pc:spChg chg="mod ord">
          <ac:chgData name="Oğuz Öztekin" userId="33c0df0f-d5fe-4bda-8f43-141ad7af67e3" providerId="ADAL" clId="{48B824AD-1B2A-47A8-8D92-6FE6E622A650}" dt="2024-12-16T17:43:58.156" v="112898" actId="948"/>
          <ac:spMkLst>
            <pc:docMk/>
            <pc:sldMk cId="643973876" sldId="284"/>
            <ac:spMk id="2" creationId="{3F5BAC77-4AE8-6536-1152-C5E4BECFE995}"/>
          </ac:spMkLst>
        </pc:spChg>
        <pc:spChg chg="add del mod modVis">
          <ac:chgData name="Oğuz Öztekin" userId="33c0df0f-d5fe-4bda-8f43-141ad7af67e3" providerId="ADAL" clId="{48B824AD-1B2A-47A8-8D92-6FE6E622A650}" dt="2024-12-16T16:58:43.921" v="112336"/>
          <ac:spMkLst>
            <pc:docMk/>
            <pc:sldMk cId="643973876" sldId="284"/>
            <ac:spMk id="4" creationId="{3DF124C2-55D3-BA06-4738-97D27731982E}"/>
          </ac:spMkLst>
        </pc:spChg>
        <pc:spChg chg="add del mod modVis">
          <ac:chgData name="Oğuz Öztekin" userId="33c0df0f-d5fe-4bda-8f43-141ad7af67e3" providerId="ADAL" clId="{48B824AD-1B2A-47A8-8D92-6FE6E622A650}" dt="2024-12-16T11:19:47.810" v="52473"/>
          <ac:spMkLst>
            <pc:docMk/>
            <pc:sldMk cId="643973876" sldId="284"/>
            <ac:spMk id="4" creationId="{A48E7CCD-6B69-15FF-9D34-A717C896D467}"/>
          </ac:spMkLst>
        </pc:spChg>
        <pc:spChg chg="add mod">
          <ac:chgData name="Oğuz Öztekin" userId="33c0df0f-d5fe-4bda-8f43-141ad7af67e3" providerId="ADAL" clId="{48B824AD-1B2A-47A8-8D92-6FE6E622A650}" dt="2024-12-16T16:59:06.398" v="112356" actId="20577"/>
          <ac:spMkLst>
            <pc:docMk/>
            <pc:sldMk cId="643973876" sldId="284"/>
            <ac:spMk id="5" creationId="{29CFFDA1-43FA-B247-6E8D-6AAE29D0EF5C}"/>
          </ac:spMkLst>
        </pc:spChg>
        <pc:spChg chg="add del mod modVis">
          <ac:chgData name="Oğuz Öztekin" userId="33c0df0f-d5fe-4bda-8f43-141ad7af67e3" providerId="ADAL" clId="{48B824AD-1B2A-47A8-8D92-6FE6E622A650}" dt="2024-12-16T11:19:49.343" v="52503"/>
          <ac:spMkLst>
            <pc:docMk/>
            <pc:sldMk cId="643973876" sldId="284"/>
            <ac:spMk id="5" creationId="{3574BB00-FF41-E8BF-25AE-4538A74E7568}"/>
          </ac:spMkLst>
        </pc:spChg>
        <pc:spChg chg="add del mod modVis">
          <ac:chgData name="Oğuz Öztekin" userId="33c0df0f-d5fe-4bda-8f43-141ad7af67e3" providerId="ADAL" clId="{48B824AD-1B2A-47A8-8D92-6FE6E622A650}" dt="2024-12-16T11:19:52.102" v="52542"/>
          <ac:spMkLst>
            <pc:docMk/>
            <pc:sldMk cId="643973876" sldId="284"/>
            <ac:spMk id="6" creationId="{14EF58A1-FE81-BD4D-0558-79A363669828}"/>
          </ac:spMkLst>
        </pc:spChg>
        <pc:spChg chg="add mod">
          <ac:chgData name="Oğuz Öztekin" userId="33c0df0f-d5fe-4bda-8f43-141ad7af67e3" providerId="ADAL" clId="{48B824AD-1B2A-47A8-8D92-6FE6E622A650}" dt="2024-12-16T16:59:17.287" v="112371" actId="20577"/>
          <ac:spMkLst>
            <pc:docMk/>
            <pc:sldMk cId="643973876" sldId="284"/>
            <ac:spMk id="6" creationId="{BF769D5E-D2C2-D352-0B7A-3B210F2C7A3B}"/>
          </ac:spMkLst>
        </pc:spChg>
        <pc:spChg chg="add del mod modVis">
          <ac:chgData name="Oğuz Öztekin" userId="33c0df0f-d5fe-4bda-8f43-141ad7af67e3" providerId="ADAL" clId="{48B824AD-1B2A-47A8-8D92-6FE6E622A650}" dt="2024-12-16T11:21:16.632" v="52581"/>
          <ac:spMkLst>
            <pc:docMk/>
            <pc:sldMk cId="643973876" sldId="284"/>
            <ac:spMk id="7" creationId="{81223EA4-5B27-72AB-9F0E-1B8EFB7D3F72}"/>
          </ac:spMkLst>
        </pc:spChg>
        <pc:spChg chg="add mod">
          <ac:chgData name="Oğuz Öztekin" userId="33c0df0f-d5fe-4bda-8f43-141ad7af67e3" providerId="ADAL" clId="{48B824AD-1B2A-47A8-8D92-6FE6E622A650}" dt="2024-12-16T16:59:26.892" v="112377" actId="20577"/>
          <ac:spMkLst>
            <pc:docMk/>
            <pc:sldMk cId="643973876" sldId="284"/>
            <ac:spMk id="7" creationId="{DF409F0A-9089-8A07-7798-8DD52DCC1261}"/>
          </ac:spMkLst>
        </pc:spChg>
        <pc:spChg chg="add mod">
          <ac:chgData name="Oğuz Öztekin" userId="33c0df0f-d5fe-4bda-8f43-141ad7af67e3" providerId="ADAL" clId="{48B824AD-1B2A-47A8-8D92-6FE6E622A650}" dt="2024-12-16T17:00:48.100" v="112385" actId="20577"/>
          <ac:spMkLst>
            <pc:docMk/>
            <pc:sldMk cId="643973876" sldId="284"/>
            <ac:spMk id="8" creationId="{25F63395-C47E-ABB4-E208-916F59C4D429}"/>
          </ac:spMkLst>
        </pc:spChg>
        <pc:spChg chg="add del mod modVis">
          <ac:chgData name="Oğuz Öztekin" userId="33c0df0f-d5fe-4bda-8f43-141ad7af67e3" providerId="ADAL" clId="{48B824AD-1B2A-47A8-8D92-6FE6E622A650}" dt="2024-12-16T11:22:34.012" v="53054"/>
          <ac:spMkLst>
            <pc:docMk/>
            <pc:sldMk cId="643973876" sldId="284"/>
            <ac:spMk id="8" creationId="{B6D78709-20B7-606D-030E-0C55ECBBB40F}"/>
          </ac:spMkLst>
        </pc:spChg>
        <pc:spChg chg="add del mod">
          <ac:chgData name="Oğuz Öztekin" userId="33c0df0f-d5fe-4bda-8f43-141ad7af67e3" providerId="ADAL" clId="{48B824AD-1B2A-47A8-8D92-6FE6E622A650}" dt="2024-12-16T11:22:34.903" v="53106"/>
          <ac:spMkLst>
            <pc:docMk/>
            <pc:sldMk cId="643973876" sldId="284"/>
            <ac:spMk id="9" creationId="{175B0CB1-9BBE-3C79-9793-3B3087D414DE}"/>
          </ac:spMkLst>
        </pc:spChg>
        <pc:spChg chg="add mod">
          <ac:chgData name="Oğuz Öztekin" userId="33c0df0f-d5fe-4bda-8f43-141ad7af67e3" providerId="ADAL" clId="{48B824AD-1B2A-47A8-8D92-6FE6E622A650}" dt="2024-12-16T17:00:58.184" v="112393" actId="20577"/>
          <ac:spMkLst>
            <pc:docMk/>
            <pc:sldMk cId="643973876" sldId="284"/>
            <ac:spMk id="9" creationId="{FF759EB2-542F-D19B-FEAD-12DFB4F1524E}"/>
          </ac:spMkLst>
        </pc:spChg>
        <pc:spChg chg="add del mod">
          <ac:chgData name="Oğuz Öztekin" userId="33c0df0f-d5fe-4bda-8f43-141ad7af67e3" providerId="ADAL" clId="{48B824AD-1B2A-47A8-8D92-6FE6E622A650}" dt="2024-12-16T11:22:34.907" v="53107"/>
          <ac:spMkLst>
            <pc:docMk/>
            <pc:sldMk cId="643973876" sldId="284"/>
            <ac:spMk id="10" creationId="{79B5CB81-A6AC-FAC3-AD7B-5434EA09B911}"/>
          </ac:spMkLst>
        </pc:spChg>
        <pc:spChg chg="add del mod modVis">
          <ac:chgData name="Oğuz Öztekin" userId="33c0df0f-d5fe-4bda-8f43-141ad7af67e3" providerId="ADAL" clId="{48B824AD-1B2A-47A8-8D92-6FE6E622A650}" dt="2024-12-16T17:43:38.606" v="112667"/>
          <ac:spMkLst>
            <pc:docMk/>
            <pc:sldMk cId="643973876" sldId="284"/>
            <ac:spMk id="10" creationId="{BA8AD4BD-EF22-AD00-2335-1274485BABF7}"/>
          </ac:spMkLst>
        </pc:spChg>
        <pc:spChg chg="add del mod modVis">
          <ac:chgData name="Oğuz Öztekin" userId="33c0df0f-d5fe-4bda-8f43-141ad7af67e3" providerId="ADAL" clId="{48B824AD-1B2A-47A8-8D92-6FE6E622A650}" dt="2024-12-16T17:43:39.519" v="112692"/>
          <ac:spMkLst>
            <pc:docMk/>
            <pc:sldMk cId="643973876" sldId="284"/>
            <ac:spMk id="11" creationId="{1EF49D0A-78A6-87DE-C314-5E977C9F51CD}"/>
          </ac:spMkLst>
        </pc:spChg>
        <pc:spChg chg="add del mod">
          <ac:chgData name="Oğuz Öztekin" userId="33c0df0f-d5fe-4bda-8f43-141ad7af67e3" providerId="ADAL" clId="{48B824AD-1B2A-47A8-8D92-6FE6E622A650}" dt="2024-12-16T11:22:34.907" v="53108"/>
          <ac:spMkLst>
            <pc:docMk/>
            <pc:sldMk cId="643973876" sldId="284"/>
            <ac:spMk id="11" creationId="{88D56424-EB0F-C4FF-AED3-9AD40A23347E}"/>
          </ac:spMkLst>
        </pc:spChg>
        <pc:spChg chg="add del mod modVis">
          <ac:chgData name="Oğuz Öztekin" userId="33c0df0f-d5fe-4bda-8f43-141ad7af67e3" providerId="ADAL" clId="{48B824AD-1B2A-47A8-8D92-6FE6E622A650}" dt="2024-12-16T17:43:42.715" v="112728"/>
          <ac:spMkLst>
            <pc:docMk/>
            <pc:sldMk cId="643973876" sldId="284"/>
            <ac:spMk id="12" creationId="{36406DC6-DE75-3F4E-8B3A-73C70A0A308C}"/>
          </ac:spMkLst>
        </pc:spChg>
        <pc:spChg chg="add del mod">
          <ac:chgData name="Oğuz Öztekin" userId="33c0df0f-d5fe-4bda-8f43-141ad7af67e3" providerId="ADAL" clId="{48B824AD-1B2A-47A8-8D92-6FE6E622A650}" dt="2024-12-16T11:22:34.908" v="53109"/>
          <ac:spMkLst>
            <pc:docMk/>
            <pc:sldMk cId="643973876" sldId="284"/>
            <ac:spMk id="12" creationId="{497A44BC-851B-3EF5-182E-D3B022BD4CF2}"/>
          </ac:spMkLst>
        </pc:spChg>
        <pc:spChg chg="add del mod">
          <ac:chgData name="Oğuz Öztekin" userId="33c0df0f-d5fe-4bda-8f43-141ad7af67e3" providerId="ADAL" clId="{48B824AD-1B2A-47A8-8D92-6FE6E622A650}" dt="2024-12-16T11:22:34.908" v="53110"/>
          <ac:spMkLst>
            <pc:docMk/>
            <pc:sldMk cId="643973876" sldId="284"/>
            <ac:spMk id="13" creationId="{6D13828E-09D7-900D-D247-F429098B0D13}"/>
          </ac:spMkLst>
        </pc:spChg>
        <pc:spChg chg="add del mod modVis">
          <ac:chgData name="Oğuz Öztekin" userId="33c0df0f-d5fe-4bda-8f43-141ad7af67e3" providerId="ADAL" clId="{48B824AD-1B2A-47A8-8D92-6FE6E622A650}" dt="2024-12-16T17:43:44.586" v="112753"/>
          <ac:spMkLst>
            <pc:docMk/>
            <pc:sldMk cId="643973876" sldId="284"/>
            <ac:spMk id="13" creationId="{9BA38C5B-4D10-F18C-8203-B3BF47265FF2}"/>
          </ac:spMkLst>
        </pc:spChg>
        <pc:spChg chg="add del mod">
          <ac:chgData name="Oğuz Öztekin" userId="33c0df0f-d5fe-4bda-8f43-141ad7af67e3" providerId="ADAL" clId="{48B824AD-1B2A-47A8-8D92-6FE6E622A650}" dt="2024-12-16T11:22:34.909" v="53111"/>
          <ac:spMkLst>
            <pc:docMk/>
            <pc:sldMk cId="643973876" sldId="284"/>
            <ac:spMk id="14" creationId="{651CC715-9D69-B818-75B9-844CFF9FB836}"/>
          </ac:spMkLst>
        </pc:spChg>
        <pc:spChg chg="add del mod modVis">
          <ac:chgData name="Oğuz Öztekin" userId="33c0df0f-d5fe-4bda-8f43-141ad7af67e3" providerId="ADAL" clId="{48B824AD-1B2A-47A8-8D92-6FE6E622A650}" dt="2024-12-16T17:43:45.443" v="112780"/>
          <ac:spMkLst>
            <pc:docMk/>
            <pc:sldMk cId="643973876" sldId="284"/>
            <ac:spMk id="14" creationId="{ACB38518-726D-6102-E868-98607EB3221A}"/>
          </ac:spMkLst>
        </pc:spChg>
        <pc:spChg chg="add del mod modVis">
          <ac:chgData name="Oğuz Öztekin" userId="33c0df0f-d5fe-4bda-8f43-141ad7af67e3" providerId="ADAL" clId="{48B824AD-1B2A-47A8-8D92-6FE6E622A650}" dt="2024-12-16T17:43:49.114" v="112819"/>
          <ac:spMkLst>
            <pc:docMk/>
            <pc:sldMk cId="643973876" sldId="284"/>
            <ac:spMk id="15" creationId="{624799AC-655C-7E89-D09A-74055D86B6FE}"/>
          </ac:spMkLst>
        </pc:spChg>
        <pc:spChg chg="add del mod">
          <ac:chgData name="Oğuz Öztekin" userId="33c0df0f-d5fe-4bda-8f43-141ad7af67e3" providerId="ADAL" clId="{48B824AD-1B2A-47A8-8D92-6FE6E622A650}" dt="2024-12-16T11:22:34.910" v="53112"/>
          <ac:spMkLst>
            <pc:docMk/>
            <pc:sldMk cId="643973876" sldId="284"/>
            <ac:spMk id="15" creationId="{D1ADC389-4C1E-7F5A-7800-8210F766D553}"/>
          </ac:spMkLst>
        </pc:spChg>
        <pc:spChg chg="add del mod modVis">
          <ac:chgData name="Oğuz Öztekin" userId="33c0df0f-d5fe-4bda-8f43-141ad7af67e3" providerId="ADAL" clId="{48B824AD-1B2A-47A8-8D92-6FE6E622A650}" dt="2024-12-16T17:43:50.768" v="112844"/>
          <ac:spMkLst>
            <pc:docMk/>
            <pc:sldMk cId="643973876" sldId="284"/>
            <ac:spMk id="16" creationId="{A99F3C26-F71E-ABC5-44E3-951111AB280F}"/>
          </ac:spMkLst>
        </pc:spChg>
        <pc:spChg chg="add del mod modVis">
          <ac:chgData name="Oğuz Öztekin" userId="33c0df0f-d5fe-4bda-8f43-141ad7af67e3" providerId="ADAL" clId="{48B824AD-1B2A-47A8-8D92-6FE6E622A650}" dt="2024-12-16T11:22:34.937" v="53138"/>
          <ac:spMkLst>
            <pc:docMk/>
            <pc:sldMk cId="643973876" sldId="284"/>
            <ac:spMk id="17" creationId="{8BF8183B-2B3D-1687-BC7D-3FE9DB1DE6FE}"/>
          </ac:spMkLst>
        </pc:spChg>
        <pc:spChg chg="add del mod modVis">
          <ac:chgData name="Oğuz Öztekin" userId="33c0df0f-d5fe-4bda-8f43-141ad7af67e3" providerId="ADAL" clId="{48B824AD-1B2A-47A8-8D92-6FE6E622A650}" dt="2024-12-16T17:43:57.349" v="112894"/>
          <ac:spMkLst>
            <pc:docMk/>
            <pc:sldMk cId="643973876" sldId="284"/>
            <ac:spMk id="17" creationId="{F9376AAB-2270-A9C1-C647-C662A61A6700}"/>
          </ac:spMkLst>
        </pc:spChg>
        <pc:spChg chg="add del mod modVis">
          <ac:chgData name="Oğuz Öztekin" userId="33c0df0f-d5fe-4bda-8f43-141ad7af67e3" providerId="ADAL" clId="{48B824AD-1B2A-47A8-8D92-6FE6E622A650}" dt="2024-12-16T17:43:58.175" v="112919"/>
          <ac:spMkLst>
            <pc:docMk/>
            <pc:sldMk cId="643973876" sldId="284"/>
            <ac:spMk id="19" creationId="{366F3C9C-57AB-753B-9643-DF8D2E42598D}"/>
          </ac:spMkLst>
        </pc:spChg>
        <pc:spChg chg="del mod ord">
          <ac:chgData name="Oğuz Öztekin" userId="33c0df0f-d5fe-4bda-8f43-141ad7af67e3" providerId="ADAL" clId="{48B824AD-1B2A-47A8-8D92-6FE6E622A650}" dt="2024-12-16T16:58:43.819" v="112308"/>
          <ac:spMkLst>
            <pc:docMk/>
            <pc:sldMk cId="643973876" sldId="284"/>
            <ac:spMk id="72" creationId="{4DB1DCBF-B2A5-6BB0-E160-A9BB16BF9B24}"/>
          </ac:spMkLst>
        </pc:spChg>
        <pc:spChg chg="del mod">
          <ac:chgData name="Oğuz Öztekin" userId="33c0df0f-d5fe-4bda-8f43-141ad7af67e3" providerId="ADAL" clId="{48B824AD-1B2A-47A8-8D92-6FE6E622A650}" dt="2024-12-16T16:58:43.826" v="112312"/>
          <ac:spMkLst>
            <pc:docMk/>
            <pc:sldMk cId="643973876" sldId="284"/>
            <ac:spMk id="284" creationId="{0825CC96-D08C-AAA9-945D-632143B7C0AA}"/>
          </ac:spMkLst>
        </pc:spChg>
        <pc:spChg chg="del mod">
          <ac:chgData name="Oğuz Öztekin" userId="33c0df0f-d5fe-4bda-8f43-141ad7af67e3" providerId="ADAL" clId="{48B824AD-1B2A-47A8-8D92-6FE6E622A650}" dt="2024-12-16T16:58:43.826" v="112311"/>
          <ac:spMkLst>
            <pc:docMk/>
            <pc:sldMk cId="643973876" sldId="284"/>
            <ac:spMk id="285" creationId="{8C0BB641-79AD-4BF5-6B43-BE1EACAB9EEC}"/>
          </ac:spMkLst>
        </pc:spChg>
        <pc:graphicFrameChg chg="mod">
          <ac:chgData name="Oğuz Öztekin" userId="33c0df0f-d5fe-4bda-8f43-141ad7af67e3" providerId="ADAL" clId="{48B824AD-1B2A-47A8-8D92-6FE6E622A650}" dt="2024-12-16T17:43:58.177" v="112921"/>
          <ac:graphicFrameMkLst>
            <pc:docMk/>
            <pc:sldMk cId="643973876" sldId="284"/>
            <ac:graphicFrameMk id="3" creationId="{AB908067-76D3-DB92-2C9F-4A82BAF44DB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22:34.913" v="53115"/>
          <ac:graphicFrameMkLst>
            <pc:docMk/>
            <pc:sldMk cId="643973876" sldId="284"/>
            <ac:graphicFrameMk id="16" creationId="{98B97B3D-C1C6-7EB9-6C19-B0BDC803433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6:58:43.839" v="112314"/>
          <ac:graphicFrameMkLst>
            <pc:docMk/>
            <pc:sldMk cId="643973876" sldId="284"/>
            <ac:graphicFrameMk id="18" creationId="{D71A5DBC-89FC-9A3B-4441-32C041515025}"/>
          </ac:graphicFrameMkLst>
        </pc:graphicFrameChg>
        <pc:graphicFrameChg chg="del">
          <ac:chgData name="Oğuz Öztekin" userId="33c0df0f-d5fe-4bda-8f43-141ad7af67e3" providerId="ADAL" clId="{48B824AD-1B2A-47A8-8D92-6FE6E622A650}" dt="2024-12-16T11:22:33.982" v="53013"/>
          <ac:graphicFrameMkLst>
            <pc:docMk/>
            <pc:sldMk cId="643973876" sldId="284"/>
            <ac:graphicFrameMk id="169" creationId="{3184B371-0171-6E97-90AD-3404F91515F2}"/>
          </ac:graphicFrameMkLst>
        </pc:graphicFrameChg>
        <pc:cxnChg chg="del mod ord">
          <ac:chgData name="Oğuz Öztekin" userId="33c0df0f-d5fe-4bda-8f43-141ad7af67e3" providerId="ADAL" clId="{48B824AD-1B2A-47A8-8D92-6FE6E622A650}" dt="2024-12-16T16:58:43.817" v="112306"/>
          <ac:cxnSpMkLst>
            <pc:docMk/>
            <pc:sldMk cId="643973876" sldId="284"/>
            <ac:cxnSpMk id="73" creationId="{E29EBC6F-AB8C-972B-A9C7-FB4A2CB750B1}"/>
          </ac:cxnSpMkLst>
        </pc:cxnChg>
        <pc:cxnChg chg="del mod ord">
          <ac:chgData name="Oğuz Öztekin" userId="33c0df0f-d5fe-4bda-8f43-141ad7af67e3" providerId="ADAL" clId="{48B824AD-1B2A-47A8-8D92-6FE6E622A650}" dt="2024-12-16T16:58:43.817" v="112304"/>
          <ac:cxnSpMkLst>
            <pc:docMk/>
            <pc:sldMk cId="643973876" sldId="284"/>
            <ac:cxnSpMk id="74" creationId="{EE41F7A6-03B8-F9D7-B8BC-248F54FA3690}"/>
          </ac:cxnSpMkLst>
        </pc:cxnChg>
        <pc:cxnChg chg="del mod ord">
          <ac:chgData name="Oğuz Öztekin" userId="33c0df0f-d5fe-4bda-8f43-141ad7af67e3" providerId="ADAL" clId="{48B824AD-1B2A-47A8-8D92-6FE6E622A650}" dt="2024-12-16T16:58:43.798" v="112302"/>
          <ac:cxnSpMkLst>
            <pc:docMk/>
            <pc:sldMk cId="643973876" sldId="284"/>
            <ac:cxnSpMk id="75" creationId="{6FCEAE6E-3675-18CB-889F-52D16A37EBB2}"/>
          </ac:cxnSpMkLst>
        </pc:cxnChg>
        <pc:cxnChg chg="del mod ord">
          <ac:chgData name="Oğuz Öztekin" userId="33c0df0f-d5fe-4bda-8f43-141ad7af67e3" providerId="ADAL" clId="{48B824AD-1B2A-47A8-8D92-6FE6E622A650}" dt="2024-12-16T16:58:43.822" v="112310"/>
          <ac:cxnSpMkLst>
            <pc:docMk/>
            <pc:sldMk cId="643973876" sldId="284"/>
            <ac:cxnSpMk id="286" creationId="{05FDE294-E797-0E10-9777-07BA8CB463D7}"/>
          </ac:cxnSpMkLst>
        </pc:cxnChg>
      </pc:sldChg>
      <pc:sldChg chg="del">
        <pc:chgData name="Oğuz Öztekin" userId="33c0df0f-d5fe-4bda-8f43-141ad7af67e3" providerId="ADAL" clId="{48B824AD-1B2A-47A8-8D92-6FE6E622A650}" dt="2024-12-16T09:07:23.507" v="14" actId="2696"/>
        <pc:sldMkLst>
          <pc:docMk/>
          <pc:sldMk cId="1730444853" sldId="285"/>
        </pc:sldMkLst>
      </pc:sldChg>
      <pc:sldChg chg="addSp delSp modSp add mod">
        <pc:chgData name="Oğuz Öztekin" userId="33c0df0f-d5fe-4bda-8f43-141ad7af67e3" providerId="ADAL" clId="{48B824AD-1B2A-47A8-8D92-6FE6E622A650}" dt="2024-12-16T16:11:07.325" v="85215"/>
        <pc:sldMkLst>
          <pc:docMk/>
          <pc:sldMk cId="3145246505" sldId="285"/>
        </pc:sldMkLst>
        <pc:spChg chg="mod ord">
          <ac:chgData name="Oğuz Öztekin" userId="33c0df0f-d5fe-4bda-8f43-141ad7af67e3" providerId="ADAL" clId="{48B824AD-1B2A-47A8-8D92-6FE6E622A650}" dt="2024-12-16T16:11:07.308" v="85191" actId="948"/>
          <ac:spMkLst>
            <pc:docMk/>
            <pc:sldMk cId="3145246505" sldId="285"/>
            <ac:spMk id="2" creationId="{428B13FE-57F4-207D-18DE-E2C711AE4FCA}"/>
          </ac:spMkLst>
        </pc:spChg>
        <pc:spChg chg="add del mod modVis">
          <ac:chgData name="Oğuz Öztekin" userId="33c0df0f-d5fe-4bda-8f43-141ad7af67e3" providerId="ADAL" clId="{48B824AD-1B2A-47A8-8D92-6FE6E622A650}" dt="2024-12-16T15:51:57.696" v="53539"/>
          <ac:spMkLst>
            <pc:docMk/>
            <pc:sldMk cId="3145246505" sldId="285"/>
            <ac:spMk id="4" creationId="{2B7A3566-9493-8BF1-2A0D-E8FE74EFF772}"/>
          </ac:spMkLst>
        </pc:spChg>
        <pc:spChg chg="add del mod modVis">
          <ac:chgData name="Oğuz Öztekin" userId="33c0df0f-d5fe-4bda-8f43-141ad7af67e3" providerId="ADAL" clId="{48B824AD-1B2A-47A8-8D92-6FE6E622A650}" dt="2024-12-16T15:51:58.807" v="53565"/>
          <ac:spMkLst>
            <pc:docMk/>
            <pc:sldMk cId="3145246505" sldId="285"/>
            <ac:spMk id="5" creationId="{766021A7-A8F0-3032-93D3-4ED68BEB8174}"/>
          </ac:spMkLst>
        </pc:spChg>
        <pc:spChg chg="add del mod modVis">
          <ac:chgData name="Oğuz Öztekin" userId="33c0df0f-d5fe-4bda-8f43-141ad7af67e3" providerId="ADAL" clId="{48B824AD-1B2A-47A8-8D92-6FE6E622A650}" dt="2024-12-16T15:52:00.026" v="53592"/>
          <ac:spMkLst>
            <pc:docMk/>
            <pc:sldMk cId="3145246505" sldId="285"/>
            <ac:spMk id="6" creationId="{CA2F69B4-262C-59DB-9600-5715E95EC0D1}"/>
          </ac:spMkLst>
        </pc:spChg>
        <pc:spChg chg="add del mod modVis">
          <ac:chgData name="Oğuz Öztekin" userId="33c0df0f-d5fe-4bda-8f43-141ad7af67e3" providerId="ADAL" clId="{48B824AD-1B2A-47A8-8D92-6FE6E622A650}" dt="2024-12-16T15:52:01.180" v="53619"/>
          <ac:spMkLst>
            <pc:docMk/>
            <pc:sldMk cId="3145246505" sldId="285"/>
            <ac:spMk id="7" creationId="{2365B52C-D535-C200-2F09-FB65C703C2B7}"/>
          </ac:spMkLst>
        </pc:spChg>
        <pc:spChg chg="add del mod modVis">
          <ac:chgData name="Oğuz Öztekin" userId="33c0df0f-d5fe-4bda-8f43-141ad7af67e3" providerId="ADAL" clId="{48B824AD-1B2A-47A8-8D92-6FE6E622A650}" dt="2024-12-16T15:52:02.293" v="53647"/>
          <ac:spMkLst>
            <pc:docMk/>
            <pc:sldMk cId="3145246505" sldId="285"/>
            <ac:spMk id="8" creationId="{C6A6623E-70FB-61DB-855F-7EE1CE83A615}"/>
          </ac:spMkLst>
        </pc:spChg>
        <pc:spChg chg="add del mod modVis">
          <ac:chgData name="Oğuz Öztekin" userId="33c0df0f-d5fe-4bda-8f43-141ad7af67e3" providerId="ADAL" clId="{48B824AD-1B2A-47A8-8D92-6FE6E622A650}" dt="2024-12-16T15:52:12.153" v="53716"/>
          <ac:spMkLst>
            <pc:docMk/>
            <pc:sldMk cId="3145246505" sldId="285"/>
            <ac:spMk id="9" creationId="{87A45B2E-15DC-F007-733A-B7DC856BC9CB}"/>
          </ac:spMkLst>
        </pc:spChg>
        <pc:spChg chg="add del mod modVis">
          <ac:chgData name="Oğuz Öztekin" userId="33c0df0f-d5fe-4bda-8f43-141ad7af67e3" providerId="ADAL" clId="{48B824AD-1B2A-47A8-8D92-6FE6E622A650}" dt="2024-12-16T15:52:12.849" v="53741"/>
          <ac:spMkLst>
            <pc:docMk/>
            <pc:sldMk cId="3145246505" sldId="285"/>
            <ac:spMk id="10" creationId="{32683C0B-BF92-1F13-2ED2-E4341496B468}"/>
          </ac:spMkLst>
        </pc:spChg>
        <pc:spChg chg="add del mod modVis">
          <ac:chgData name="Oğuz Öztekin" userId="33c0df0f-d5fe-4bda-8f43-141ad7af67e3" providerId="ADAL" clId="{48B824AD-1B2A-47A8-8D92-6FE6E622A650}" dt="2024-12-16T15:52:17.471" v="53770"/>
          <ac:spMkLst>
            <pc:docMk/>
            <pc:sldMk cId="3145246505" sldId="285"/>
            <ac:spMk id="11" creationId="{B7BE44A0-1C00-5708-4081-13260322E901}"/>
          </ac:spMkLst>
        </pc:spChg>
        <pc:spChg chg="add del mod modVis">
          <ac:chgData name="Oğuz Öztekin" userId="33c0df0f-d5fe-4bda-8f43-141ad7af67e3" providerId="ADAL" clId="{48B824AD-1B2A-47A8-8D92-6FE6E622A650}" dt="2024-12-16T15:52:23.446" v="53795"/>
          <ac:spMkLst>
            <pc:docMk/>
            <pc:sldMk cId="3145246505" sldId="285"/>
            <ac:spMk id="12" creationId="{BEA892B7-3BDD-E36F-D05F-3519C2A28F70}"/>
          </ac:spMkLst>
        </pc:spChg>
        <pc:spChg chg="add del mod modVis">
          <ac:chgData name="Oğuz Öztekin" userId="33c0df0f-d5fe-4bda-8f43-141ad7af67e3" providerId="ADAL" clId="{48B824AD-1B2A-47A8-8D92-6FE6E622A650}" dt="2024-12-16T15:52:24.801" v="53822"/>
          <ac:spMkLst>
            <pc:docMk/>
            <pc:sldMk cId="3145246505" sldId="285"/>
            <ac:spMk id="13" creationId="{5AD6BAFA-1BFE-4E68-76AE-A40458B82985}"/>
          </ac:spMkLst>
        </pc:spChg>
        <pc:spChg chg="add del mod modVis">
          <ac:chgData name="Oğuz Öztekin" userId="33c0df0f-d5fe-4bda-8f43-141ad7af67e3" providerId="ADAL" clId="{48B824AD-1B2A-47A8-8D92-6FE6E622A650}" dt="2024-12-16T15:52:26.701" v="53853"/>
          <ac:spMkLst>
            <pc:docMk/>
            <pc:sldMk cId="3145246505" sldId="285"/>
            <ac:spMk id="14" creationId="{2471E60C-4654-DBC3-55E5-2E7E90EC56DC}"/>
          </ac:spMkLst>
        </pc:spChg>
        <pc:spChg chg="add del mod ord">
          <ac:chgData name="Oğuz Öztekin" userId="33c0df0f-d5fe-4bda-8f43-141ad7af67e3" providerId="ADAL" clId="{48B824AD-1B2A-47A8-8D92-6FE6E622A650}" dt="2024-12-16T15:55:50.954" v="70702"/>
          <ac:spMkLst>
            <pc:docMk/>
            <pc:sldMk cId="3145246505" sldId="285"/>
            <ac:spMk id="15" creationId="{506E4FF4-21AF-037D-293A-590A3E9DF8FC}"/>
          </ac:spMkLst>
        </pc:spChg>
        <pc:spChg chg="add del mod modVis">
          <ac:chgData name="Oğuz Öztekin" userId="33c0df0f-d5fe-4bda-8f43-141ad7af67e3" providerId="ADAL" clId="{48B824AD-1B2A-47A8-8D92-6FE6E622A650}" dt="2024-12-16T15:53:17.519" v="54339"/>
          <ac:spMkLst>
            <pc:docMk/>
            <pc:sldMk cId="3145246505" sldId="285"/>
            <ac:spMk id="16" creationId="{FB196BC3-BC57-C1D6-7E63-7BA1860510A8}"/>
          </ac:spMkLst>
        </pc:spChg>
        <pc:spChg chg="add del mod ord">
          <ac:chgData name="Oğuz Öztekin" userId="33c0df0f-d5fe-4bda-8f43-141ad7af67e3" providerId="ADAL" clId="{48B824AD-1B2A-47A8-8D92-6FE6E622A650}" dt="2024-12-16T15:55:50.953" v="70698"/>
          <ac:spMkLst>
            <pc:docMk/>
            <pc:sldMk cId="3145246505" sldId="285"/>
            <ac:spMk id="17" creationId="{8A250502-1C86-B397-2283-9B949C635E50}"/>
          </ac:spMkLst>
        </pc:spChg>
        <pc:spChg chg="add del mod">
          <ac:chgData name="Oğuz Öztekin" userId="33c0df0f-d5fe-4bda-8f43-141ad7af67e3" providerId="ADAL" clId="{48B824AD-1B2A-47A8-8D92-6FE6E622A650}" dt="2024-12-16T15:55:50.955" v="70703"/>
          <ac:spMkLst>
            <pc:docMk/>
            <pc:sldMk cId="3145246505" sldId="285"/>
            <ac:spMk id="18" creationId="{D5405242-55EA-AD14-C66F-67C8B37CB39D}"/>
          </ac:spMkLst>
        </pc:spChg>
        <pc:spChg chg="add del mod">
          <ac:chgData name="Oğuz Öztekin" userId="33c0df0f-d5fe-4bda-8f43-141ad7af67e3" providerId="ADAL" clId="{48B824AD-1B2A-47A8-8D92-6FE6E622A650}" dt="2024-12-16T15:55:50.956" v="70708"/>
          <ac:spMkLst>
            <pc:docMk/>
            <pc:sldMk cId="3145246505" sldId="285"/>
            <ac:spMk id="19" creationId="{22F6F6F2-36CF-6C21-B1B7-F189D04F4011}"/>
          </ac:spMkLst>
        </pc:spChg>
        <pc:spChg chg="add del mod">
          <ac:chgData name="Oğuz Öztekin" userId="33c0df0f-d5fe-4bda-8f43-141ad7af67e3" providerId="ADAL" clId="{48B824AD-1B2A-47A8-8D92-6FE6E622A650}" dt="2024-12-16T15:55:50.954" v="70700"/>
          <ac:spMkLst>
            <pc:docMk/>
            <pc:sldMk cId="3145246505" sldId="285"/>
            <ac:spMk id="20" creationId="{E639619D-58CF-7F8C-C40E-0F1239D0474A}"/>
          </ac:spMkLst>
        </pc:spChg>
        <pc:spChg chg="add del mod">
          <ac:chgData name="Oğuz Öztekin" userId="33c0df0f-d5fe-4bda-8f43-141ad7af67e3" providerId="ADAL" clId="{48B824AD-1B2A-47A8-8D92-6FE6E622A650}" dt="2024-12-16T15:55:50.954" v="70699"/>
          <ac:spMkLst>
            <pc:docMk/>
            <pc:sldMk cId="3145246505" sldId="285"/>
            <ac:spMk id="21" creationId="{D3BBD5A4-5375-9354-4B3B-9E5A2CB7F407}"/>
          </ac:spMkLst>
        </pc:spChg>
        <pc:spChg chg="add del mod ord">
          <ac:chgData name="Oğuz Öztekin" userId="33c0df0f-d5fe-4bda-8f43-141ad7af67e3" providerId="ADAL" clId="{48B824AD-1B2A-47A8-8D92-6FE6E622A650}" dt="2024-12-16T15:55:50.955" v="70705"/>
          <ac:spMkLst>
            <pc:docMk/>
            <pc:sldMk cId="3145246505" sldId="285"/>
            <ac:spMk id="22" creationId="{2F3FE5FA-66D9-4463-C2AB-1458FB396A6C}"/>
          </ac:spMkLst>
        </pc:spChg>
        <pc:spChg chg="add del mod ord">
          <ac:chgData name="Oğuz Öztekin" userId="33c0df0f-d5fe-4bda-8f43-141ad7af67e3" providerId="ADAL" clId="{48B824AD-1B2A-47A8-8D92-6FE6E622A650}" dt="2024-12-16T15:55:50.956" v="70707"/>
          <ac:spMkLst>
            <pc:docMk/>
            <pc:sldMk cId="3145246505" sldId="285"/>
            <ac:spMk id="23" creationId="{A44EA08F-47B9-CB93-0662-F38F7033DC92}"/>
          </ac:spMkLst>
        </pc:spChg>
        <pc:spChg chg="add del mod ord">
          <ac:chgData name="Oğuz Öztekin" userId="33c0df0f-d5fe-4bda-8f43-141ad7af67e3" providerId="ADAL" clId="{48B824AD-1B2A-47A8-8D92-6FE6E622A650}" dt="2024-12-16T15:55:50.935" v="70632"/>
          <ac:spMkLst>
            <pc:docMk/>
            <pc:sldMk cId="3145246505" sldId="285"/>
            <ac:spMk id="24" creationId="{B8C5701D-24AB-2688-22D7-CDCDAF97EAD9}"/>
          </ac:spMkLst>
        </pc:spChg>
        <pc:spChg chg="add del mod ord">
          <ac:chgData name="Oğuz Öztekin" userId="33c0df0f-d5fe-4bda-8f43-141ad7af67e3" providerId="ADAL" clId="{48B824AD-1B2A-47A8-8D92-6FE6E622A650}" dt="2024-12-16T15:55:50.935" v="70630"/>
          <ac:spMkLst>
            <pc:docMk/>
            <pc:sldMk cId="3145246505" sldId="285"/>
            <ac:spMk id="25" creationId="{AECBB81D-27AD-9299-E973-F52BAA07E49E}"/>
          </ac:spMkLst>
        </pc:spChg>
        <pc:spChg chg="add del mod ord">
          <ac:chgData name="Oğuz Öztekin" userId="33c0df0f-d5fe-4bda-8f43-141ad7af67e3" providerId="ADAL" clId="{48B824AD-1B2A-47A8-8D92-6FE6E622A650}" dt="2024-12-16T15:55:50.934" v="70628"/>
          <ac:spMkLst>
            <pc:docMk/>
            <pc:sldMk cId="3145246505" sldId="285"/>
            <ac:spMk id="26" creationId="{6CA4A47B-1123-FFBB-2093-7B6BF72AA6CA}"/>
          </ac:spMkLst>
        </pc:spChg>
        <pc:spChg chg="add del mod ord">
          <ac:chgData name="Oğuz Öztekin" userId="33c0df0f-d5fe-4bda-8f43-141ad7af67e3" providerId="ADAL" clId="{48B824AD-1B2A-47A8-8D92-6FE6E622A650}" dt="2024-12-16T15:54:02.971" v="58848"/>
          <ac:spMkLst>
            <pc:docMk/>
            <pc:sldMk cId="3145246505" sldId="285"/>
            <ac:spMk id="27" creationId="{C7429013-B610-37ED-3939-0CF6DA5F7C00}"/>
          </ac:spMkLst>
        </pc:spChg>
        <pc:spChg chg="add del mod">
          <ac:chgData name="Oğuz Öztekin" userId="33c0df0f-d5fe-4bda-8f43-141ad7af67e3" providerId="ADAL" clId="{48B824AD-1B2A-47A8-8D92-6FE6E622A650}" dt="2024-12-16T15:55:50.935" v="70633"/>
          <ac:spMkLst>
            <pc:docMk/>
            <pc:sldMk cId="3145246505" sldId="285"/>
            <ac:spMk id="28" creationId="{CB2D2907-E71B-9D5B-09C1-8FA873BD7A27}"/>
          </ac:spMkLst>
        </pc:spChg>
        <pc:spChg chg="add del mod">
          <ac:chgData name="Oğuz Öztekin" userId="33c0df0f-d5fe-4bda-8f43-141ad7af67e3" providerId="ADAL" clId="{48B824AD-1B2A-47A8-8D92-6FE6E622A650}" dt="2024-12-16T15:55:50.928" v="70603"/>
          <ac:spMkLst>
            <pc:docMk/>
            <pc:sldMk cId="3145246505" sldId="285"/>
            <ac:spMk id="29" creationId="{DDF21A55-B897-FA64-4A97-79EA2A49D796}"/>
          </ac:spMkLst>
        </pc:spChg>
        <pc:spChg chg="add del mod">
          <ac:chgData name="Oğuz Öztekin" userId="33c0df0f-d5fe-4bda-8f43-141ad7af67e3" providerId="ADAL" clId="{48B824AD-1B2A-47A8-8D92-6FE6E622A650}" dt="2024-12-16T15:55:50.933" v="70626"/>
          <ac:spMkLst>
            <pc:docMk/>
            <pc:sldMk cId="3145246505" sldId="285"/>
            <ac:spMk id="30" creationId="{E7B43B64-21DB-4792-E64F-2C792EDC5801}"/>
          </ac:spMkLst>
        </pc:spChg>
        <pc:spChg chg="add del mod">
          <ac:chgData name="Oğuz Öztekin" userId="33c0df0f-d5fe-4bda-8f43-141ad7af67e3" providerId="ADAL" clId="{48B824AD-1B2A-47A8-8D92-6FE6E622A650}" dt="2024-12-16T15:55:50.933" v="70625"/>
          <ac:spMkLst>
            <pc:docMk/>
            <pc:sldMk cId="3145246505" sldId="285"/>
            <ac:spMk id="31" creationId="{73AFC1EA-6BD2-9AD7-529E-E2870CCFBBFB}"/>
          </ac:spMkLst>
        </pc:spChg>
        <pc:spChg chg="add del mod">
          <ac:chgData name="Oğuz Öztekin" userId="33c0df0f-d5fe-4bda-8f43-141ad7af67e3" providerId="ADAL" clId="{48B824AD-1B2A-47A8-8D92-6FE6E622A650}" dt="2024-12-16T15:55:50.932" v="70619"/>
          <ac:spMkLst>
            <pc:docMk/>
            <pc:sldMk cId="3145246505" sldId="285"/>
            <ac:spMk id="32" creationId="{16910624-FA1F-1EC3-19AE-72808F51882F}"/>
          </ac:spMkLst>
        </pc:spChg>
        <pc:spChg chg="add del mod">
          <ac:chgData name="Oğuz Öztekin" userId="33c0df0f-d5fe-4bda-8f43-141ad7af67e3" providerId="ADAL" clId="{48B824AD-1B2A-47A8-8D92-6FE6E622A650}" dt="2024-12-16T15:55:50.927" v="70602"/>
          <ac:spMkLst>
            <pc:docMk/>
            <pc:sldMk cId="3145246505" sldId="285"/>
            <ac:spMk id="33" creationId="{5150F3AF-443D-12C1-C2D1-51597847D29C}"/>
          </ac:spMkLst>
        </pc:spChg>
        <pc:spChg chg="add del mod">
          <ac:chgData name="Oğuz Öztekin" userId="33c0df0f-d5fe-4bda-8f43-141ad7af67e3" providerId="ADAL" clId="{48B824AD-1B2A-47A8-8D92-6FE6E622A650}" dt="2024-12-16T15:55:50.928" v="70604"/>
          <ac:spMkLst>
            <pc:docMk/>
            <pc:sldMk cId="3145246505" sldId="285"/>
            <ac:spMk id="34" creationId="{E71B3F53-6177-71F2-5805-853BE4DEC280}"/>
          </ac:spMkLst>
        </pc:spChg>
        <pc:spChg chg="del">
          <ac:chgData name="Oğuz Öztekin" userId="33c0df0f-d5fe-4bda-8f43-141ad7af67e3" providerId="ADAL" clId="{48B824AD-1B2A-47A8-8D92-6FE6E622A650}" dt="2024-12-16T15:51:44.825" v="53486"/>
          <ac:spMkLst>
            <pc:docMk/>
            <pc:sldMk cId="3145246505" sldId="285"/>
            <ac:spMk id="35" creationId="{7794D890-4040-7189-F2F1-6F39C99A2217}"/>
          </ac:spMkLst>
        </pc:spChg>
        <pc:spChg chg="del">
          <ac:chgData name="Oğuz Öztekin" userId="33c0df0f-d5fe-4bda-8f43-141ad7af67e3" providerId="ADAL" clId="{48B824AD-1B2A-47A8-8D92-6FE6E622A650}" dt="2024-12-16T15:51:44.824" v="53483"/>
          <ac:spMkLst>
            <pc:docMk/>
            <pc:sldMk cId="3145246505" sldId="285"/>
            <ac:spMk id="36" creationId="{F3ED8689-9054-C99A-5789-5F9DA179158D}"/>
          </ac:spMkLst>
        </pc:spChg>
        <pc:spChg chg="del">
          <ac:chgData name="Oğuz Öztekin" userId="33c0df0f-d5fe-4bda-8f43-141ad7af67e3" providerId="ADAL" clId="{48B824AD-1B2A-47A8-8D92-6FE6E622A650}" dt="2024-12-16T15:51:44.823" v="53480"/>
          <ac:spMkLst>
            <pc:docMk/>
            <pc:sldMk cId="3145246505" sldId="285"/>
            <ac:spMk id="37" creationId="{6C75EA08-867B-2558-2D53-132B24B01B99}"/>
          </ac:spMkLst>
        </pc:spChg>
        <pc:spChg chg="add del mod">
          <ac:chgData name="Oğuz Öztekin" userId="33c0df0f-d5fe-4bda-8f43-141ad7af67e3" providerId="ADAL" clId="{48B824AD-1B2A-47A8-8D92-6FE6E622A650}" dt="2024-12-16T15:55:50.929" v="70609"/>
          <ac:spMkLst>
            <pc:docMk/>
            <pc:sldMk cId="3145246505" sldId="285"/>
            <ac:spMk id="38" creationId="{32CCC117-3017-2D3C-D1AD-DAEF0F932983}"/>
          </ac:spMkLst>
        </pc:spChg>
        <pc:spChg chg="add del mod">
          <ac:chgData name="Oğuz Öztekin" userId="33c0df0f-d5fe-4bda-8f43-141ad7af67e3" providerId="ADAL" clId="{48B824AD-1B2A-47A8-8D92-6FE6E622A650}" dt="2024-12-16T15:54:02.970" v="58841"/>
          <ac:spMkLst>
            <pc:docMk/>
            <pc:sldMk cId="3145246505" sldId="285"/>
            <ac:spMk id="39" creationId="{8668CA98-C7E4-E76F-ED78-76752CACC8E2}"/>
          </ac:spMkLst>
        </pc:spChg>
        <pc:spChg chg="add del mod">
          <ac:chgData name="Oğuz Öztekin" userId="33c0df0f-d5fe-4bda-8f43-141ad7af67e3" providerId="ADAL" clId="{48B824AD-1B2A-47A8-8D92-6FE6E622A650}" dt="2024-12-16T15:55:50.929" v="70608"/>
          <ac:spMkLst>
            <pc:docMk/>
            <pc:sldMk cId="3145246505" sldId="285"/>
            <ac:spMk id="40" creationId="{E48D09F0-D9DA-AB5F-5BE1-0CEF2375A0F3}"/>
          </ac:spMkLst>
        </pc:spChg>
        <pc:spChg chg="add del mod">
          <ac:chgData name="Oğuz Öztekin" userId="33c0df0f-d5fe-4bda-8f43-141ad7af67e3" providerId="ADAL" clId="{48B824AD-1B2A-47A8-8D92-6FE6E622A650}" dt="2024-12-16T15:55:50.930" v="70613"/>
          <ac:spMkLst>
            <pc:docMk/>
            <pc:sldMk cId="3145246505" sldId="285"/>
            <ac:spMk id="41" creationId="{609E8034-69DC-3EB3-D41B-8832F84E683B}"/>
          </ac:spMkLst>
        </pc:spChg>
        <pc:spChg chg="add del mod">
          <ac:chgData name="Oğuz Öztekin" userId="33c0df0f-d5fe-4bda-8f43-141ad7af67e3" providerId="ADAL" clId="{48B824AD-1B2A-47A8-8D92-6FE6E622A650}" dt="2024-12-16T15:55:50.931" v="70616"/>
          <ac:spMkLst>
            <pc:docMk/>
            <pc:sldMk cId="3145246505" sldId="285"/>
            <ac:spMk id="42" creationId="{7AA76ED9-E7A5-1CBA-49AA-C7884E492902}"/>
          </ac:spMkLst>
        </pc:spChg>
        <pc:spChg chg="add del mod">
          <ac:chgData name="Oğuz Öztekin" userId="33c0df0f-d5fe-4bda-8f43-141ad7af67e3" providerId="ADAL" clId="{48B824AD-1B2A-47A8-8D92-6FE6E622A650}" dt="2024-12-16T15:55:50.930" v="70610"/>
          <ac:spMkLst>
            <pc:docMk/>
            <pc:sldMk cId="3145246505" sldId="285"/>
            <ac:spMk id="43" creationId="{BE33E5E1-C8C8-D756-7ED2-5B1AC976C83E}"/>
          </ac:spMkLst>
        </pc:spChg>
        <pc:spChg chg="add del mod">
          <ac:chgData name="Oğuz Öztekin" userId="33c0df0f-d5fe-4bda-8f43-141ad7af67e3" providerId="ADAL" clId="{48B824AD-1B2A-47A8-8D92-6FE6E622A650}" dt="2024-12-16T15:55:50.931" v="70618"/>
          <ac:spMkLst>
            <pc:docMk/>
            <pc:sldMk cId="3145246505" sldId="285"/>
            <ac:spMk id="44" creationId="{535F61E7-191C-1FC5-D4D5-7DE00BFDB5F4}"/>
          </ac:spMkLst>
        </pc:spChg>
        <pc:spChg chg="add del mod">
          <ac:chgData name="Oğuz Öztekin" userId="33c0df0f-d5fe-4bda-8f43-141ad7af67e3" providerId="ADAL" clId="{48B824AD-1B2A-47A8-8D92-6FE6E622A650}" dt="2024-12-16T15:55:50.930" v="70612"/>
          <ac:spMkLst>
            <pc:docMk/>
            <pc:sldMk cId="3145246505" sldId="285"/>
            <ac:spMk id="45" creationId="{03CFF328-FCA0-EBD0-3B73-D6CFA00D6A4B}"/>
          </ac:spMkLst>
        </pc:spChg>
        <pc:spChg chg="add del mod">
          <ac:chgData name="Oğuz Öztekin" userId="33c0df0f-d5fe-4bda-8f43-141ad7af67e3" providerId="ADAL" clId="{48B824AD-1B2A-47A8-8D92-6FE6E622A650}" dt="2024-12-16T15:54:02.971" v="58844"/>
          <ac:spMkLst>
            <pc:docMk/>
            <pc:sldMk cId="3145246505" sldId="285"/>
            <ac:spMk id="46" creationId="{7BCE57B5-93F6-C0AD-ADE1-6029153A50DF}"/>
          </ac:spMkLst>
        </pc:spChg>
        <pc:spChg chg="add del mod">
          <ac:chgData name="Oğuz Öztekin" userId="33c0df0f-d5fe-4bda-8f43-141ad7af67e3" providerId="ADAL" clId="{48B824AD-1B2A-47A8-8D92-6FE6E622A650}" dt="2024-12-16T15:55:50.929" v="70607"/>
          <ac:spMkLst>
            <pc:docMk/>
            <pc:sldMk cId="3145246505" sldId="285"/>
            <ac:spMk id="47" creationId="{DD62D1EB-F5C3-6656-C3CC-48F778F30913}"/>
          </ac:spMkLst>
        </pc:spChg>
        <pc:spChg chg="add del mod">
          <ac:chgData name="Oğuz Öztekin" userId="33c0df0f-d5fe-4bda-8f43-141ad7af67e3" providerId="ADAL" clId="{48B824AD-1B2A-47A8-8D92-6FE6E622A650}" dt="2024-12-16T15:55:50.928" v="70606"/>
          <ac:spMkLst>
            <pc:docMk/>
            <pc:sldMk cId="3145246505" sldId="285"/>
            <ac:spMk id="48" creationId="{83BB97BD-3A2C-1741-20AF-9EEDBE342774}"/>
          </ac:spMkLst>
        </pc:spChg>
        <pc:spChg chg="add del mod">
          <ac:chgData name="Oğuz Öztekin" userId="33c0df0f-d5fe-4bda-8f43-141ad7af67e3" providerId="ADAL" clId="{48B824AD-1B2A-47A8-8D92-6FE6E622A650}" dt="2024-12-16T15:55:50.930" v="70614"/>
          <ac:spMkLst>
            <pc:docMk/>
            <pc:sldMk cId="3145246505" sldId="285"/>
            <ac:spMk id="49" creationId="{73076677-80AC-98D1-8FA3-79ECB29C32DA}"/>
          </ac:spMkLst>
        </pc:spChg>
        <pc:spChg chg="add del mod">
          <ac:chgData name="Oğuz Öztekin" userId="33c0df0f-d5fe-4bda-8f43-141ad7af67e3" providerId="ADAL" clId="{48B824AD-1B2A-47A8-8D92-6FE6E622A650}" dt="2024-12-16T15:55:50.928" v="70605"/>
          <ac:spMkLst>
            <pc:docMk/>
            <pc:sldMk cId="3145246505" sldId="285"/>
            <ac:spMk id="50" creationId="{24B75161-48C2-317E-FEB6-CD8EE56FE4D0}"/>
          </ac:spMkLst>
        </pc:spChg>
        <pc:spChg chg="add del mod">
          <ac:chgData name="Oğuz Öztekin" userId="33c0df0f-d5fe-4bda-8f43-141ad7af67e3" providerId="ADAL" clId="{48B824AD-1B2A-47A8-8D92-6FE6E622A650}" dt="2024-12-16T15:55:50.930" v="70611"/>
          <ac:spMkLst>
            <pc:docMk/>
            <pc:sldMk cId="3145246505" sldId="285"/>
            <ac:spMk id="51" creationId="{F111A905-65CD-6DD1-710E-66145A48476E}"/>
          </ac:spMkLst>
        </pc:spChg>
        <pc:spChg chg="add del mod">
          <ac:chgData name="Oğuz Öztekin" userId="33c0df0f-d5fe-4bda-8f43-141ad7af67e3" providerId="ADAL" clId="{48B824AD-1B2A-47A8-8D92-6FE6E622A650}" dt="2024-12-16T15:55:50.938" v="70642"/>
          <ac:spMkLst>
            <pc:docMk/>
            <pc:sldMk cId="3145246505" sldId="285"/>
            <ac:spMk id="52" creationId="{ED91D950-E9D3-CD16-6EB3-2052347607CB}"/>
          </ac:spMkLst>
        </pc:spChg>
        <pc:spChg chg="add del mod">
          <ac:chgData name="Oğuz Öztekin" userId="33c0df0f-d5fe-4bda-8f43-141ad7af67e3" providerId="ADAL" clId="{48B824AD-1B2A-47A8-8D92-6FE6E622A650}" dt="2024-12-16T15:54:02.971" v="58845"/>
          <ac:spMkLst>
            <pc:docMk/>
            <pc:sldMk cId="3145246505" sldId="285"/>
            <ac:spMk id="53" creationId="{8BC8664A-CCAF-8376-6F79-2553D90505C5}"/>
          </ac:spMkLst>
        </pc:spChg>
        <pc:spChg chg="add del mod">
          <ac:chgData name="Oğuz Öztekin" userId="33c0df0f-d5fe-4bda-8f43-141ad7af67e3" providerId="ADAL" clId="{48B824AD-1B2A-47A8-8D92-6FE6E622A650}" dt="2024-12-16T15:55:50.938" v="70641"/>
          <ac:spMkLst>
            <pc:docMk/>
            <pc:sldMk cId="3145246505" sldId="285"/>
            <ac:spMk id="54" creationId="{81102E32-DC97-F593-6E35-EADAD308BE97}"/>
          </ac:spMkLst>
        </pc:spChg>
        <pc:spChg chg="add del mod">
          <ac:chgData name="Oğuz Öztekin" userId="33c0df0f-d5fe-4bda-8f43-141ad7af67e3" providerId="ADAL" clId="{48B824AD-1B2A-47A8-8D92-6FE6E622A650}" dt="2024-12-16T15:55:50.937" v="70640"/>
          <ac:spMkLst>
            <pc:docMk/>
            <pc:sldMk cId="3145246505" sldId="285"/>
            <ac:spMk id="55" creationId="{655957E7-73E1-2851-9FBB-6B5E5B167D73}"/>
          </ac:spMkLst>
        </pc:spChg>
        <pc:spChg chg="add del mod">
          <ac:chgData name="Oğuz Öztekin" userId="33c0df0f-d5fe-4bda-8f43-141ad7af67e3" providerId="ADAL" clId="{48B824AD-1B2A-47A8-8D92-6FE6E622A650}" dt="2024-12-16T15:55:50.937" v="70638"/>
          <ac:spMkLst>
            <pc:docMk/>
            <pc:sldMk cId="3145246505" sldId="285"/>
            <ac:spMk id="56" creationId="{AA2C784D-B9FC-04B2-EBCF-47A2EDF056CB}"/>
          </ac:spMkLst>
        </pc:spChg>
        <pc:spChg chg="add del mod">
          <ac:chgData name="Oğuz Öztekin" userId="33c0df0f-d5fe-4bda-8f43-141ad7af67e3" providerId="ADAL" clId="{48B824AD-1B2A-47A8-8D92-6FE6E622A650}" dt="2024-12-16T15:55:50.936" v="70635"/>
          <ac:spMkLst>
            <pc:docMk/>
            <pc:sldMk cId="3145246505" sldId="285"/>
            <ac:spMk id="57" creationId="{E6F95CDE-8B84-C403-8699-F460BBB8952F}"/>
          </ac:spMkLst>
        </pc:spChg>
        <pc:spChg chg="add del mod">
          <ac:chgData name="Oğuz Öztekin" userId="33c0df0f-d5fe-4bda-8f43-141ad7af67e3" providerId="ADAL" clId="{48B824AD-1B2A-47A8-8D92-6FE6E622A650}" dt="2024-12-16T15:55:50.939" v="70649"/>
          <ac:spMkLst>
            <pc:docMk/>
            <pc:sldMk cId="3145246505" sldId="285"/>
            <ac:spMk id="58" creationId="{B08F9A06-65BC-1E78-DABD-F7F393EEE3C4}"/>
          </ac:spMkLst>
        </pc:spChg>
        <pc:spChg chg="add del mod">
          <ac:chgData name="Oğuz Öztekin" userId="33c0df0f-d5fe-4bda-8f43-141ad7af67e3" providerId="ADAL" clId="{48B824AD-1B2A-47A8-8D92-6FE6E622A650}" dt="2024-12-16T15:55:50.937" v="70639"/>
          <ac:spMkLst>
            <pc:docMk/>
            <pc:sldMk cId="3145246505" sldId="285"/>
            <ac:spMk id="59" creationId="{39273E86-C1FD-0C2C-076C-0C1489D630CC}"/>
          </ac:spMkLst>
        </pc:spChg>
        <pc:spChg chg="add del mod">
          <ac:chgData name="Oğuz Öztekin" userId="33c0df0f-d5fe-4bda-8f43-141ad7af67e3" providerId="ADAL" clId="{48B824AD-1B2A-47A8-8D92-6FE6E622A650}" dt="2024-12-16T15:54:02.971" v="58846"/>
          <ac:spMkLst>
            <pc:docMk/>
            <pc:sldMk cId="3145246505" sldId="285"/>
            <ac:spMk id="60" creationId="{35A8484B-67EF-0A89-0E6F-FECECFA1A5A1}"/>
          </ac:spMkLst>
        </pc:spChg>
        <pc:spChg chg="add del mod">
          <ac:chgData name="Oğuz Öztekin" userId="33c0df0f-d5fe-4bda-8f43-141ad7af67e3" providerId="ADAL" clId="{48B824AD-1B2A-47A8-8D92-6FE6E622A650}" dt="2024-12-16T15:55:50.936" v="70637"/>
          <ac:spMkLst>
            <pc:docMk/>
            <pc:sldMk cId="3145246505" sldId="285"/>
            <ac:spMk id="61" creationId="{E9D21F50-7687-BE58-FDE2-E8AA74505E8B}"/>
          </ac:spMkLst>
        </pc:spChg>
        <pc:spChg chg="add del mod">
          <ac:chgData name="Oğuz Öztekin" userId="33c0df0f-d5fe-4bda-8f43-141ad7af67e3" providerId="ADAL" clId="{48B824AD-1B2A-47A8-8D92-6FE6E622A650}" dt="2024-12-16T15:55:50.936" v="70636"/>
          <ac:spMkLst>
            <pc:docMk/>
            <pc:sldMk cId="3145246505" sldId="285"/>
            <ac:spMk id="62" creationId="{A7808519-B3A1-D8E7-7727-F76F2BF4960B}"/>
          </ac:spMkLst>
        </pc:spChg>
        <pc:spChg chg="add del mod">
          <ac:chgData name="Oğuz Öztekin" userId="33c0df0f-d5fe-4bda-8f43-141ad7af67e3" providerId="ADAL" clId="{48B824AD-1B2A-47A8-8D92-6FE6E622A650}" dt="2024-12-16T15:55:50.939" v="70647"/>
          <ac:spMkLst>
            <pc:docMk/>
            <pc:sldMk cId="3145246505" sldId="285"/>
            <ac:spMk id="63" creationId="{175FBDDD-1FBB-B49A-6EBB-6FEA40DD7EA4}"/>
          </ac:spMkLst>
        </pc:spChg>
        <pc:spChg chg="add del mod">
          <ac:chgData name="Oğuz Öztekin" userId="33c0df0f-d5fe-4bda-8f43-141ad7af67e3" providerId="ADAL" clId="{48B824AD-1B2A-47A8-8D92-6FE6E622A650}" dt="2024-12-16T15:55:50.939" v="70645"/>
          <ac:spMkLst>
            <pc:docMk/>
            <pc:sldMk cId="3145246505" sldId="285"/>
            <ac:spMk id="64" creationId="{FE826A60-E94D-4808-2D23-529AA9AA256F}"/>
          </ac:spMkLst>
        </pc:spChg>
        <pc:spChg chg="add del mod">
          <ac:chgData name="Oğuz Öztekin" userId="33c0df0f-d5fe-4bda-8f43-141ad7af67e3" providerId="ADAL" clId="{48B824AD-1B2A-47A8-8D92-6FE6E622A650}" dt="2024-12-16T15:55:50.936" v="70634"/>
          <ac:spMkLst>
            <pc:docMk/>
            <pc:sldMk cId="3145246505" sldId="285"/>
            <ac:spMk id="65" creationId="{270B620F-4B16-5412-CD4A-5B878FE6FE68}"/>
          </ac:spMkLst>
        </pc:spChg>
        <pc:spChg chg="add del mod">
          <ac:chgData name="Oğuz Öztekin" userId="33c0df0f-d5fe-4bda-8f43-141ad7af67e3" providerId="ADAL" clId="{48B824AD-1B2A-47A8-8D92-6FE6E622A650}" dt="2024-12-16T15:55:50.939" v="70646"/>
          <ac:spMkLst>
            <pc:docMk/>
            <pc:sldMk cId="3145246505" sldId="285"/>
            <ac:spMk id="66" creationId="{A514F7F0-58B9-C01F-9EDB-0FF1EB9E8D16}"/>
          </ac:spMkLst>
        </pc:spChg>
        <pc:spChg chg="add del mod">
          <ac:chgData name="Oğuz Öztekin" userId="33c0df0f-d5fe-4bda-8f43-141ad7af67e3" providerId="ADAL" clId="{48B824AD-1B2A-47A8-8D92-6FE6E622A650}" dt="2024-12-16T15:54:02.970" v="58843"/>
          <ac:spMkLst>
            <pc:docMk/>
            <pc:sldMk cId="3145246505" sldId="285"/>
            <ac:spMk id="67" creationId="{EB6F7EB6-B283-0B98-02AC-A651864929CF}"/>
          </ac:spMkLst>
        </pc:spChg>
        <pc:spChg chg="add del mod">
          <ac:chgData name="Oğuz Öztekin" userId="33c0df0f-d5fe-4bda-8f43-141ad7af67e3" providerId="ADAL" clId="{48B824AD-1B2A-47A8-8D92-6FE6E622A650}" dt="2024-12-16T15:55:50.938" v="70644"/>
          <ac:spMkLst>
            <pc:docMk/>
            <pc:sldMk cId="3145246505" sldId="285"/>
            <ac:spMk id="68" creationId="{77FD61CB-E9CE-BFF7-CD7F-14B838B39777}"/>
          </ac:spMkLst>
        </pc:spChg>
        <pc:spChg chg="add del mod">
          <ac:chgData name="Oğuz Öztekin" userId="33c0df0f-d5fe-4bda-8f43-141ad7af67e3" providerId="ADAL" clId="{48B824AD-1B2A-47A8-8D92-6FE6E622A650}" dt="2024-12-16T15:55:50.938" v="70643"/>
          <ac:spMkLst>
            <pc:docMk/>
            <pc:sldMk cId="3145246505" sldId="285"/>
            <ac:spMk id="69" creationId="{6F5903D5-E849-6C05-A9AE-02AC87FC0677}"/>
          </ac:spMkLst>
        </pc:spChg>
        <pc:spChg chg="add del mod">
          <ac:chgData name="Oğuz Öztekin" userId="33c0df0f-d5fe-4bda-8f43-141ad7af67e3" providerId="ADAL" clId="{48B824AD-1B2A-47A8-8D92-6FE6E622A650}" dt="2024-12-16T15:55:50.939" v="70648"/>
          <ac:spMkLst>
            <pc:docMk/>
            <pc:sldMk cId="3145246505" sldId="285"/>
            <ac:spMk id="70" creationId="{6F0F61E8-E5B1-DA3F-D751-E973F551A2B1}"/>
          </ac:spMkLst>
        </pc:spChg>
        <pc:spChg chg="add del mod">
          <ac:chgData name="Oğuz Öztekin" userId="33c0df0f-d5fe-4bda-8f43-141ad7af67e3" providerId="ADAL" clId="{48B824AD-1B2A-47A8-8D92-6FE6E622A650}" dt="2024-12-16T15:55:50.921" v="70578"/>
          <ac:spMkLst>
            <pc:docMk/>
            <pc:sldMk cId="3145246505" sldId="285"/>
            <ac:spMk id="71" creationId="{9C4E4B78-5539-C208-BB39-025B6BCCE15B}"/>
          </ac:spMkLst>
        </pc:spChg>
        <pc:spChg chg="add del mod">
          <ac:chgData name="Oğuz Öztekin" userId="33c0df0f-d5fe-4bda-8f43-141ad7af67e3" providerId="ADAL" clId="{48B824AD-1B2A-47A8-8D92-6FE6E622A650}" dt="2024-12-16T15:55:50.920" v="70577"/>
          <ac:spMkLst>
            <pc:docMk/>
            <pc:sldMk cId="3145246505" sldId="285"/>
            <ac:spMk id="72" creationId="{9530F375-53B7-FE2B-BE0B-3F68274FE2A1}"/>
          </ac:spMkLst>
        </pc:spChg>
        <pc:spChg chg="add del mod">
          <ac:chgData name="Oğuz Öztekin" userId="33c0df0f-d5fe-4bda-8f43-141ad7af67e3" providerId="ADAL" clId="{48B824AD-1B2A-47A8-8D92-6FE6E622A650}" dt="2024-12-16T15:55:50.920" v="70576"/>
          <ac:spMkLst>
            <pc:docMk/>
            <pc:sldMk cId="3145246505" sldId="285"/>
            <ac:spMk id="73" creationId="{52F33B5A-4862-D986-142F-7E24E96E797E}"/>
          </ac:spMkLst>
        </pc:spChg>
        <pc:spChg chg="add del mod">
          <ac:chgData name="Oğuz Öztekin" userId="33c0df0f-d5fe-4bda-8f43-141ad7af67e3" providerId="ADAL" clId="{48B824AD-1B2A-47A8-8D92-6FE6E622A650}" dt="2024-12-16T15:54:02.974" v="58854"/>
          <ac:spMkLst>
            <pc:docMk/>
            <pc:sldMk cId="3145246505" sldId="285"/>
            <ac:spMk id="74" creationId="{DF8840EE-35D1-61AE-1CE9-A7706F508F87}"/>
          </ac:spMkLst>
        </pc:spChg>
        <pc:spChg chg="add del mod">
          <ac:chgData name="Oğuz Öztekin" userId="33c0df0f-d5fe-4bda-8f43-141ad7af67e3" providerId="ADAL" clId="{48B824AD-1B2A-47A8-8D92-6FE6E622A650}" dt="2024-12-16T15:55:50.952" v="70694"/>
          <ac:spMkLst>
            <pc:docMk/>
            <pc:sldMk cId="3145246505" sldId="285"/>
            <ac:spMk id="75" creationId="{938990CE-6602-FE6F-DCC5-ED679298090F}"/>
          </ac:spMkLst>
        </pc:spChg>
        <pc:spChg chg="add del mod">
          <ac:chgData name="Oğuz Öztekin" userId="33c0df0f-d5fe-4bda-8f43-141ad7af67e3" providerId="ADAL" clId="{48B824AD-1B2A-47A8-8D92-6FE6E622A650}" dt="2024-12-16T15:55:50.953" v="70696"/>
          <ac:spMkLst>
            <pc:docMk/>
            <pc:sldMk cId="3145246505" sldId="285"/>
            <ac:spMk id="76" creationId="{0E7E996E-A788-191C-64FE-59E3F5EA7CFF}"/>
          </ac:spMkLst>
        </pc:spChg>
        <pc:spChg chg="add del mod">
          <ac:chgData name="Oğuz Öztekin" userId="33c0df0f-d5fe-4bda-8f43-141ad7af67e3" providerId="ADAL" clId="{48B824AD-1B2A-47A8-8D92-6FE6E622A650}" dt="2024-12-16T15:55:50.952" v="70695"/>
          <ac:spMkLst>
            <pc:docMk/>
            <pc:sldMk cId="3145246505" sldId="285"/>
            <ac:spMk id="77" creationId="{260AAC55-885D-B3C0-E9BE-7B415E6A1553}"/>
          </ac:spMkLst>
        </pc:spChg>
        <pc:spChg chg="add del mod">
          <ac:chgData name="Oğuz Öztekin" userId="33c0df0f-d5fe-4bda-8f43-141ad7af67e3" providerId="ADAL" clId="{48B824AD-1B2A-47A8-8D92-6FE6E622A650}" dt="2024-12-16T15:55:50.952" v="70693"/>
          <ac:spMkLst>
            <pc:docMk/>
            <pc:sldMk cId="3145246505" sldId="285"/>
            <ac:spMk id="78" creationId="{9450292A-5F8D-8CE0-4BCB-89013EC1147D}"/>
          </ac:spMkLst>
        </pc:spChg>
        <pc:spChg chg="add del mod">
          <ac:chgData name="Oğuz Öztekin" userId="33c0df0f-d5fe-4bda-8f43-141ad7af67e3" providerId="ADAL" clId="{48B824AD-1B2A-47A8-8D92-6FE6E622A650}" dt="2024-12-16T15:55:50.913" v="70551"/>
          <ac:spMkLst>
            <pc:docMk/>
            <pc:sldMk cId="3145246505" sldId="285"/>
            <ac:spMk id="79" creationId="{961B7C98-CA52-603F-A052-2C5359B17C36}"/>
          </ac:spMkLst>
        </pc:spChg>
        <pc:spChg chg="add del mod">
          <ac:chgData name="Oğuz Öztekin" userId="33c0df0f-d5fe-4bda-8f43-141ad7af67e3" providerId="ADAL" clId="{48B824AD-1B2A-47A8-8D92-6FE6E622A650}" dt="2024-12-16T15:55:50.913" v="70554"/>
          <ac:spMkLst>
            <pc:docMk/>
            <pc:sldMk cId="3145246505" sldId="285"/>
            <ac:spMk id="80" creationId="{A0E499CF-50BB-F59E-44D6-4CA0E6000004}"/>
          </ac:spMkLst>
        </pc:spChg>
        <pc:spChg chg="add del mod">
          <ac:chgData name="Oğuz Öztekin" userId="33c0df0f-d5fe-4bda-8f43-141ad7af67e3" providerId="ADAL" clId="{48B824AD-1B2A-47A8-8D92-6FE6E622A650}" dt="2024-12-16T15:54:02.974" v="58855"/>
          <ac:spMkLst>
            <pc:docMk/>
            <pc:sldMk cId="3145246505" sldId="285"/>
            <ac:spMk id="81" creationId="{2A2D8AC0-C991-3627-3C66-3AD5085BE9A7}"/>
          </ac:spMkLst>
        </pc:spChg>
        <pc:spChg chg="add del mod">
          <ac:chgData name="Oğuz Öztekin" userId="33c0df0f-d5fe-4bda-8f43-141ad7af67e3" providerId="ADAL" clId="{48B824AD-1B2A-47A8-8D92-6FE6E622A650}" dt="2024-12-16T15:55:50.913" v="70552"/>
          <ac:spMkLst>
            <pc:docMk/>
            <pc:sldMk cId="3145246505" sldId="285"/>
            <ac:spMk id="82" creationId="{8C795E64-0667-E72C-31A4-D3A043C09603}"/>
          </ac:spMkLst>
        </pc:spChg>
        <pc:spChg chg="add del mod">
          <ac:chgData name="Oğuz Öztekin" userId="33c0df0f-d5fe-4bda-8f43-141ad7af67e3" providerId="ADAL" clId="{48B824AD-1B2A-47A8-8D92-6FE6E622A650}" dt="2024-12-16T15:55:50.913" v="70553"/>
          <ac:spMkLst>
            <pc:docMk/>
            <pc:sldMk cId="3145246505" sldId="285"/>
            <ac:spMk id="83" creationId="{5821B6C9-E6F0-0C38-5E15-804253D8F66B}"/>
          </ac:spMkLst>
        </pc:spChg>
        <pc:spChg chg="add del mod">
          <ac:chgData name="Oğuz Öztekin" userId="33c0df0f-d5fe-4bda-8f43-141ad7af67e3" providerId="ADAL" clId="{48B824AD-1B2A-47A8-8D92-6FE6E622A650}" dt="2024-12-16T15:55:50.914" v="70555"/>
          <ac:spMkLst>
            <pc:docMk/>
            <pc:sldMk cId="3145246505" sldId="285"/>
            <ac:spMk id="84" creationId="{189CE8B5-0174-E6D9-C085-5247A25ED593}"/>
          </ac:spMkLst>
        </pc:spChg>
        <pc:spChg chg="add del mod">
          <ac:chgData name="Oğuz Öztekin" userId="33c0df0f-d5fe-4bda-8f43-141ad7af67e3" providerId="ADAL" clId="{48B824AD-1B2A-47A8-8D92-6FE6E622A650}" dt="2024-12-16T15:55:50.950" v="70683"/>
          <ac:spMkLst>
            <pc:docMk/>
            <pc:sldMk cId="3145246505" sldId="285"/>
            <ac:spMk id="85" creationId="{B1780894-5B9C-9A9F-0B01-F1B9A83ABD40}"/>
          </ac:spMkLst>
        </pc:spChg>
        <pc:spChg chg="del">
          <ac:chgData name="Oğuz Öztekin" userId="33c0df0f-d5fe-4bda-8f43-141ad7af67e3" providerId="ADAL" clId="{48B824AD-1B2A-47A8-8D92-6FE6E622A650}" dt="2024-12-16T15:51:44.822" v="53477"/>
          <ac:spMkLst>
            <pc:docMk/>
            <pc:sldMk cId="3145246505" sldId="285"/>
            <ac:spMk id="86" creationId="{35EE48B3-F312-C637-D0F5-C5F02AB9C1BA}"/>
          </ac:spMkLst>
        </pc:spChg>
        <pc:spChg chg="del">
          <ac:chgData name="Oğuz Öztekin" userId="33c0df0f-d5fe-4bda-8f43-141ad7af67e3" providerId="ADAL" clId="{48B824AD-1B2A-47A8-8D92-6FE6E622A650}" dt="2024-12-16T15:51:44.821" v="53474"/>
          <ac:spMkLst>
            <pc:docMk/>
            <pc:sldMk cId="3145246505" sldId="285"/>
            <ac:spMk id="87" creationId="{8D5BE3EF-0600-9564-5977-A6794B2F69BE}"/>
          </ac:spMkLst>
        </pc:spChg>
        <pc:spChg chg="del">
          <ac:chgData name="Oğuz Öztekin" userId="33c0df0f-d5fe-4bda-8f43-141ad7af67e3" providerId="ADAL" clId="{48B824AD-1B2A-47A8-8D92-6FE6E622A650}" dt="2024-12-16T15:51:44.820" v="53471"/>
          <ac:spMkLst>
            <pc:docMk/>
            <pc:sldMk cId="3145246505" sldId="285"/>
            <ac:spMk id="88" creationId="{6DC44E34-771D-2385-ECC5-BC669588C481}"/>
          </ac:spMkLst>
        </pc:spChg>
        <pc:spChg chg="del">
          <ac:chgData name="Oğuz Öztekin" userId="33c0df0f-d5fe-4bda-8f43-141ad7af67e3" providerId="ADAL" clId="{48B824AD-1B2A-47A8-8D92-6FE6E622A650}" dt="2024-12-16T15:51:44.818" v="53468"/>
          <ac:spMkLst>
            <pc:docMk/>
            <pc:sldMk cId="3145246505" sldId="285"/>
            <ac:spMk id="89" creationId="{9E8C6090-DC02-4A6E-E9C2-5981E325AFDC}"/>
          </ac:spMkLst>
        </pc:spChg>
        <pc:spChg chg="del">
          <ac:chgData name="Oğuz Öztekin" userId="33c0df0f-d5fe-4bda-8f43-141ad7af67e3" providerId="ADAL" clId="{48B824AD-1B2A-47A8-8D92-6FE6E622A650}" dt="2024-12-16T15:51:44.817" v="53465"/>
          <ac:spMkLst>
            <pc:docMk/>
            <pc:sldMk cId="3145246505" sldId="285"/>
            <ac:spMk id="90" creationId="{FA308C0D-005B-F544-E982-09A7CCE23BFD}"/>
          </ac:spMkLst>
        </pc:spChg>
        <pc:spChg chg="del">
          <ac:chgData name="Oğuz Öztekin" userId="33c0df0f-d5fe-4bda-8f43-141ad7af67e3" providerId="ADAL" clId="{48B824AD-1B2A-47A8-8D92-6FE6E622A650}" dt="2024-12-16T15:51:44.816" v="53462"/>
          <ac:spMkLst>
            <pc:docMk/>
            <pc:sldMk cId="3145246505" sldId="285"/>
            <ac:spMk id="91" creationId="{B37D9470-55C3-671B-A81A-27B57F7BAF99}"/>
          </ac:spMkLst>
        </pc:spChg>
        <pc:spChg chg="del">
          <ac:chgData name="Oğuz Öztekin" userId="33c0df0f-d5fe-4bda-8f43-141ad7af67e3" providerId="ADAL" clId="{48B824AD-1B2A-47A8-8D92-6FE6E622A650}" dt="2024-12-16T15:51:44.815" v="53459"/>
          <ac:spMkLst>
            <pc:docMk/>
            <pc:sldMk cId="3145246505" sldId="285"/>
            <ac:spMk id="92" creationId="{044139C3-68F4-0E13-45BD-2BD0D3ED141C}"/>
          </ac:spMkLst>
        </pc:spChg>
        <pc:spChg chg="add del mod">
          <ac:chgData name="Oğuz Öztekin" userId="33c0df0f-d5fe-4bda-8f43-141ad7af67e3" providerId="ADAL" clId="{48B824AD-1B2A-47A8-8D92-6FE6E622A650}" dt="2024-12-16T15:55:50.949" v="70680"/>
          <ac:spMkLst>
            <pc:docMk/>
            <pc:sldMk cId="3145246505" sldId="285"/>
            <ac:spMk id="93" creationId="{A6E66948-DA10-C404-97D1-00DE0B2FCA6B}"/>
          </ac:spMkLst>
        </pc:spChg>
        <pc:spChg chg="add del mod">
          <ac:chgData name="Oğuz Öztekin" userId="33c0df0f-d5fe-4bda-8f43-141ad7af67e3" providerId="ADAL" clId="{48B824AD-1B2A-47A8-8D92-6FE6E622A650}" dt="2024-12-16T15:55:50.949" v="70679"/>
          <ac:spMkLst>
            <pc:docMk/>
            <pc:sldMk cId="3145246505" sldId="285"/>
            <ac:spMk id="94" creationId="{A303EF3A-5705-5FAF-C80F-6E2D2EA38B75}"/>
          </ac:spMkLst>
        </pc:spChg>
        <pc:spChg chg="add del mod">
          <ac:chgData name="Oğuz Öztekin" userId="33c0df0f-d5fe-4bda-8f43-141ad7af67e3" providerId="ADAL" clId="{48B824AD-1B2A-47A8-8D92-6FE6E622A650}" dt="2024-12-16T15:54:02.973" v="58851"/>
          <ac:spMkLst>
            <pc:docMk/>
            <pc:sldMk cId="3145246505" sldId="285"/>
            <ac:spMk id="95" creationId="{BCFCBD22-938E-8DBD-3367-4167174EEB34}"/>
          </ac:spMkLst>
        </pc:spChg>
        <pc:spChg chg="add del mod">
          <ac:chgData name="Oğuz Öztekin" userId="33c0df0f-d5fe-4bda-8f43-141ad7af67e3" providerId="ADAL" clId="{48B824AD-1B2A-47A8-8D92-6FE6E622A650}" dt="2024-12-16T15:55:50.909" v="70540"/>
          <ac:spMkLst>
            <pc:docMk/>
            <pc:sldMk cId="3145246505" sldId="285"/>
            <ac:spMk id="160" creationId="{FD3AC304-45C9-9D1A-C67C-E73426C339F3}"/>
          </ac:spMkLst>
        </pc:spChg>
        <pc:spChg chg="add del mod">
          <ac:chgData name="Oğuz Öztekin" userId="33c0df0f-d5fe-4bda-8f43-141ad7af67e3" providerId="ADAL" clId="{48B824AD-1B2A-47A8-8D92-6FE6E622A650}" dt="2024-12-16T15:55:50.909" v="70538"/>
          <ac:spMkLst>
            <pc:docMk/>
            <pc:sldMk cId="3145246505" sldId="285"/>
            <ac:spMk id="161" creationId="{35A626FF-8FDA-6A63-9953-20E2693432B7}"/>
          </ac:spMkLst>
        </pc:spChg>
        <pc:spChg chg="add del mod">
          <ac:chgData name="Oğuz Öztekin" userId="33c0df0f-d5fe-4bda-8f43-141ad7af67e3" providerId="ADAL" clId="{48B824AD-1B2A-47A8-8D92-6FE6E622A650}" dt="2024-12-16T15:55:50.912" v="70550"/>
          <ac:spMkLst>
            <pc:docMk/>
            <pc:sldMk cId="3145246505" sldId="285"/>
            <ac:spMk id="162" creationId="{F586F852-857A-A652-B11E-3B2767B64D84}"/>
          </ac:spMkLst>
        </pc:spChg>
        <pc:spChg chg="add del mod">
          <ac:chgData name="Oğuz Öztekin" userId="33c0df0f-d5fe-4bda-8f43-141ad7af67e3" providerId="ADAL" clId="{48B824AD-1B2A-47A8-8D92-6FE6E622A650}" dt="2024-12-16T15:54:02.976" v="58861"/>
          <ac:spMkLst>
            <pc:docMk/>
            <pc:sldMk cId="3145246505" sldId="285"/>
            <ac:spMk id="163" creationId="{1B1EAB7C-43AF-D9ED-8C89-DFA577B3088E}"/>
          </ac:spMkLst>
        </pc:spChg>
        <pc:spChg chg="add del mod">
          <ac:chgData name="Oğuz Öztekin" userId="33c0df0f-d5fe-4bda-8f43-141ad7af67e3" providerId="ADAL" clId="{48B824AD-1B2A-47A8-8D92-6FE6E622A650}" dt="2024-12-16T15:55:50.926" v="70598"/>
          <ac:spMkLst>
            <pc:docMk/>
            <pc:sldMk cId="3145246505" sldId="285"/>
            <ac:spMk id="164" creationId="{AD3D42A3-4EC9-2B8B-F1D7-1B389C802FBA}"/>
          </ac:spMkLst>
        </pc:spChg>
        <pc:spChg chg="add del mod">
          <ac:chgData name="Oğuz Öztekin" userId="33c0df0f-d5fe-4bda-8f43-141ad7af67e3" providerId="ADAL" clId="{48B824AD-1B2A-47A8-8D92-6FE6E622A650}" dt="2024-12-16T15:55:50.926" v="70597"/>
          <ac:spMkLst>
            <pc:docMk/>
            <pc:sldMk cId="3145246505" sldId="285"/>
            <ac:spMk id="165" creationId="{91576BD7-0591-0098-1BA0-C619E631E678}"/>
          </ac:spMkLst>
        </pc:spChg>
        <pc:spChg chg="add del mod">
          <ac:chgData name="Oğuz Öztekin" userId="33c0df0f-d5fe-4bda-8f43-141ad7af67e3" providerId="ADAL" clId="{48B824AD-1B2A-47A8-8D92-6FE6E622A650}" dt="2024-12-16T15:55:50.924" v="70591"/>
          <ac:spMkLst>
            <pc:docMk/>
            <pc:sldMk cId="3145246505" sldId="285"/>
            <ac:spMk id="166" creationId="{3AD47B83-B39D-03A2-2F46-60659437F1BF}"/>
          </ac:spMkLst>
        </pc:spChg>
        <pc:spChg chg="add del mod">
          <ac:chgData name="Oğuz Öztekin" userId="33c0df0f-d5fe-4bda-8f43-141ad7af67e3" providerId="ADAL" clId="{48B824AD-1B2A-47A8-8D92-6FE6E622A650}" dt="2024-12-16T15:55:50.924" v="70590"/>
          <ac:spMkLst>
            <pc:docMk/>
            <pc:sldMk cId="3145246505" sldId="285"/>
            <ac:spMk id="167" creationId="{B2E32E64-3D36-7F81-39B1-96F0F2CEA404}"/>
          </ac:spMkLst>
        </pc:spChg>
        <pc:spChg chg="add del mod">
          <ac:chgData name="Oğuz Öztekin" userId="33c0df0f-d5fe-4bda-8f43-141ad7af67e3" providerId="ADAL" clId="{48B824AD-1B2A-47A8-8D92-6FE6E622A650}" dt="2024-12-16T15:55:50.921" v="70580"/>
          <ac:spMkLst>
            <pc:docMk/>
            <pc:sldMk cId="3145246505" sldId="285"/>
            <ac:spMk id="168" creationId="{4993D7F3-94F4-E2A0-2FEA-D4C293E4A198}"/>
          </ac:spMkLst>
        </pc:spChg>
        <pc:spChg chg="add del mod">
          <ac:chgData name="Oğuz Öztekin" userId="33c0df0f-d5fe-4bda-8f43-141ad7af67e3" providerId="ADAL" clId="{48B824AD-1B2A-47A8-8D92-6FE6E622A650}" dt="2024-12-16T15:55:50.923" v="70588"/>
          <ac:spMkLst>
            <pc:docMk/>
            <pc:sldMk cId="3145246505" sldId="285"/>
            <ac:spMk id="169" creationId="{245E19BD-B898-4156-E2D4-A08A99AF9FD3}"/>
          </ac:spMkLst>
        </pc:spChg>
        <pc:spChg chg="add del mod">
          <ac:chgData name="Oğuz Öztekin" userId="33c0df0f-d5fe-4bda-8f43-141ad7af67e3" providerId="ADAL" clId="{48B824AD-1B2A-47A8-8D92-6FE6E622A650}" dt="2024-12-16T15:54:02.974" v="58856"/>
          <ac:spMkLst>
            <pc:docMk/>
            <pc:sldMk cId="3145246505" sldId="285"/>
            <ac:spMk id="170" creationId="{34471AED-D527-0FDB-6BF9-0DD9674DE2DE}"/>
          </ac:spMkLst>
        </pc:spChg>
        <pc:spChg chg="add del mod">
          <ac:chgData name="Oğuz Öztekin" userId="33c0df0f-d5fe-4bda-8f43-141ad7af67e3" providerId="ADAL" clId="{48B824AD-1B2A-47A8-8D92-6FE6E622A650}" dt="2024-12-16T15:55:50.925" v="70593"/>
          <ac:spMkLst>
            <pc:docMk/>
            <pc:sldMk cId="3145246505" sldId="285"/>
            <ac:spMk id="171" creationId="{9C3BE33A-4851-842C-56F8-6A63931C5A4D}"/>
          </ac:spMkLst>
        </pc:spChg>
        <pc:spChg chg="add del mod">
          <ac:chgData name="Oğuz Öztekin" userId="33c0df0f-d5fe-4bda-8f43-141ad7af67e3" providerId="ADAL" clId="{48B824AD-1B2A-47A8-8D92-6FE6E622A650}" dt="2024-12-16T15:55:50.923" v="70587"/>
          <ac:spMkLst>
            <pc:docMk/>
            <pc:sldMk cId="3145246505" sldId="285"/>
            <ac:spMk id="172" creationId="{AE935075-1843-C75B-3B18-85AF69B9569B}"/>
          </ac:spMkLst>
        </pc:spChg>
        <pc:spChg chg="add del mod">
          <ac:chgData name="Oğuz Öztekin" userId="33c0df0f-d5fe-4bda-8f43-141ad7af67e3" providerId="ADAL" clId="{48B824AD-1B2A-47A8-8D92-6FE6E622A650}" dt="2024-12-16T15:55:50.926" v="70596"/>
          <ac:spMkLst>
            <pc:docMk/>
            <pc:sldMk cId="3145246505" sldId="285"/>
            <ac:spMk id="173" creationId="{91660406-A16C-C638-0548-829D37AEBB9D}"/>
          </ac:spMkLst>
        </pc:spChg>
        <pc:spChg chg="add del mod">
          <ac:chgData name="Oğuz Öztekin" userId="33c0df0f-d5fe-4bda-8f43-141ad7af67e3" providerId="ADAL" clId="{48B824AD-1B2A-47A8-8D92-6FE6E622A650}" dt="2024-12-16T15:55:50.924" v="70589"/>
          <ac:spMkLst>
            <pc:docMk/>
            <pc:sldMk cId="3145246505" sldId="285"/>
            <ac:spMk id="174" creationId="{4E7A8789-D494-CC79-70D8-E30CEDC2DBFC}"/>
          </ac:spMkLst>
        </pc:spChg>
        <pc:spChg chg="add del mod">
          <ac:chgData name="Oğuz Öztekin" userId="33c0df0f-d5fe-4bda-8f43-141ad7af67e3" providerId="ADAL" clId="{48B824AD-1B2A-47A8-8D92-6FE6E622A650}" dt="2024-12-16T15:55:50.925" v="70594"/>
          <ac:spMkLst>
            <pc:docMk/>
            <pc:sldMk cId="3145246505" sldId="285"/>
            <ac:spMk id="175" creationId="{141DA8B7-342C-65F3-BCDD-9E8107EC81AD}"/>
          </ac:spMkLst>
        </pc:spChg>
        <pc:spChg chg="add del mod">
          <ac:chgData name="Oğuz Öztekin" userId="33c0df0f-d5fe-4bda-8f43-141ad7af67e3" providerId="ADAL" clId="{48B824AD-1B2A-47A8-8D92-6FE6E622A650}" dt="2024-12-16T15:55:50.922" v="70581"/>
          <ac:spMkLst>
            <pc:docMk/>
            <pc:sldMk cId="3145246505" sldId="285"/>
            <ac:spMk id="176" creationId="{CE3110F2-D1BE-3F61-1E49-CD7E60334480}"/>
          </ac:spMkLst>
        </pc:spChg>
        <pc:spChg chg="add del mod">
          <ac:chgData name="Oğuz Öztekin" userId="33c0df0f-d5fe-4bda-8f43-141ad7af67e3" providerId="ADAL" clId="{48B824AD-1B2A-47A8-8D92-6FE6E622A650}" dt="2024-12-16T15:54:02.976" v="58862"/>
          <ac:spMkLst>
            <pc:docMk/>
            <pc:sldMk cId="3145246505" sldId="285"/>
            <ac:spMk id="177" creationId="{35E026A7-1820-28E6-9BA1-D08DF584D3E0}"/>
          </ac:spMkLst>
        </pc:spChg>
        <pc:spChg chg="add del mod">
          <ac:chgData name="Oğuz Öztekin" userId="33c0df0f-d5fe-4bda-8f43-141ad7af67e3" providerId="ADAL" clId="{48B824AD-1B2A-47A8-8D92-6FE6E622A650}" dt="2024-12-16T15:54:02.976" v="58860"/>
          <ac:spMkLst>
            <pc:docMk/>
            <pc:sldMk cId="3145246505" sldId="285"/>
            <ac:spMk id="178" creationId="{B12239BE-1A76-8672-4312-93FB941E2DEB}"/>
          </ac:spMkLst>
        </pc:spChg>
        <pc:spChg chg="add del mod">
          <ac:chgData name="Oğuz Öztekin" userId="33c0df0f-d5fe-4bda-8f43-141ad7af67e3" providerId="ADAL" clId="{48B824AD-1B2A-47A8-8D92-6FE6E622A650}" dt="2024-12-16T15:54:02.977" v="58863"/>
          <ac:spMkLst>
            <pc:docMk/>
            <pc:sldMk cId="3145246505" sldId="285"/>
            <ac:spMk id="179" creationId="{DCBDDF50-7C39-FF48-6EFD-9CE67F33B939}"/>
          </ac:spMkLst>
        </pc:spChg>
        <pc:spChg chg="add del mod">
          <ac:chgData name="Oğuz Öztekin" userId="33c0df0f-d5fe-4bda-8f43-141ad7af67e3" providerId="ADAL" clId="{48B824AD-1B2A-47A8-8D92-6FE6E622A650}" dt="2024-12-16T15:54:02.977" v="58864"/>
          <ac:spMkLst>
            <pc:docMk/>
            <pc:sldMk cId="3145246505" sldId="285"/>
            <ac:spMk id="180" creationId="{FCD8BB8E-18C3-465B-7719-F95258634DC2}"/>
          </ac:spMkLst>
        </pc:spChg>
        <pc:spChg chg="add del mod">
          <ac:chgData name="Oğuz Öztekin" userId="33c0df0f-d5fe-4bda-8f43-141ad7af67e3" providerId="ADAL" clId="{48B824AD-1B2A-47A8-8D92-6FE6E622A650}" dt="2024-12-16T15:54:02.975" v="58857"/>
          <ac:spMkLst>
            <pc:docMk/>
            <pc:sldMk cId="3145246505" sldId="285"/>
            <ac:spMk id="181" creationId="{81912450-1104-EDD8-B882-5D438855D6FC}"/>
          </ac:spMkLst>
        </pc:spChg>
        <pc:spChg chg="add del mod">
          <ac:chgData name="Oğuz Öztekin" userId="33c0df0f-d5fe-4bda-8f43-141ad7af67e3" providerId="ADAL" clId="{48B824AD-1B2A-47A8-8D92-6FE6E622A650}" dt="2024-12-16T15:54:02.977" v="58865"/>
          <ac:spMkLst>
            <pc:docMk/>
            <pc:sldMk cId="3145246505" sldId="285"/>
            <ac:spMk id="182" creationId="{FFDA6F16-806A-A938-EAAC-EE212D0C00C2}"/>
          </ac:spMkLst>
        </pc:spChg>
        <pc:spChg chg="add del mod">
          <ac:chgData name="Oğuz Öztekin" userId="33c0df0f-d5fe-4bda-8f43-141ad7af67e3" providerId="ADAL" clId="{48B824AD-1B2A-47A8-8D92-6FE6E622A650}" dt="2024-12-16T15:54:02.975" v="58858"/>
          <ac:spMkLst>
            <pc:docMk/>
            <pc:sldMk cId="3145246505" sldId="285"/>
            <ac:spMk id="183" creationId="{69EEA310-58D2-79F7-BC2E-4A05047AFC5F}"/>
          </ac:spMkLst>
        </pc:spChg>
        <pc:spChg chg="add del mod">
          <ac:chgData name="Oğuz Öztekin" userId="33c0df0f-d5fe-4bda-8f43-141ad7af67e3" providerId="ADAL" clId="{48B824AD-1B2A-47A8-8D92-6FE6E622A650}" dt="2024-12-16T15:54:02.978" v="58866"/>
          <ac:spMkLst>
            <pc:docMk/>
            <pc:sldMk cId="3145246505" sldId="285"/>
            <ac:spMk id="184" creationId="{4C9AC862-A0BB-58DE-AB72-19CF9D122503}"/>
          </ac:spMkLst>
        </pc:spChg>
        <pc:spChg chg="add del mod">
          <ac:chgData name="Oğuz Öztekin" userId="33c0df0f-d5fe-4bda-8f43-141ad7af67e3" providerId="ADAL" clId="{48B824AD-1B2A-47A8-8D92-6FE6E622A650}" dt="2024-12-16T15:54:02.978" v="58867"/>
          <ac:spMkLst>
            <pc:docMk/>
            <pc:sldMk cId="3145246505" sldId="285"/>
            <ac:spMk id="185" creationId="{304C0ED2-3452-67E8-866B-2BC965B360D9}"/>
          </ac:spMkLst>
        </pc:spChg>
        <pc:spChg chg="add del mod">
          <ac:chgData name="Oğuz Öztekin" userId="33c0df0f-d5fe-4bda-8f43-141ad7af67e3" providerId="ADAL" clId="{48B824AD-1B2A-47A8-8D92-6FE6E622A650}" dt="2024-12-16T15:54:02.975" v="58859"/>
          <ac:spMkLst>
            <pc:docMk/>
            <pc:sldMk cId="3145246505" sldId="285"/>
            <ac:spMk id="186" creationId="{21C0088E-21F0-BC02-4FBA-22112F647D3E}"/>
          </ac:spMkLst>
        </pc:spChg>
        <pc:spChg chg="add del mod">
          <ac:chgData name="Oğuz Öztekin" userId="33c0df0f-d5fe-4bda-8f43-141ad7af67e3" providerId="ADAL" clId="{48B824AD-1B2A-47A8-8D92-6FE6E622A650}" dt="2024-12-16T15:54:02.978" v="58868"/>
          <ac:spMkLst>
            <pc:docMk/>
            <pc:sldMk cId="3145246505" sldId="285"/>
            <ac:spMk id="187" creationId="{A4289E83-2300-E3B4-13E8-8D7D36C2783A}"/>
          </ac:spMkLst>
        </pc:spChg>
        <pc:spChg chg="add del mod">
          <ac:chgData name="Oğuz Öztekin" userId="33c0df0f-d5fe-4bda-8f43-141ad7af67e3" providerId="ADAL" clId="{48B824AD-1B2A-47A8-8D92-6FE6E622A650}" dt="2024-12-16T15:54:02.979" v="58869"/>
          <ac:spMkLst>
            <pc:docMk/>
            <pc:sldMk cId="3145246505" sldId="285"/>
            <ac:spMk id="188" creationId="{111A22B4-9097-47E8-98BF-529015716BF6}"/>
          </ac:spMkLst>
        </pc:spChg>
        <pc:spChg chg="add del mod">
          <ac:chgData name="Oğuz Öztekin" userId="33c0df0f-d5fe-4bda-8f43-141ad7af67e3" providerId="ADAL" clId="{48B824AD-1B2A-47A8-8D92-6FE6E622A650}" dt="2024-12-16T15:54:02.979" v="58870"/>
          <ac:spMkLst>
            <pc:docMk/>
            <pc:sldMk cId="3145246505" sldId="285"/>
            <ac:spMk id="189" creationId="{0461EA06-955D-C930-2BC2-4905F6350FFA}"/>
          </ac:spMkLst>
        </pc:spChg>
        <pc:spChg chg="add del mod">
          <ac:chgData name="Oğuz Öztekin" userId="33c0df0f-d5fe-4bda-8f43-141ad7af67e3" providerId="ADAL" clId="{48B824AD-1B2A-47A8-8D92-6FE6E622A650}" dt="2024-12-16T15:54:02.983" v="58883"/>
          <ac:spMkLst>
            <pc:docMk/>
            <pc:sldMk cId="3145246505" sldId="285"/>
            <ac:spMk id="190" creationId="{7ECC49BE-9482-2B7C-6850-CA5788D4A678}"/>
          </ac:spMkLst>
        </pc:spChg>
        <pc:spChg chg="del">
          <ac:chgData name="Oğuz Öztekin" userId="33c0df0f-d5fe-4bda-8f43-141ad7af67e3" providerId="ADAL" clId="{48B824AD-1B2A-47A8-8D92-6FE6E622A650}" dt="2024-12-16T15:51:44.826" v="53488"/>
          <ac:spMkLst>
            <pc:docMk/>
            <pc:sldMk cId="3145246505" sldId="285"/>
            <ac:spMk id="191" creationId="{9FBAF556-5F1C-9F84-579C-1DCF0817CB8B}"/>
          </ac:spMkLst>
        </pc:spChg>
        <pc:spChg chg="del">
          <ac:chgData name="Oğuz Öztekin" userId="33c0df0f-d5fe-4bda-8f43-141ad7af67e3" providerId="ADAL" clId="{48B824AD-1B2A-47A8-8D92-6FE6E622A650}" dt="2024-12-16T15:51:44.825" v="53487"/>
          <ac:spMkLst>
            <pc:docMk/>
            <pc:sldMk cId="3145246505" sldId="285"/>
            <ac:spMk id="192" creationId="{4230B6AD-F97A-1AFD-4923-5CC672984FA9}"/>
          </ac:spMkLst>
        </pc:spChg>
        <pc:spChg chg="add del mod">
          <ac:chgData name="Oğuz Öztekin" userId="33c0df0f-d5fe-4bda-8f43-141ad7af67e3" providerId="ADAL" clId="{48B824AD-1B2A-47A8-8D92-6FE6E622A650}" dt="2024-12-16T15:54:02.984" v="58886"/>
          <ac:spMkLst>
            <pc:docMk/>
            <pc:sldMk cId="3145246505" sldId="285"/>
            <ac:spMk id="193" creationId="{289D31F4-EEB1-A0BC-D0F3-BD002D083A1F}"/>
          </ac:spMkLst>
        </pc:spChg>
        <pc:spChg chg="add del mod">
          <ac:chgData name="Oğuz Öztekin" userId="33c0df0f-d5fe-4bda-8f43-141ad7af67e3" providerId="ADAL" clId="{48B824AD-1B2A-47A8-8D92-6FE6E622A650}" dt="2024-12-16T15:54:02.982" v="58879"/>
          <ac:spMkLst>
            <pc:docMk/>
            <pc:sldMk cId="3145246505" sldId="285"/>
            <ac:spMk id="194" creationId="{7649A1C6-BFD5-29BB-F766-DA5AC2F54A80}"/>
          </ac:spMkLst>
        </pc:spChg>
        <pc:spChg chg="add del mod">
          <ac:chgData name="Oğuz Öztekin" userId="33c0df0f-d5fe-4bda-8f43-141ad7af67e3" providerId="ADAL" clId="{48B824AD-1B2A-47A8-8D92-6FE6E622A650}" dt="2024-12-16T15:54:02.981" v="58878"/>
          <ac:spMkLst>
            <pc:docMk/>
            <pc:sldMk cId="3145246505" sldId="285"/>
            <ac:spMk id="195" creationId="{0F8FB445-4FE4-0604-500C-B87787E8CA1D}"/>
          </ac:spMkLst>
        </pc:spChg>
        <pc:spChg chg="add del mod">
          <ac:chgData name="Oğuz Öztekin" userId="33c0df0f-d5fe-4bda-8f43-141ad7af67e3" providerId="ADAL" clId="{48B824AD-1B2A-47A8-8D92-6FE6E622A650}" dt="2024-12-16T15:54:02.984" v="58885"/>
          <ac:spMkLst>
            <pc:docMk/>
            <pc:sldMk cId="3145246505" sldId="285"/>
            <ac:spMk id="196" creationId="{C23EE42C-4AFD-781C-825D-F90C7D700124}"/>
          </ac:spMkLst>
        </pc:spChg>
        <pc:spChg chg="add del mod">
          <ac:chgData name="Oğuz Öztekin" userId="33c0df0f-d5fe-4bda-8f43-141ad7af67e3" providerId="ADAL" clId="{48B824AD-1B2A-47A8-8D92-6FE6E622A650}" dt="2024-12-16T15:54:02.980" v="58871"/>
          <ac:spMkLst>
            <pc:docMk/>
            <pc:sldMk cId="3145246505" sldId="285"/>
            <ac:spMk id="197" creationId="{10ED1A1A-7266-47B5-5BEF-DBE3DF908F2E}"/>
          </ac:spMkLst>
        </pc:spChg>
        <pc:spChg chg="add del mod">
          <ac:chgData name="Oğuz Öztekin" userId="33c0df0f-d5fe-4bda-8f43-141ad7af67e3" providerId="ADAL" clId="{48B824AD-1B2A-47A8-8D92-6FE6E622A650}" dt="2024-12-16T15:54:02.980" v="58875"/>
          <ac:spMkLst>
            <pc:docMk/>
            <pc:sldMk cId="3145246505" sldId="285"/>
            <ac:spMk id="198" creationId="{754E193B-8E9C-A122-10E2-A200F9B382D0}"/>
          </ac:spMkLst>
        </pc:spChg>
        <pc:spChg chg="add del mod">
          <ac:chgData name="Oğuz Öztekin" userId="33c0df0f-d5fe-4bda-8f43-141ad7af67e3" providerId="ADAL" clId="{48B824AD-1B2A-47A8-8D92-6FE6E622A650}" dt="2024-12-16T15:54:02.980" v="58872"/>
          <ac:spMkLst>
            <pc:docMk/>
            <pc:sldMk cId="3145246505" sldId="285"/>
            <ac:spMk id="199" creationId="{4671CB88-0F1B-2589-CE54-B494715939B7}"/>
          </ac:spMkLst>
        </pc:spChg>
        <pc:spChg chg="add del mod">
          <ac:chgData name="Oğuz Öztekin" userId="33c0df0f-d5fe-4bda-8f43-141ad7af67e3" providerId="ADAL" clId="{48B824AD-1B2A-47A8-8D92-6FE6E622A650}" dt="2024-12-16T15:54:02.983" v="58881"/>
          <ac:spMkLst>
            <pc:docMk/>
            <pc:sldMk cId="3145246505" sldId="285"/>
            <ac:spMk id="200" creationId="{33680180-451D-8482-F116-DBE0B5DF8024}"/>
          </ac:spMkLst>
        </pc:spChg>
        <pc:spChg chg="add del mod">
          <ac:chgData name="Oğuz Öztekin" userId="33c0df0f-d5fe-4bda-8f43-141ad7af67e3" providerId="ADAL" clId="{48B824AD-1B2A-47A8-8D92-6FE6E622A650}" dt="2024-12-16T15:54:02.980" v="58873"/>
          <ac:spMkLst>
            <pc:docMk/>
            <pc:sldMk cId="3145246505" sldId="285"/>
            <ac:spMk id="201" creationId="{26728783-A4B0-09C3-DB1C-FAC550D83C78}"/>
          </ac:spMkLst>
        </pc:spChg>
        <pc:spChg chg="add del mod">
          <ac:chgData name="Oğuz Öztekin" userId="33c0df0f-d5fe-4bda-8f43-141ad7af67e3" providerId="ADAL" clId="{48B824AD-1B2A-47A8-8D92-6FE6E622A650}" dt="2024-12-16T15:54:02.983" v="58882"/>
          <ac:spMkLst>
            <pc:docMk/>
            <pc:sldMk cId="3145246505" sldId="285"/>
            <ac:spMk id="202" creationId="{04528A4B-E739-29FE-B079-6C08BE266958}"/>
          </ac:spMkLst>
        </pc:spChg>
        <pc:spChg chg="add del mod">
          <ac:chgData name="Oğuz Öztekin" userId="33c0df0f-d5fe-4bda-8f43-141ad7af67e3" providerId="ADAL" clId="{48B824AD-1B2A-47A8-8D92-6FE6E622A650}" dt="2024-12-16T15:54:02.980" v="58874"/>
          <ac:spMkLst>
            <pc:docMk/>
            <pc:sldMk cId="3145246505" sldId="285"/>
            <ac:spMk id="203" creationId="{55FD52BA-7D5B-EC7C-2AA7-C0DE7F979439}"/>
          </ac:spMkLst>
        </pc:spChg>
        <pc:spChg chg="add del mod">
          <ac:chgData name="Oğuz Öztekin" userId="33c0df0f-d5fe-4bda-8f43-141ad7af67e3" providerId="ADAL" clId="{48B824AD-1B2A-47A8-8D92-6FE6E622A650}" dt="2024-12-16T15:54:02.981" v="58876"/>
          <ac:spMkLst>
            <pc:docMk/>
            <pc:sldMk cId="3145246505" sldId="285"/>
            <ac:spMk id="204" creationId="{80A4AEC6-5FE9-8483-5225-6875EDE92F04}"/>
          </ac:spMkLst>
        </pc:spChg>
        <pc:spChg chg="add del mod">
          <ac:chgData name="Oğuz Öztekin" userId="33c0df0f-d5fe-4bda-8f43-141ad7af67e3" providerId="ADAL" clId="{48B824AD-1B2A-47A8-8D92-6FE6E622A650}" dt="2024-12-16T15:54:02.981" v="58877"/>
          <ac:spMkLst>
            <pc:docMk/>
            <pc:sldMk cId="3145246505" sldId="285"/>
            <ac:spMk id="205" creationId="{261D4DCA-5249-374C-DC89-5FA224B1AEAF}"/>
          </ac:spMkLst>
        </pc:spChg>
        <pc:spChg chg="add del mod">
          <ac:chgData name="Oğuz Öztekin" userId="33c0df0f-d5fe-4bda-8f43-141ad7af67e3" providerId="ADAL" clId="{48B824AD-1B2A-47A8-8D92-6FE6E622A650}" dt="2024-12-16T15:54:02.983" v="58884"/>
          <ac:spMkLst>
            <pc:docMk/>
            <pc:sldMk cId="3145246505" sldId="285"/>
            <ac:spMk id="206" creationId="{502479AE-8804-5F29-8F40-C38FEB63E25C}"/>
          </ac:spMkLst>
        </pc:spChg>
        <pc:spChg chg="add del mod">
          <ac:chgData name="Oğuz Öztekin" userId="33c0df0f-d5fe-4bda-8f43-141ad7af67e3" providerId="ADAL" clId="{48B824AD-1B2A-47A8-8D92-6FE6E622A650}" dt="2024-12-16T15:54:02.982" v="58880"/>
          <ac:spMkLst>
            <pc:docMk/>
            <pc:sldMk cId="3145246505" sldId="285"/>
            <ac:spMk id="207" creationId="{7B8F3790-0B92-BCBF-4B4B-B02CF7BF4705}"/>
          </ac:spMkLst>
        </pc:spChg>
        <pc:spChg chg="add del mod">
          <ac:chgData name="Oğuz Öztekin" userId="33c0df0f-d5fe-4bda-8f43-141ad7af67e3" providerId="ADAL" clId="{48B824AD-1B2A-47A8-8D92-6FE6E622A650}" dt="2024-12-16T15:54:02.986" v="58892"/>
          <ac:spMkLst>
            <pc:docMk/>
            <pc:sldMk cId="3145246505" sldId="285"/>
            <ac:spMk id="208" creationId="{11A17108-4E6E-4A34-95E8-46ECE327BDCF}"/>
          </ac:spMkLst>
        </pc:spChg>
        <pc:spChg chg="add del mod">
          <ac:chgData name="Oğuz Öztekin" userId="33c0df0f-d5fe-4bda-8f43-141ad7af67e3" providerId="ADAL" clId="{48B824AD-1B2A-47A8-8D92-6FE6E622A650}" dt="2024-12-16T15:54:02.988" v="58898"/>
          <ac:spMkLst>
            <pc:docMk/>
            <pc:sldMk cId="3145246505" sldId="285"/>
            <ac:spMk id="209" creationId="{46089F97-1E27-B0D9-261B-4AEB9F65050E}"/>
          </ac:spMkLst>
        </pc:spChg>
        <pc:spChg chg="add del mod">
          <ac:chgData name="Oğuz Öztekin" userId="33c0df0f-d5fe-4bda-8f43-141ad7af67e3" providerId="ADAL" clId="{48B824AD-1B2A-47A8-8D92-6FE6E622A650}" dt="2024-12-16T15:54:02.987" v="58894"/>
          <ac:spMkLst>
            <pc:docMk/>
            <pc:sldMk cId="3145246505" sldId="285"/>
            <ac:spMk id="210" creationId="{077B1E62-AACE-912D-FCA7-44D868F28088}"/>
          </ac:spMkLst>
        </pc:spChg>
        <pc:spChg chg="add del mod">
          <ac:chgData name="Oğuz Öztekin" userId="33c0df0f-d5fe-4bda-8f43-141ad7af67e3" providerId="ADAL" clId="{48B824AD-1B2A-47A8-8D92-6FE6E622A650}" dt="2024-12-16T15:54:02.985" v="58888"/>
          <ac:spMkLst>
            <pc:docMk/>
            <pc:sldMk cId="3145246505" sldId="285"/>
            <ac:spMk id="211" creationId="{0D560522-ADA5-E5EA-70DF-8C00C41366FF}"/>
          </ac:spMkLst>
        </pc:spChg>
        <pc:spChg chg="add del mod">
          <ac:chgData name="Oğuz Öztekin" userId="33c0df0f-d5fe-4bda-8f43-141ad7af67e3" providerId="ADAL" clId="{48B824AD-1B2A-47A8-8D92-6FE6E622A650}" dt="2024-12-16T15:54:02.984" v="58887"/>
          <ac:spMkLst>
            <pc:docMk/>
            <pc:sldMk cId="3145246505" sldId="285"/>
            <ac:spMk id="212" creationId="{53BC1213-1BC5-F762-CBDE-7FAA3EFAD534}"/>
          </ac:spMkLst>
        </pc:spChg>
        <pc:spChg chg="add del mod">
          <ac:chgData name="Oğuz Öztekin" userId="33c0df0f-d5fe-4bda-8f43-141ad7af67e3" providerId="ADAL" clId="{48B824AD-1B2A-47A8-8D92-6FE6E622A650}" dt="2024-12-16T15:54:02.987" v="58895"/>
          <ac:spMkLst>
            <pc:docMk/>
            <pc:sldMk cId="3145246505" sldId="285"/>
            <ac:spMk id="213" creationId="{8D5070B7-A7FA-E92E-8473-60E76759A9C5}"/>
          </ac:spMkLst>
        </pc:spChg>
        <pc:spChg chg="add del mod">
          <ac:chgData name="Oğuz Öztekin" userId="33c0df0f-d5fe-4bda-8f43-141ad7af67e3" providerId="ADAL" clId="{48B824AD-1B2A-47A8-8D92-6FE6E622A650}" dt="2024-12-16T15:54:02.988" v="58899"/>
          <ac:spMkLst>
            <pc:docMk/>
            <pc:sldMk cId="3145246505" sldId="285"/>
            <ac:spMk id="214" creationId="{473379CB-8099-8903-683A-9771996EF822}"/>
          </ac:spMkLst>
        </pc:spChg>
        <pc:spChg chg="add del mod">
          <ac:chgData name="Oğuz Öztekin" userId="33c0df0f-d5fe-4bda-8f43-141ad7af67e3" providerId="ADAL" clId="{48B824AD-1B2A-47A8-8D92-6FE6E622A650}" dt="2024-12-16T15:54:02.986" v="58893"/>
          <ac:spMkLst>
            <pc:docMk/>
            <pc:sldMk cId="3145246505" sldId="285"/>
            <ac:spMk id="215" creationId="{A69C2C78-048C-CA5C-18E0-092755515D82}"/>
          </ac:spMkLst>
        </pc:spChg>
        <pc:spChg chg="add del mod">
          <ac:chgData name="Oğuz Öztekin" userId="33c0df0f-d5fe-4bda-8f43-141ad7af67e3" providerId="ADAL" clId="{48B824AD-1B2A-47A8-8D92-6FE6E622A650}" dt="2024-12-16T15:54:02.985" v="58889"/>
          <ac:spMkLst>
            <pc:docMk/>
            <pc:sldMk cId="3145246505" sldId="285"/>
            <ac:spMk id="216" creationId="{B924493D-17D3-9306-5648-BB10D7976AB9}"/>
          </ac:spMkLst>
        </pc:spChg>
        <pc:spChg chg="add del mod">
          <ac:chgData name="Oğuz Öztekin" userId="33c0df0f-d5fe-4bda-8f43-141ad7af67e3" providerId="ADAL" clId="{48B824AD-1B2A-47A8-8D92-6FE6E622A650}" dt="2024-12-16T15:54:02.988" v="58900"/>
          <ac:spMkLst>
            <pc:docMk/>
            <pc:sldMk cId="3145246505" sldId="285"/>
            <ac:spMk id="217" creationId="{1EC29C8C-6637-03C1-97BD-8A1DDA00C2DC}"/>
          </ac:spMkLst>
        </pc:spChg>
        <pc:spChg chg="add del mod">
          <ac:chgData name="Oğuz Öztekin" userId="33c0df0f-d5fe-4bda-8f43-141ad7af67e3" providerId="ADAL" clId="{48B824AD-1B2A-47A8-8D92-6FE6E622A650}" dt="2024-12-16T15:54:02.985" v="58890"/>
          <ac:spMkLst>
            <pc:docMk/>
            <pc:sldMk cId="3145246505" sldId="285"/>
            <ac:spMk id="218" creationId="{1F1BF021-C015-C2FC-E06E-15D4CBBE7F5C}"/>
          </ac:spMkLst>
        </pc:spChg>
        <pc:spChg chg="add del mod">
          <ac:chgData name="Oğuz Öztekin" userId="33c0df0f-d5fe-4bda-8f43-141ad7af67e3" providerId="ADAL" clId="{48B824AD-1B2A-47A8-8D92-6FE6E622A650}" dt="2024-12-16T15:54:02.987" v="58897"/>
          <ac:spMkLst>
            <pc:docMk/>
            <pc:sldMk cId="3145246505" sldId="285"/>
            <ac:spMk id="219" creationId="{22519784-EBD7-71DA-A89A-0954B57A294D}"/>
          </ac:spMkLst>
        </pc:spChg>
        <pc:spChg chg="add del mod">
          <ac:chgData name="Oğuz Öztekin" userId="33c0df0f-d5fe-4bda-8f43-141ad7af67e3" providerId="ADAL" clId="{48B824AD-1B2A-47A8-8D92-6FE6E622A650}" dt="2024-12-16T15:54:02.986" v="58891"/>
          <ac:spMkLst>
            <pc:docMk/>
            <pc:sldMk cId="3145246505" sldId="285"/>
            <ac:spMk id="220" creationId="{98DD76EB-BE28-F12C-374C-352BF0C6DDD9}"/>
          </ac:spMkLst>
        </pc:spChg>
        <pc:spChg chg="add del mod">
          <ac:chgData name="Oğuz Öztekin" userId="33c0df0f-d5fe-4bda-8f43-141ad7af67e3" providerId="ADAL" clId="{48B824AD-1B2A-47A8-8D92-6FE6E622A650}" dt="2024-12-16T15:54:02.987" v="58896"/>
          <ac:spMkLst>
            <pc:docMk/>
            <pc:sldMk cId="3145246505" sldId="285"/>
            <ac:spMk id="221" creationId="{D42829C6-5D16-CE74-69F6-707E1749C0C8}"/>
          </ac:spMkLst>
        </pc:spChg>
        <pc:spChg chg="add del mod modVis">
          <ac:chgData name="Oğuz Öztekin" userId="33c0df0f-d5fe-4bda-8f43-141ad7af67e3" providerId="ADAL" clId="{48B824AD-1B2A-47A8-8D92-6FE6E622A650}" dt="2024-12-16T15:54:02.071" v="58837"/>
          <ac:spMkLst>
            <pc:docMk/>
            <pc:sldMk cId="3145246505" sldId="285"/>
            <ac:spMk id="222" creationId="{5006A8DD-5914-354C-EDDC-86B4E5A2D048}"/>
          </ac:spMkLst>
        </pc:spChg>
        <pc:spChg chg="add del mod">
          <ac:chgData name="Oğuz Öztekin" userId="33c0df0f-d5fe-4bda-8f43-141ad7af67e3" providerId="ADAL" clId="{48B824AD-1B2A-47A8-8D92-6FE6E622A650}" dt="2024-12-16T15:55:50.921" v="70579"/>
          <ac:spMkLst>
            <pc:docMk/>
            <pc:sldMk cId="3145246505" sldId="285"/>
            <ac:spMk id="223" creationId="{CFD180EE-DC1D-7A7B-5EE7-13462184451E}"/>
          </ac:spMkLst>
        </pc:spChg>
        <pc:spChg chg="add del mod">
          <ac:chgData name="Oğuz Öztekin" userId="33c0df0f-d5fe-4bda-8f43-141ad7af67e3" providerId="ADAL" clId="{48B824AD-1B2A-47A8-8D92-6FE6E622A650}" dt="2024-12-16T15:55:50.927" v="70601"/>
          <ac:spMkLst>
            <pc:docMk/>
            <pc:sldMk cId="3145246505" sldId="285"/>
            <ac:spMk id="256" creationId="{51808FAE-506D-3172-2396-9BFBBA8DBEC6}"/>
          </ac:spMkLst>
        </pc:spChg>
        <pc:spChg chg="add del mod">
          <ac:chgData name="Oğuz Öztekin" userId="33c0df0f-d5fe-4bda-8f43-141ad7af67e3" providerId="ADAL" clId="{48B824AD-1B2A-47A8-8D92-6FE6E622A650}" dt="2024-12-16T15:55:50.933" v="70624"/>
          <ac:spMkLst>
            <pc:docMk/>
            <pc:sldMk cId="3145246505" sldId="285"/>
            <ac:spMk id="257" creationId="{BEE18D06-D61D-18AC-855F-41922E1C1BA9}"/>
          </ac:spMkLst>
        </pc:spChg>
        <pc:spChg chg="add del mod">
          <ac:chgData name="Oğuz Öztekin" userId="33c0df0f-d5fe-4bda-8f43-141ad7af67e3" providerId="ADAL" clId="{48B824AD-1B2A-47A8-8D92-6FE6E622A650}" dt="2024-12-16T15:54:02.970" v="58842"/>
          <ac:spMkLst>
            <pc:docMk/>
            <pc:sldMk cId="3145246505" sldId="285"/>
            <ac:spMk id="258" creationId="{B964F57E-6B4B-6EEA-B0FD-9E15E4A326D0}"/>
          </ac:spMkLst>
        </pc:spChg>
        <pc:spChg chg="add del mod">
          <ac:chgData name="Oğuz Öztekin" userId="33c0df0f-d5fe-4bda-8f43-141ad7af67e3" providerId="ADAL" clId="{48B824AD-1B2A-47A8-8D92-6FE6E622A650}" dt="2024-12-16T15:55:50.926" v="70600"/>
          <ac:spMkLst>
            <pc:docMk/>
            <pc:sldMk cId="3145246505" sldId="285"/>
            <ac:spMk id="259" creationId="{DE2E8BD9-2894-C746-2A74-E72BF5FDF05A}"/>
          </ac:spMkLst>
        </pc:spChg>
        <pc:spChg chg="add del mod">
          <ac:chgData name="Oğuz Öztekin" userId="33c0df0f-d5fe-4bda-8f43-141ad7af67e3" providerId="ADAL" clId="{48B824AD-1B2A-47A8-8D92-6FE6E622A650}" dt="2024-12-16T15:55:50.933" v="70623"/>
          <ac:spMkLst>
            <pc:docMk/>
            <pc:sldMk cId="3145246505" sldId="285"/>
            <ac:spMk id="260" creationId="{BA096BBC-D071-E783-714E-AA65BC3A1CED}"/>
          </ac:spMkLst>
        </pc:spChg>
        <pc:spChg chg="add del mod">
          <ac:chgData name="Oğuz Öztekin" userId="33c0df0f-d5fe-4bda-8f43-141ad7af67e3" providerId="ADAL" clId="{48B824AD-1B2A-47A8-8D92-6FE6E622A650}" dt="2024-12-16T15:55:50.932" v="70622"/>
          <ac:spMkLst>
            <pc:docMk/>
            <pc:sldMk cId="3145246505" sldId="285"/>
            <ac:spMk id="261" creationId="{C9FCF85C-028B-18F5-C186-A027E6BFC3AB}"/>
          </ac:spMkLst>
        </pc:spChg>
        <pc:spChg chg="add del mod">
          <ac:chgData name="Oğuz Öztekin" userId="33c0df0f-d5fe-4bda-8f43-141ad7af67e3" providerId="ADAL" clId="{48B824AD-1B2A-47A8-8D92-6FE6E622A650}" dt="2024-12-16T15:55:50.932" v="70621"/>
          <ac:spMkLst>
            <pc:docMk/>
            <pc:sldMk cId="3145246505" sldId="285"/>
            <ac:spMk id="262" creationId="{0E8044B4-5B35-803C-0273-5EF4C8C8CC85}"/>
          </ac:spMkLst>
        </pc:spChg>
        <pc:spChg chg="add del mod">
          <ac:chgData name="Oğuz Öztekin" userId="33c0df0f-d5fe-4bda-8f43-141ad7af67e3" providerId="ADAL" clId="{48B824AD-1B2A-47A8-8D92-6FE6E622A650}" dt="2024-12-16T15:55:50.932" v="70620"/>
          <ac:spMkLst>
            <pc:docMk/>
            <pc:sldMk cId="3145246505" sldId="285"/>
            <ac:spMk id="263" creationId="{023651C0-C192-2EB3-0B77-DDCCE4D50958}"/>
          </ac:spMkLst>
        </pc:spChg>
        <pc:spChg chg="add del mod">
          <ac:chgData name="Oğuz Öztekin" userId="33c0df0f-d5fe-4bda-8f43-141ad7af67e3" providerId="ADAL" clId="{48B824AD-1B2A-47A8-8D92-6FE6E622A650}" dt="2024-12-16T15:55:50.931" v="70617"/>
          <ac:spMkLst>
            <pc:docMk/>
            <pc:sldMk cId="3145246505" sldId="285"/>
            <ac:spMk id="264" creationId="{E0EECC28-F879-9BFE-38A9-BFF5F92778AD}"/>
          </ac:spMkLst>
        </pc:spChg>
        <pc:spChg chg="add del mod">
          <ac:chgData name="Oğuz Öztekin" userId="33c0df0f-d5fe-4bda-8f43-141ad7af67e3" providerId="ADAL" clId="{48B824AD-1B2A-47A8-8D92-6FE6E622A650}" dt="2024-12-16T15:54:02.969" v="58840"/>
          <ac:spMkLst>
            <pc:docMk/>
            <pc:sldMk cId="3145246505" sldId="285"/>
            <ac:spMk id="265" creationId="{83297AE0-16E5-E437-904C-BB7FCEC4CEA0}"/>
          </ac:spMkLst>
        </pc:spChg>
        <pc:spChg chg="add del mod">
          <ac:chgData name="Oğuz Öztekin" userId="33c0df0f-d5fe-4bda-8f43-141ad7af67e3" providerId="ADAL" clId="{48B824AD-1B2A-47A8-8D92-6FE6E622A650}" dt="2024-12-16T15:55:50.926" v="70599"/>
          <ac:spMkLst>
            <pc:docMk/>
            <pc:sldMk cId="3145246505" sldId="285"/>
            <ac:spMk id="266" creationId="{F8A452B2-AB65-838D-1839-B6C52E90DDFF}"/>
          </ac:spMkLst>
        </pc:spChg>
        <pc:spChg chg="add del mod">
          <ac:chgData name="Oğuz Öztekin" userId="33c0df0f-d5fe-4bda-8f43-141ad7af67e3" providerId="ADAL" clId="{48B824AD-1B2A-47A8-8D92-6FE6E622A650}" dt="2024-12-16T15:55:50.930" v="70615"/>
          <ac:spMkLst>
            <pc:docMk/>
            <pc:sldMk cId="3145246505" sldId="285"/>
            <ac:spMk id="267" creationId="{6035BE5F-5173-B839-DAF8-0D836E8ED4A0}"/>
          </ac:spMkLst>
        </pc:spChg>
        <pc:spChg chg="del">
          <ac:chgData name="Oğuz Öztekin" userId="33c0df0f-d5fe-4bda-8f43-141ad7af67e3" providerId="ADAL" clId="{48B824AD-1B2A-47A8-8D92-6FE6E622A650}" dt="2024-12-16T15:51:44.824" v="53485"/>
          <ac:spMkLst>
            <pc:docMk/>
            <pc:sldMk cId="3145246505" sldId="285"/>
            <ac:spMk id="268" creationId="{1A7D3C56-F14E-6DD4-A304-BE2CBD29B7BD}"/>
          </ac:spMkLst>
        </pc:spChg>
        <pc:spChg chg="del">
          <ac:chgData name="Oğuz Öztekin" userId="33c0df0f-d5fe-4bda-8f43-141ad7af67e3" providerId="ADAL" clId="{48B824AD-1B2A-47A8-8D92-6FE6E622A650}" dt="2024-12-16T15:51:44.824" v="53484"/>
          <ac:spMkLst>
            <pc:docMk/>
            <pc:sldMk cId="3145246505" sldId="285"/>
            <ac:spMk id="269" creationId="{F70CDD6E-80E7-CA91-3CD1-5F9318853A5C}"/>
          </ac:spMkLst>
        </pc:spChg>
        <pc:spChg chg="del">
          <ac:chgData name="Oğuz Öztekin" userId="33c0df0f-d5fe-4bda-8f43-141ad7af67e3" providerId="ADAL" clId="{48B824AD-1B2A-47A8-8D92-6FE6E622A650}" dt="2024-12-16T15:51:44.823" v="53482"/>
          <ac:spMkLst>
            <pc:docMk/>
            <pc:sldMk cId="3145246505" sldId="285"/>
            <ac:spMk id="270" creationId="{7B535FE0-7516-D3EC-7956-D298E3FF5EA8}"/>
          </ac:spMkLst>
        </pc:spChg>
        <pc:spChg chg="del">
          <ac:chgData name="Oğuz Öztekin" userId="33c0df0f-d5fe-4bda-8f43-141ad7af67e3" providerId="ADAL" clId="{48B824AD-1B2A-47A8-8D92-6FE6E622A650}" dt="2024-12-16T15:51:44.823" v="53481"/>
          <ac:spMkLst>
            <pc:docMk/>
            <pc:sldMk cId="3145246505" sldId="285"/>
            <ac:spMk id="271" creationId="{BB61B6C0-FA94-029D-E3FD-7BB58C6FC608}"/>
          </ac:spMkLst>
        </pc:spChg>
        <pc:spChg chg="del">
          <ac:chgData name="Oğuz Öztekin" userId="33c0df0f-d5fe-4bda-8f43-141ad7af67e3" providerId="ADAL" clId="{48B824AD-1B2A-47A8-8D92-6FE6E622A650}" dt="2024-12-16T15:51:44.822" v="53479"/>
          <ac:spMkLst>
            <pc:docMk/>
            <pc:sldMk cId="3145246505" sldId="285"/>
            <ac:spMk id="272" creationId="{423E240D-DFD5-0BED-AA73-06531A1D1C0E}"/>
          </ac:spMkLst>
        </pc:spChg>
        <pc:spChg chg="del">
          <ac:chgData name="Oğuz Öztekin" userId="33c0df0f-d5fe-4bda-8f43-141ad7af67e3" providerId="ADAL" clId="{48B824AD-1B2A-47A8-8D92-6FE6E622A650}" dt="2024-12-16T15:51:44.822" v="53478"/>
          <ac:spMkLst>
            <pc:docMk/>
            <pc:sldMk cId="3145246505" sldId="285"/>
            <ac:spMk id="273" creationId="{030E2A62-03F0-2F70-750C-80CDDCA2D963}"/>
          </ac:spMkLst>
        </pc:spChg>
        <pc:spChg chg="del">
          <ac:chgData name="Oğuz Öztekin" userId="33c0df0f-d5fe-4bda-8f43-141ad7af67e3" providerId="ADAL" clId="{48B824AD-1B2A-47A8-8D92-6FE6E622A650}" dt="2024-12-16T15:51:44.821" v="53476"/>
          <ac:spMkLst>
            <pc:docMk/>
            <pc:sldMk cId="3145246505" sldId="285"/>
            <ac:spMk id="274" creationId="{1C73D579-8FFF-F4C6-B1E2-85CE7BD4AAB8}"/>
          </ac:spMkLst>
        </pc:spChg>
        <pc:spChg chg="del">
          <ac:chgData name="Oğuz Öztekin" userId="33c0df0f-d5fe-4bda-8f43-141ad7af67e3" providerId="ADAL" clId="{48B824AD-1B2A-47A8-8D92-6FE6E622A650}" dt="2024-12-16T15:51:44.821" v="53475"/>
          <ac:spMkLst>
            <pc:docMk/>
            <pc:sldMk cId="3145246505" sldId="285"/>
            <ac:spMk id="275" creationId="{812E279C-A00F-DCD0-1667-38369A19BFBB}"/>
          </ac:spMkLst>
        </pc:spChg>
        <pc:spChg chg="del">
          <ac:chgData name="Oğuz Öztekin" userId="33c0df0f-d5fe-4bda-8f43-141ad7af67e3" providerId="ADAL" clId="{48B824AD-1B2A-47A8-8D92-6FE6E622A650}" dt="2024-12-16T15:51:44.820" v="53473"/>
          <ac:spMkLst>
            <pc:docMk/>
            <pc:sldMk cId="3145246505" sldId="285"/>
            <ac:spMk id="276" creationId="{E8F13BC7-CE07-7BDA-FE06-F58AF7393B3E}"/>
          </ac:spMkLst>
        </pc:spChg>
        <pc:spChg chg="del">
          <ac:chgData name="Oğuz Öztekin" userId="33c0df0f-d5fe-4bda-8f43-141ad7af67e3" providerId="ADAL" clId="{48B824AD-1B2A-47A8-8D92-6FE6E622A650}" dt="2024-12-16T15:51:44.820" v="53472"/>
          <ac:spMkLst>
            <pc:docMk/>
            <pc:sldMk cId="3145246505" sldId="285"/>
            <ac:spMk id="277" creationId="{BB690412-20D6-B279-7599-241507397911}"/>
          </ac:spMkLst>
        </pc:spChg>
        <pc:spChg chg="del">
          <ac:chgData name="Oğuz Öztekin" userId="33c0df0f-d5fe-4bda-8f43-141ad7af67e3" providerId="ADAL" clId="{48B824AD-1B2A-47A8-8D92-6FE6E622A650}" dt="2024-12-16T15:51:44.819" v="53470"/>
          <ac:spMkLst>
            <pc:docMk/>
            <pc:sldMk cId="3145246505" sldId="285"/>
            <ac:spMk id="278" creationId="{A1691935-7FBB-B5B6-A818-52DA9784B334}"/>
          </ac:spMkLst>
        </pc:spChg>
        <pc:spChg chg="del">
          <ac:chgData name="Oğuz Öztekin" userId="33c0df0f-d5fe-4bda-8f43-141ad7af67e3" providerId="ADAL" clId="{48B824AD-1B2A-47A8-8D92-6FE6E622A650}" dt="2024-12-16T15:51:44.819" v="53469"/>
          <ac:spMkLst>
            <pc:docMk/>
            <pc:sldMk cId="3145246505" sldId="285"/>
            <ac:spMk id="279" creationId="{0DD1D57D-4BAC-967A-1E8E-C0C0EC805249}"/>
          </ac:spMkLst>
        </pc:spChg>
        <pc:spChg chg="del">
          <ac:chgData name="Oğuz Öztekin" userId="33c0df0f-d5fe-4bda-8f43-141ad7af67e3" providerId="ADAL" clId="{48B824AD-1B2A-47A8-8D92-6FE6E622A650}" dt="2024-12-16T15:51:44.818" v="53467"/>
          <ac:spMkLst>
            <pc:docMk/>
            <pc:sldMk cId="3145246505" sldId="285"/>
            <ac:spMk id="280" creationId="{F7BE12EA-E723-2B3E-20E6-6CE0350595BE}"/>
          </ac:spMkLst>
        </pc:spChg>
        <pc:spChg chg="del">
          <ac:chgData name="Oğuz Öztekin" userId="33c0df0f-d5fe-4bda-8f43-141ad7af67e3" providerId="ADAL" clId="{48B824AD-1B2A-47A8-8D92-6FE6E622A650}" dt="2024-12-16T15:51:44.818" v="53466"/>
          <ac:spMkLst>
            <pc:docMk/>
            <pc:sldMk cId="3145246505" sldId="285"/>
            <ac:spMk id="281" creationId="{A2F8D6DC-E28B-F11F-07D9-AE9908F83F83}"/>
          </ac:spMkLst>
        </pc:spChg>
        <pc:spChg chg="del">
          <ac:chgData name="Oğuz Öztekin" userId="33c0df0f-d5fe-4bda-8f43-141ad7af67e3" providerId="ADAL" clId="{48B824AD-1B2A-47A8-8D92-6FE6E622A650}" dt="2024-12-16T15:51:44.817" v="53464"/>
          <ac:spMkLst>
            <pc:docMk/>
            <pc:sldMk cId="3145246505" sldId="285"/>
            <ac:spMk id="282" creationId="{77E0D0F1-955F-EC01-BCF9-4959A4E31E97}"/>
          </ac:spMkLst>
        </pc:spChg>
        <pc:spChg chg="del">
          <ac:chgData name="Oğuz Öztekin" userId="33c0df0f-d5fe-4bda-8f43-141ad7af67e3" providerId="ADAL" clId="{48B824AD-1B2A-47A8-8D92-6FE6E622A650}" dt="2024-12-16T15:51:44.817" v="53463"/>
          <ac:spMkLst>
            <pc:docMk/>
            <pc:sldMk cId="3145246505" sldId="285"/>
            <ac:spMk id="283" creationId="{29A83BE0-62E3-4901-C033-3F2785247A1A}"/>
          </ac:spMkLst>
        </pc:spChg>
        <pc:spChg chg="del">
          <ac:chgData name="Oğuz Öztekin" userId="33c0df0f-d5fe-4bda-8f43-141ad7af67e3" providerId="ADAL" clId="{48B824AD-1B2A-47A8-8D92-6FE6E622A650}" dt="2024-12-16T15:51:44.816" v="53461"/>
          <ac:spMkLst>
            <pc:docMk/>
            <pc:sldMk cId="3145246505" sldId="285"/>
            <ac:spMk id="284" creationId="{5F13ACF6-1AAB-CD2C-3FEE-ADEA9425C313}"/>
          </ac:spMkLst>
        </pc:spChg>
        <pc:spChg chg="del">
          <ac:chgData name="Oğuz Öztekin" userId="33c0df0f-d5fe-4bda-8f43-141ad7af67e3" providerId="ADAL" clId="{48B824AD-1B2A-47A8-8D92-6FE6E622A650}" dt="2024-12-16T15:51:44.816" v="53460"/>
          <ac:spMkLst>
            <pc:docMk/>
            <pc:sldMk cId="3145246505" sldId="285"/>
            <ac:spMk id="285" creationId="{CF5BF099-1DAC-1A8E-2786-D5316397EC17}"/>
          </ac:spMkLst>
        </pc:spChg>
        <pc:spChg chg="del">
          <ac:chgData name="Oğuz Öztekin" userId="33c0df0f-d5fe-4bda-8f43-141ad7af67e3" providerId="ADAL" clId="{48B824AD-1B2A-47A8-8D92-6FE6E622A650}" dt="2024-12-16T15:51:44.815" v="53458"/>
          <ac:spMkLst>
            <pc:docMk/>
            <pc:sldMk cId="3145246505" sldId="285"/>
            <ac:spMk id="286" creationId="{67A8AF6A-C918-E078-91F9-8C406C052A98}"/>
          </ac:spMkLst>
        </pc:spChg>
        <pc:spChg chg="del">
          <ac:chgData name="Oğuz Öztekin" userId="33c0df0f-d5fe-4bda-8f43-141ad7af67e3" providerId="ADAL" clId="{48B824AD-1B2A-47A8-8D92-6FE6E622A650}" dt="2024-12-16T15:51:44.814" v="53457"/>
          <ac:spMkLst>
            <pc:docMk/>
            <pc:sldMk cId="3145246505" sldId="285"/>
            <ac:spMk id="287" creationId="{B66B5E93-ABDE-5893-B120-23900E9C1B5B}"/>
          </ac:spMkLst>
        </pc:spChg>
        <pc:spChg chg="add del mod">
          <ac:chgData name="Oğuz Öztekin" userId="33c0df0f-d5fe-4bda-8f43-141ad7af67e3" providerId="ADAL" clId="{48B824AD-1B2A-47A8-8D92-6FE6E622A650}" dt="2024-12-16T15:55:50.948" v="70678"/>
          <ac:spMkLst>
            <pc:docMk/>
            <pc:sldMk cId="3145246505" sldId="285"/>
            <ac:spMk id="352" creationId="{5AAC5C83-44A0-6163-F469-6F8775A21EF1}"/>
          </ac:spMkLst>
        </pc:spChg>
        <pc:spChg chg="add del mod">
          <ac:chgData name="Oğuz Öztekin" userId="33c0df0f-d5fe-4bda-8f43-141ad7af67e3" providerId="ADAL" clId="{48B824AD-1B2A-47A8-8D92-6FE6E622A650}" dt="2024-12-16T15:55:50.949" v="70682"/>
          <ac:spMkLst>
            <pc:docMk/>
            <pc:sldMk cId="3145246505" sldId="285"/>
            <ac:spMk id="353" creationId="{A1A9E7AC-D5BD-343D-4597-A75CBD1EA132}"/>
          </ac:spMkLst>
        </pc:spChg>
        <pc:spChg chg="add del mod">
          <ac:chgData name="Oğuz Öztekin" userId="33c0df0f-d5fe-4bda-8f43-141ad7af67e3" providerId="ADAL" clId="{48B824AD-1B2A-47A8-8D92-6FE6E622A650}" dt="2024-12-16T15:55:50.948" v="70677"/>
          <ac:spMkLst>
            <pc:docMk/>
            <pc:sldMk cId="3145246505" sldId="285"/>
            <ac:spMk id="354" creationId="{6F0E5253-37D8-40B5-11B7-C1686712F99A}"/>
          </ac:spMkLst>
        </pc:spChg>
        <pc:spChg chg="add del mod">
          <ac:chgData name="Oğuz Öztekin" userId="33c0df0f-d5fe-4bda-8f43-141ad7af67e3" providerId="ADAL" clId="{48B824AD-1B2A-47A8-8D92-6FE6E622A650}" dt="2024-12-16T15:55:50.949" v="70681"/>
          <ac:spMkLst>
            <pc:docMk/>
            <pc:sldMk cId="3145246505" sldId="285"/>
            <ac:spMk id="355" creationId="{7E6BFBAF-4FA6-013C-793C-38B50C47D0C3}"/>
          </ac:spMkLst>
        </pc:spChg>
        <pc:spChg chg="add del mod">
          <ac:chgData name="Oğuz Öztekin" userId="33c0df0f-d5fe-4bda-8f43-141ad7af67e3" providerId="ADAL" clId="{48B824AD-1B2A-47A8-8D92-6FE6E622A650}" dt="2024-12-16T15:55:50.950" v="70684"/>
          <ac:spMkLst>
            <pc:docMk/>
            <pc:sldMk cId="3145246505" sldId="285"/>
            <ac:spMk id="356" creationId="{041846CB-CCB6-2B98-BFF1-047C00A251B3}"/>
          </ac:spMkLst>
        </pc:spChg>
        <pc:spChg chg="add del mod">
          <ac:chgData name="Oğuz Öztekin" userId="33c0df0f-d5fe-4bda-8f43-141ad7af67e3" providerId="ADAL" clId="{48B824AD-1B2A-47A8-8D92-6FE6E622A650}" dt="2024-12-16T15:55:50.951" v="70690"/>
          <ac:spMkLst>
            <pc:docMk/>
            <pc:sldMk cId="3145246505" sldId="285"/>
            <ac:spMk id="357" creationId="{14C6F4CE-99C1-BAE3-F8DE-933FF5405C61}"/>
          </ac:spMkLst>
        </pc:spChg>
        <pc:spChg chg="add del mod">
          <ac:chgData name="Oğuz Öztekin" userId="33c0df0f-d5fe-4bda-8f43-141ad7af67e3" providerId="ADAL" clId="{48B824AD-1B2A-47A8-8D92-6FE6E622A650}" dt="2024-12-16T15:54:02.973" v="58852"/>
          <ac:spMkLst>
            <pc:docMk/>
            <pc:sldMk cId="3145246505" sldId="285"/>
            <ac:spMk id="358" creationId="{4DBD3687-07E2-15EB-802E-DB651CB8737D}"/>
          </ac:spMkLst>
        </pc:spChg>
        <pc:spChg chg="add del mod">
          <ac:chgData name="Oğuz Öztekin" userId="33c0df0f-d5fe-4bda-8f43-141ad7af67e3" providerId="ADAL" clId="{48B824AD-1B2A-47A8-8D92-6FE6E622A650}" dt="2024-12-16T15:55:50.951" v="70691"/>
          <ac:spMkLst>
            <pc:docMk/>
            <pc:sldMk cId="3145246505" sldId="285"/>
            <ac:spMk id="359" creationId="{6B6D103A-23A2-B23E-3016-C36FBB18F17C}"/>
          </ac:spMkLst>
        </pc:spChg>
        <pc:spChg chg="add del mod">
          <ac:chgData name="Oğuz Öztekin" userId="33c0df0f-d5fe-4bda-8f43-141ad7af67e3" providerId="ADAL" clId="{48B824AD-1B2A-47A8-8D92-6FE6E622A650}" dt="2024-12-16T15:55:50.951" v="70688"/>
          <ac:spMkLst>
            <pc:docMk/>
            <pc:sldMk cId="3145246505" sldId="285"/>
            <ac:spMk id="360" creationId="{C99AEB1D-3A38-2A89-8AB1-10579970E553}"/>
          </ac:spMkLst>
        </pc:spChg>
        <pc:spChg chg="add del mod">
          <ac:chgData name="Oğuz Öztekin" userId="33c0df0f-d5fe-4bda-8f43-141ad7af67e3" providerId="ADAL" clId="{48B824AD-1B2A-47A8-8D92-6FE6E622A650}" dt="2024-12-16T15:55:50.951" v="70689"/>
          <ac:spMkLst>
            <pc:docMk/>
            <pc:sldMk cId="3145246505" sldId="285"/>
            <ac:spMk id="361" creationId="{C24120FA-115E-B982-5C06-35B2BE33BB60}"/>
          </ac:spMkLst>
        </pc:spChg>
        <pc:spChg chg="add del mod">
          <ac:chgData name="Oğuz Öztekin" userId="33c0df0f-d5fe-4bda-8f43-141ad7af67e3" providerId="ADAL" clId="{48B824AD-1B2A-47A8-8D92-6FE6E622A650}" dt="2024-12-16T15:55:50.950" v="70686"/>
          <ac:spMkLst>
            <pc:docMk/>
            <pc:sldMk cId="3145246505" sldId="285"/>
            <ac:spMk id="362" creationId="{020D936F-2BCC-8630-98F2-2CDEBBD91A69}"/>
          </ac:spMkLst>
        </pc:spChg>
        <pc:spChg chg="add del mod">
          <ac:chgData name="Oğuz Öztekin" userId="33c0df0f-d5fe-4bda-8f43-141ad7af67e3" providerId="ADAL" clId="{48B824AD-1B2A-47A8-8D92-6FE6E622A650}" dt="2024-12-16T15:55:50.950" v="70685"/>
          <ac:spMkLst>
            <pc:docMk/>
            <pc:sldMk cId="3145246505" sldId="285"/>
            <ac:spMk id="363" creationId="{F6C2253E-F267-E241-BDC7-3DA61A4325D2}"/>
          </ac:spMkLst>
        </pc:spChg>
        <pc:spChg chg="add del mod">
          <ac:chgData name="Oğuz Öztekin" userId="33c0df0f-d5fe-4bda-8f43-141ad7af67e3" providerId="ADAL" clId="{48B824AD-1B2A-47A8-8D92-6FE6E622A650}" dt="2024-12-16T15:55:50.952" v="70692"/>
          <ac:spMkLst>
            <pc:docMk/>
            <pc:sldMk cId="3145246505" sldId="285"/>
            <ac:spMk id="364" creationId="{A27902F9-E5CD-7562-473B-56BA5260532C}"/>
          </ac:spMkLst>
        </pc:spChg>
        <pc:spChg chg="add del mod">
          <ac:chgData name="Oğuz Öztekin" userId="33c0df0f-d5fe-4bda-8f43-141ad7af67e3" providerId="ADAL" clId="{48B824AD-1B2A-47A8-8D92-6FE6E622A650}" dt="2024-12-16T15:54:02.973" v="58850"/>
          <ac:spMkLst>
            <pc:docMk/>
            <pc:sldMk cId="3145246505" sldId="285"/>
            <ac:spMk id="365" creationId="{87B9D35C-BD29-577D-0751-33B6D47E75DB}"/>
          </ac:spMkLst>
        </pc:spChg>
        <pc:spChg chg="add del mod">
          <ac:chgData name="Oğuz Öztekin" userId="33c0df0f-d5fe-4bda-8f43-141ad7af67e3" providerId="ADAL" clId="{48B824AD-1B2A-47A8-8D92-6FE6E622A650}" dt="2024-12-16T15:55:50.950" v="70687"/>
          <ac:spMkLst>
            <pc:docMk/>
            <pc:sldMk cId="3145246505" sldId="285"/>
            <ac:spMk id="367" creationId="{C98FC864-25F6-5240-3EE5-75523AB8A75E}"/>
          </ac:spMkLst>
        </pc:spChg>
        <pc:spChg chg="add del mod">
          <ac:chgData name="Oğuz Öztekin" userId="33c0df0f-d5fe-4bda-8f43-141ad7af67e3" providerId="ADAL" clId="{48B824AD-1B2A-47A8-8D92-6FE6E622A650}" dt="2024-12-16T15:55:50.908" v="70535"/>
          <ac:spMkLst>
            <pc:docMk/>
            <pc:sldMk cId="3145246505" sldId="285"/>
            <ac:spMk id="368" creationId="{85A364F9-92F4-800A-20E1-A17BE690E538}"/>
          </ac:spMkLst>
        </pc:spChg>
        <pc:spChg chg="add del mod">
          <ac:chgData name="Oğuz Öztekin" userId="33c0df0f-d5fe-4bda-8f43-141ad7af67e3" providerId="ADAL" clId="{48B824AD-1B2A-47A8-8D92-6FE6E622A650}" dt="2024-12-16T15:55:50.907" v="70534"/>
          <ac:spMkLst>
            <pc:docMk/>
            <pc:sldMk cId="3145246505" sldId="285"/>
            <ac:spMk id="369" creationId="{A3FC2EC9-18AE-3BE8-F4BB-23C8684494E4}"/>
          </ac:spMkLst>
        </pc:spChg>
        <pc:spChg chg="add del mod">
          <ac:chgData name="Oğuz Öztekin" userId="33c0df0f-d5fe-4bda-8f43-141ad7af67e3" providerId="ADAL" clId="{48B824AD-1B2A-47A8-8D92-6FE6E622A650}" dt="2024-12-16T15:55:50.910" v="70544"/>
          <ac:spMkLst>
            <pc:docMk/>
            <pc:sldMk cId="3145246505" sldId="285"/>
            <ac:spMk id="370" creationId="{12D0C653-C3D1-393E-453C-49DB872C2441}"/>
          </ac:spMkLst>
        </pc:spChg>
        <pc:spChg chg="add del mod">
          <ac:chgData name="Oğuz Öztekin" userId="33c0df0f-d5fe-4bda-8f43-141ad7af67e3" providerId="ADAL" clId="{48B824AD-1B2A-47A8-8D92-6FE6E622A650}" dt="2024-12-16T15:55:50.910" v="70543"/>
          <ac:spMkLst>
            <pc:docMk/>
            <pc:sldMk cId="3145246505" sldId="285"/>
            <ac:spMk id="371" creationId="{EFA534CD-149E-9D6D-3BEC-989FF0822486}"/>
          </ac:spMkLst>
        </pc:spChg>
        <pc:spChg chg="add del mod">
          <ac:chgData name="Oğuz Öztekin" userId="33c0df0f-d5fe-4bda-8f43-141ad7af67e3" providerId="ADAL" clId="{48B824AD-1B2A-47A8-8D92-6FE6E622A650}" dt="2024-12-16T15:55:50.908" v="70537"/>
          <ac:spMkLst>
            <pc:docMk/>
            <pc:sldMk cId="3145246505" sldId="285"/>
            <ac:spMk id="372" creationId="{655E938F-5D04-E1CA-0536-4C9BB2BE442C}"/>
          </ac:spMkLst>
        </pc:spChg>
        <pc:spChg chg="add del mod">
          <ac:chgData name="Oğuz Öztekin" userId="33c0df0f-d5fe-4bda-8f43-141ad7af67e3" providerId="ADAL" clId="{48B824AD-1B2A-47A8-8D92-6FE6E622A650}" dt="2024-12-16T15:54:02.973" v="58849"/>
          <ac:spMkLst>
            <pc:docMk/>
            <pc:sldMk cId="3145246505" sldId="285"/>
            <ac:spMk id="373" creationId="{904D8877-A5EB-F58E-BCE7-1D11F7D34E68}"/>
          </ac:spMkLst>
        </pc:spChg>
        <pc:spChg chg="add del mod">
          <ac:chgData name="Oğuz Öztekin" userId="33c0df0f-d5fe-4bda-8f43-141ad7af67e3" providerId="ADAL" clId="{48B824AD-1B2A-47A8-8D92-6FE6E622A650}" dt="2024-12-16T15:55:50.910" v="70542"/>
          <ac:spMkLst>
            <pc:docMk/>
            <pc:sldMk cId="3145246505" sldId="285"/>
            <ac:spMk id="374" creationId="{B804A7DA-782B-2D95-7271-F68430471E67}"/>
          </ac:spMkLst>
        </pc:spChg>
        <pc:spChg chg="add del mod">
          <ac:chgData name="Oğuz Öztekin" userId="33c0df0f-d5fe-4bda-8f43-141ad7af67e3" providerId="ADAL" clId="{48B824AD-1B2A-47A8-8D92-6FE6E622A650}" dt="2024-12-16T15:55:50.909" v="70541"/>
          <ac:spMkLst>
            <pc:docMk/>
            <pc:sldMk cId="3145246505" sldId="285"/>
            <ac:spMk id="375" creationId="{AB9FF470-AB85-0353-A013-E7AB15C5FFA9}"/>
          </ac:spMkLst>
        </pc:spChg>
        <pc:spChg chg="add del mod">
          <ac:chgData name="Oğuz Öztekin" userId="33c0df0f-d5fe-4bda-8f43-141ad7af67e3" providerId="ADAL" clId="{48B824AD-1B2A-47A8-8D92-6FE6E622A650}" dt="2024-12-16T15:55:50.912" v="70549"/>
          <ac:spMkLst>
            <pc:docMk/>
            <pc:sldMk cId="3145246505" sldId="285"/>
            <ac:spMk id="376" creationId="{07F24003-E05A-C7A8-05C6-615551DD0ADF}"/>
          </ac:spMkLst>
        </pc:spChg>
        <pc:spChg chg="add del mod">
          <ac:chgData name="Oğuz Öztekin" userId="33c0df0f-d5fe-4bda-8f43-141ad7af67e3" providerId="ADAL" clId="{48B824AD-1B2A-47A8-8D92-6FE6E622A650}" dt="2024-12-16T15:55:50.912" v="70548"/>
          <ac:spMkLst>
            <pc:docMk/>
            <pc:sldMk cId="3145246505" sldId="285"/>
            <ac:spMk id="377" creationId="{9F608585-432A-761C-52DA-3589E80CFBE6}"/>
          </ac:spMkLst>
        </pc:spChg>
        <pc:spChg chg="add del mod">
          <ac:chgData name="Oğuz Öztekin" userId="33c0df0f-d5fe-4bda-8f43-141ad7af67e3" providerId="ADAL" clId="{48B824AD-1B2A-47A8-8D92-6FE6E622A650}" dt="2024-12-16T15:55:50.911" v="70547"/>
          <ac:spMkLst>
            <pc:docMk/>
            <pc:sldMk cId="3145246505" sldId="285"/>
            <ac:spMk id="378" creationId="{2578B9F0-77ED-CDF6-6ED0-8D0487DB0A2A}"/>
          </ac:spMkLst>
        </pc:spChg>
        <pc:spChg chg="add del mod">
          <ac:chgData name="Oğuz Öztekin" userId="33c0df0f-d5fe-4bda-8f43-141ad7af67e3" providerId="ADAL" clId="{48B824AD-1B2A-47A8-8D92-6FE6E622A650}" dt="2024-12-16T15:55:50.911" v="70546"/>
          <ac:spMkLst>
            <pc:docMk/>
            <pc:sldMk cId="3145246505" sldId="285"/>
            <ac:spMk id="379" creationId="{6914BF48-4B8F-20EE-1EBE-A38C7CDF2BEB}"/>
          </ac:spMkLst>
        </pc:spChg>
        <pc:spChg chg="add del mod">
          <ac:chgData name="Oğuz Öztekin" userId="33c0df0f-d5fe-4bda-8f43-141ad7af67e3" providerId="ADAL" clId="{48B824AD-1B2A-47A8-8D92-6FE6E622A650}" dt="2024-12-16T15:54:02.974" v="58853"/>
          <ac:spMkLst>
            <pc:docMk/>
            <pc:sldMk cId="3145246505" sldId="285"/>
            <ac:spMk id="380" creationId="{AA64D675-E5A0-A0A5-5285-B09F0303C422}"/>
          </ac:spMkLst>
        </pc:spChg>
        <pc:spChg chg="add del mod">
          <ac:chgData name="Oğuz Öztekin" userId="33c0df0f-d5fe-4bda-8f43-141ad7af67e3" providerId="ADAL" clId="{48B824AD-1B2A-47A8-8D92-6FE6E622A650}" dt="2024-12-16T15:55:50.908" v="70536"/>
          <ac:spMkLst>
            <pc:docMk/>
            <pc:sldMk cId="3145246505" sldId="285"/>
            <ac:spMk id="381" creationId="{28CA513A-50AF-BCCC-323A-638A1B5A839A}"/>
          </ac:spMkLst>
        </pc:spChg>
        <pc:spChg chg="add del mod">
          <ac:chgData name="Oğuz Öztekin" userId="33c0df0f-d5fe-4bda-8f43-141ad7af67e3" providerId="ADAL" clId="{48B824AD-1B2A-47A8-8D92-6FE6E622A650}" dt="2024-12-16T15:55:50.909" v="70539"/>
          <ac:spMkLst>
            <pc:docMk/>
            <pc:sldMk cId="3145246505" sldId="285"/>
            <ac:spMk id="382" creationId="{4D562420-DB37-2F6F-1B69-9CC6521602CF}"/>
          </ac:spMkLst>
        </pc:spChg>
        <pc:spChg chg="add del mod">
          <ac:chgData name="Oğuz Öztekin" userId="33c0df0f-d5fe-4bda-8f43-141ad7af67e3" providerId="ADAL" clId="{48B824AD-1B2A-47A8-8D92-6FE6E622A650}" dt="2024-12-16T15:55:50.911" v="70545"/>
          <ac:spMkLst>
            <pc:docMk/>
            <pc:sldMk cId="3145246505" sldId="285"/>
            <ac:spMk id="383" creationId="{013D8F2A-B163-A57F-37A0-6433803787A3}"/>
          </ac:spMkLst>
        </pc:spChg>
        <pc:spChg chg="add del mod">
          <ac:chgData name="Oğuz Öztekin" userId="33c0df0f-d5fe-4bda-8f43-141ad7af67e3" providerId="ADAL" clId="{48B824AD-1B2A-47A8-8D92-6FE6E622A650}" dt="2024-12-16T15:55:50.923" v="70586"/>
          <ac:spMkLst>
            <pc:docMk/>
            <pc:sldMk cId="3145246505" sldId="285"/>
            <ac:spMk id="384" creationId="{0328043C-5750-31F8-3DA4-4B604C95451B}"/>
          </ac:spMkLst>
        </pc:spChg>
        <pc:spChg chg="add del mod">
          <ac:chgData name="Oğuz Öztekin" userId="33c0df0f-d5fe-4bda-8f43-141ad7af67e3" providerId="ADAL" clId="{48B824AD-1B2A-47A8-8D92-6FE6E622A650}" dt="2024-12-16T15:55:50.923" v="70585"/>
          <ac:spMkLst>
            <pc:docMk/>
            <pc:sldMk cId="3145246505" sldId="285"/>
            <ac:spMk id="385" creationId="{79702E60-80A9-83B6-56E1-F4C34FC1A777}"/>
          </ac:spMkLst>
        </pc:spChg>
        <pc:spChg chg="add del mod">
          <ac:chgData name="Oğuz Öztekin" userId="33c0df0f-d5fe-4bda-8f43-141ad7af67e3" providerId="ADAL" clId="{48B824AD-1B2A-47A8-8D92-6FE6E622A650}" dt="2024-12-16T15:55:50.922" v="70582"/>
          <ac:spMkLst>
            <pc:docMk/>
            <pc:sldMk cId="3145246505" sldId="285"/>
            <ac:spMk id="386" creationId="{CA76ABA5-D0EA-9E1D-617D-0AC803F44199}"/>
          </ac:spMkLst>
        </pc:spChg>
        <pc:spChg chg="add del mod">
          <ac:chgData name="Oğuz Öztekin" userId="33c0df0f-d5fe-4bda-8f43-141ad7af67e3" providerId="ADAL" clId="{48B824AD-1B2A-47A8-8D92-6FE6E622A650}" dt="2024-12-16T15:55:50.922" v="70583"/>
          <ac:spMkLst>
            <pc:docMk/>
            <pc:sldMk cId="3145246505" sldId="285"/>
            <ac:spMk id="387" creationId="{4620C304-2F17-6A9A-2F26-F002519167E6}"/>
          </ac:spMkLst>
        </pc:spChg>
        <pc:spChg chg="add del mod">
          <ac:chgData name="Oğuz Öztekin" userId="33c0df0f-d5fe-4bda-8f43-141ad7af67e3" providerId="ADAL" clId="{48B824AD-1B2A-47A8-8D92-6FE6E622A650}" dt="2024-12-16T15:55:50.922" v="70584"/>
          <ac:spMkLst>
            <pc:docMk/>
            <pc:sldMk cId="3145246505" sldId="285"/>
            <ac:spMk id="388" creationId="{7568F461-CFE6-BDBE-028C-528116E8349A}"/>
          </ac:spMkLst>
        </pc:spChg>
        <pc:spChg chg="add del mod">
          <ac:chgData name="Oğuz Öztekin" userId="33c0df0f-d5fe-4bda-8f43-141ad7af67e3" providerId="ADAL" clId="{48B824AD-1B2A-47A8-8D92-6FE6E622A650}" dt="2024-12-16T15:55:50.925" v="70592"/>
          <ac:spMkLst>
            <pc:docMk/>
            <pc:sldMk cId="3145246505" sldId="285"/>
            <ac:spMk id="389" creationId="{5F5E9A66-5C09-CB31-4CFB-058195639553}"/>
          </ac:spMkLst>
        </pc:spChg>
        <pc:spChg chg="add del mod">
          <ac:chgData name="Oğuz Öztekin" userId="33c0df0f-d5fe-4bda-8f43-141ad7af67e3" providerId="ADAL" clId="{48B824AD-1B2A-47A8-8D92-6FE6E622A650}" dt="2024-12-16T15:55:50.925" v="70595"/>
          <ac:spMkLst>
            <pc:docMk/>
            <pc:sldMk cId="3145246505" sldId="285"/>
            <ac:spMk id="390" creationId="{AF07372B-8EFC-8B7F-2184-F9652E50BC62}"/>
          </ac:spMkLst>
        </pc:spChg>
        <pc:spChg chg="add del mod">
          <ac:chgData name="Oğuz Öztekin" userId="33c0df0f-d5fe-4bda-8f43-141ad7af67e3" providerId="ADAL" clId="{48B824AD-1B2A-47A8-8D92-6FE6E622A650}" dt="2024-12-16T15:55:50.915" v="70558"/>
          <ac:spMkLst>
            <pc:docMk/>
            <pc:sldMk cId="3145246505" sldId="285"/>
            <ac:spMk id="391" creationId="{DC261DDD-4D00-0EFC-5BBD-6E08A9EC02B3}"/>
          </ac:spMkLst>
        </pc:spChg>
        <pc:spChg chg="add del mod">
          <ac:chgData name="Oğuz Öztekin" userId="33c0df0f-d5fe-4bda-8f43-141ad7af67e3" providerId="ADAL" clId="{48B824AD-1B2A-47A8-8D92-6FE6E622A650}" dt="2024-12-16T15:55:50.918" v="70570"/>
          <ac:spMkLst>
            <pc:docMk/>
            <pc:sldMk cId="3145246505" sldId="285"/>
            <ac:spMk id="392" creationId="{E4A20AA7-EB42-6EB1-BFAD-02C0B243CCE2}"/>
          </ac:spMkLst>
        </pc:spChg>
        <pc:spChg chg="add del mod">
          <ac:chgData name="Oğuz Öztekin" userId="33c0df0f-d5fe-4bda-8f43-141ad7af67e3" providerId="ADAL" clId="{48B824AD-1B2A-47A8-8D92-6FE6E622A650}" dt="2024-12-16T15:55:50.914" v="70556"/>
          <ac:spMkLst>
            <pc:docMk/>
            <pc:sldMk cId="3145246505" sldId="285"/>
            <ac:spMk id="393" creationId="{FC375845-0FBE-1E7D-B9EE-C53EB5B25D2F}"/>
          </ac:spMkLst>
        </pc:spChg>
        <pc:spChg chg="add del mod">
          <ac:chgData name="Oğuz Öztekin" userId="33c0df0f-d5fe-4bda-8f43-141ad7af67e3" providerId="ADAL" clId="{48B824AD-1B2A-47A8-8D92-6FE6E622A650}" dt="2024-12-16T15:55:50.918" v="70569"/>
          <ac:spMkLst>
            <pc:docMk/>
            <pc:sldMk cId="3145246505" sldId="285"/>
            <ac:spMk id="394" creationId="{44705D33-A1C1-767C-D9ED-F7797AE8D56D}"/>
          </ac:spMkLst>
        </pc:spChg>
        <pc:spChg chg="add del mod">
          <ac:chgData name="Oğuz Öztekin" userId="33c0df0f-d5fe-4bda-8f43-141ad7af67e3" providerId="ADAL" clId="{48B824AD-1B2A-47A8-8D92-6FE6E622A650}" dt="2024-12-16T15:55:50.917" v="70568"/>
          <ac:spMkLst>
            <pc:docMk/>
            <pc:sldMk cId="3145246505" sldId="285"/>
            <ac:spMk id="395" creationId="{1E831B94-4232-C1DF-89E8-FDEE6193CF48}"/>
          </ac:spMkLst>
        </pc:spChg>
        <pc:spChg chg="add del mod">
          <ac:chgData name="Oğuz Öztekin" userId="33c0df0f-d5fe-4bda-8f43-141ad7af67e3" providerId="ADAL" clId="{48B824AD-1B2A-47A8-8D92-6FE6E622A650}" dt="2024-12-16T15:55:50.920" v="70575"/>
          <ac:spMkLst>
            <pc:docMk/>
            <pc:sldMk cId="3145246505" sldId="285"/>
            <ac:spMk id="396" creationId="{F0BCBF38-CC69-A7C9-67DC-7889E683CC1C}"/>
          </ac:spMkLst>
        </pc:spChg>
        <pc:spChg chg="add del mod">
          <ac:chgData name="Oğuz Öztekin" userId="33c0df0f-d5fe-4bda-8f43-141ad7af67e3" providerId="ADAL" clId="{48B824AD-1B2A-47A8-8D92-6FE6E622A650}" dt="2024-12-16T15:55:50.917" v="70567"/>
          <ac:spMkLst>
            <pc:docMk/>
            <pc:sldMk cId="3145246505" sldId="285"/>
            <ac:spMk id="397" creationId="{44FD6EDD-0DC5-D10F-7ECF-2E28ABE2046A}"/>
          </ac:spMkLst>
        </pc:spChg>
        <pc:spChg chg="add del mod">
          <ac:chgData name="Oğuz Öztekin" userId="33c0df0f-d5fe-4bda-8f43-141ad7af67e3" providerId="ADAL" clId="{48B824AD-1B2A-47A8-8D92-6FE6E622A650}" dt="2024-12-16T15:55:50.916" v="70563"/>
          <ac:spMkLst>
            <pc:docMk/>
            <pc:sldMk cId="3145246505" sldId="285"/>
            <ac:spMk id="398" creationId="{B0B999B1-59BB-F96A-7D97-DB32F08937F4}"/>
          </ac:spMkLst>
        </pc:spChg>
        <pc:spChg chg="add del mod">
          <ac:chgData name="Oğuz Öztekin" userId="33c0df0f-d5fe-4bda-8f43-141ad7af67e3" providerId="ADAL" clId="{48B824AD-1B2A-47A8-8D92-6FE6E622A650}" dt="2024-12-16T15:55:50.917" v="70565"/>
          <ac:spMkLst>
            <pc:docMk/>
            <pc:sldMk cId="3145246505" sldId="285"/>
            <ac:spMk id="399" creationId="{3218A581-6A12-D428-4D18-410FABB5BA23}"/>
          </ac:spMkLst>
        </pc:spChg>
        <pc:spChg chg="add del mod">
          <ac:chgData name="Oğuz Öztekin" userId="33c0df0f-d5fe-4bda-8f43-141ad7af67e3" providerId="ADAL" clId="{48B824AD-1B2A-47A8-8D92-6FE6E622A650}" dt="2024-12-16T15:55:50.914" v="70557"/>
          <ac:spMkLst>
            <pc:docMk/>
            <pc:sldMk cId="3145246505" sldId="285"/>
            <ac:spMk id="400" creationId="{EC6B1872-0CD6-488F-5D35-20FD82531EF3}"/>
          </ac:spMkLst>
        </pc:spChg>
        <pc:spChg chg="add del mod">
          <ac:chgData name="Oğuz Öztekin" userId="33c0df0f-d5fe-4bda-8f43-141ad7af67e3" providerId="ADAL" clId="{48B824AD-1B2A-47A8-8D92-6FE6E622A650}" dt="2024-12-16T15:55:50.917" v="70566"/>
          <ac:spMkLst>
            <pc:docMk/>
            <pc:sldMk cId="3145246505" sldId="285"/>
            <ac:spMk id="401" creationId="{D0F0476E-2713-90E0-F0B5-031259AA9E4B}"/>
          </ac:spMkLst>
        </pc:spChg>
        <pc:spChg chg="add del mod">
          <ac:chgData name="Oğuz Öztekin" userId="33c0df0f-d5fe-4bda-8f43-141ad7af67e3" providerId="ADAL" clId="{48B824AD-1B2A-47A8-8D92-6FE6E622A650}" dt="2024-12-16T15:55:50.919" v="70573"/>
          <ac:spMkLst>
            <pc:docMk/>
            <pc:sldMk cId="3145246505" sldId="285"/>
            <ac:spMk id="402" creationId="{43C21A4A-17F7-798F-443F-382B4E59154A}"/>
          </ac:spMkLst>
        </pc:spChg>
        <pc:spChg chg="add del mod">
          <ac:chgData name="Oğuz Öztekin" userId="33c0df0f-d5fe-4bda-8f43-141ad7af67e3" providerId="ADAL" clId="{48B824AD-1B2A-47A8-8D92-6FE6E622A650}" dt="2024-12-16T15:55:50.916" v="70562"/>
          <ac:spMkLst>
            <pc:docMk/>
            <pc:sldMk cId="3145246505" sldId="285"/>
            <ac:spMk id="403" creationId="{177EF747-B983-7896-1E69-63560A88E5AB}"/>
          </ac:spMkLst>
        </pc:spChg>
        <pc:spChg chg="add del mod">
          <ac:chgData name="Oğuz Öztekin" userId="33c0df0f-d5fe-4bda-8f43-141ad7af67e3" providerId="ADAL" clId="{48B824AD-1B2A-47A8-8D92-6FE6E622A650}" dt="2024-12-16T15:55:50.915" v="70560"/>
          <ac:spMkLst>
            <pc:docMk/>
            <pc:sldMk cId="3145246505" sldId="285"/>
            <ac:spMk id="404" creationId="{86C42D24-DDDC-7EE4-E5E1-9132FD062E49}"/>
          </ac:spMkLst>
        </pc:spChg>
        <pc:spChg chg="add del mod">
          <ac:chgData name="Oğuz Öztekin" userId="33c0df0f-d5fe-4bda-8f43-141ad7af67e3" providerId="ADAL" clId="{48B824AD-1B2A-47A8-8D92-6FE6E622A650}" dt="2024-12-16T15:55:50.920" v="70574"/>
          <ac:spMkLst>
            <pc:docMk/>
            <pc:sldMk cId="3145246505" sldId="285"/>
            <ac:spMk id="405" creationId="{C27229AC-F9AF-E289-E9F7-07B766180C43}"/>
          </ac:spMkLst>
        </pc:spChg>
        <pc:spChg chg="add del mod">
          <ac:chgData name="Oğuz Öztekin" userId="33c0df0f-d5fe-4bda-8f43-141ad7af67e3" providerId="ADAL" clId="{48B824AD-1B2A-47A8-8D92-6FE6E622A650}" dt="2024-12-16T15:55:50.915" v="70559"/>
          <ac:spMkLst>
            <pc:docMk/>
            <pc:sldMk cId="3145246505" sldId="285"/>
            <ac:spMk id="406" creationId="{CDA34959-8CEB-8334-99BB-0EEE94A15A01}"/>
          </ac:spMkLst>
        </pc:spChg>
        <pc:spChg chg="add del mod">
          <ac:chgData name="Oğuz Öztekin" userId="33c0df0f-d5fe-4bda-8f43-141ad7af67e3" providerId="ADAL" clId="{48B824AD-1B2A-47A8-8D92-6FE6E622A650}" dt="2024-12-16T15:55:50.916" v="70564"/>
          <ac:spMkLst>
            <pc:docMk/>
            <pc:sldMk cId="3145246505" sldId="285"/>
            <ac:spMk id="407" creationId="{351C71C5-90E2-CDCE-504A-499487A0BA4A}"/>
          </ac:spMkLst>
        </pc:spChg>
        <pc:spChg chg="add del mod">
          <ac:chgData name="Oğuz Öztekin" userId="33c0df0f-d5fe-4bda-8f43-141ad7af67e3" providerId="ADAL" clId="{48B824AD-1B2A-47A8-8D92-6FE6E622A650}" dt="2024-12-16T15:55:50.919" v="70572"/>
          <ac:spMkLst>
            <pc:docMk/>
            <pc:sldMk cId="3145246505" sldId="285"/>
            <ac:spMk id="408" creationId="{84662744-1C9C-E3DA-42AB-1FA43C761CDF}"/>
          </ac:spMkLst>
        </pc:spChg>
        <pc:spChg chg="add del mod">
          <ac:chgData name="Oğuz Öztekin" userId="33c0df0f-d5fe-4bda-8f43-141ad7af67e3" providerId="ADAL" clId="{48B824AD-1B2A-47A8-8D92-6FE6E622A650}" dt="2024-12-16T15:55:50.915" v="70561"/>
          <ac:spMkLst>
            <pc:docMk/>
            <pc:sldMk cId="3145246505" sldId="285"/>
            <ac:spMk id="409" creationId="{77C4EB2F-13EB-9F2C-A8FA-370DD49F79F5}"/>
          </ac:spMkLst>
        </pc:spChg>
        <pc:spChg chg="add del mod">
          <ac:chgData name="Oğuz Öztekin" userId="33c0df0f-d5fe-4bda-8f43-141ad7af67e3" providerId="ADAL" clId="{48B824AD-1B2A-47A8-8D92-6FE6E622A650}" dt="2024-12-16T15:55:50.918" v="70571"/>
          <ac:spMkLst>
            <pc:docMk/>
            <pc:sldMk cId="3145246505" sldId="285"/>
            <ac:spMk id="410" creationId="{29C9BEC1-AA3B-08DB-2401-7E7118726535}"/>
          </ac:spMkLst>
        </pc:spChg>
        <pc:spChg chg="add del mod">
          <ac:chgData name="Oğuz Öztekin" userId="33c0df0f-d5fe-4bda-8f43-141ad7af67e3" providerId="ADAL" clId="{48B824AD-1B2A-47A8-8D92-6FE6E622A650}" dt="2024-12-16T15:55:50.944" v="70664"/>
          <ac:spMkLst>
            <pc:docMk/>
            <pc:sldMk cId="3145246505" sldId="285"/>
            <ac:spMk id="411" creationId="{67A529D6-6441-906A-4D9A-0444C9250158}"/>
          </ac:spMkLst>
        </pc:spChg>
        <pc:spChg chg="add del mod">
          <ac:chgData name="Oğuz Öztekin" userId="33c0df0f-d5fe-4bda-8f43-141ad7af67e3" providerId="ADAL" clId="{48B824AD-1B2A-47A8-8D92-6FE6E622A650}" dt="2024-12-16T15:55:50.941" v="70652"/>
          <ac:spMkLst>
            <pc:docMk/>
            <pc:sldMk cId="3145246505" sldId="285"/>
            <ac:spMk id="412" creationId="{3E797762-19FD-603D-67E0-BE87CFC262C3}"/>
          </ac:spMkLst>
        </pc:spChg>
        <pc:spChg chg="add del mod">
          <ac:chgData name="Oğuz Öztekin" userId="33c0df0f-d5fe-4bda-8f43-141ad7af67e3" providerId="ADAL" clId="{48B824AD-1B2A-47A8-8D92-6FE6E622A650}" dt="2024-12-16T15:55:50.944" v="70663"/>
          <ac:spMkLst>
            <pc:docMk/>
            <pc:sldMk cId="3145246505" sldId="285"/>
            <ac:spMk id="413" creationId="{0CEA6125-F3F5-E239-E9D6-8C44525CB124}"/>
          </ac:spMkLst>
        </pc:spChg>
        <pc:spChg chg="add del mod">
          <ac:chgData name="Oğuz Öztekin" userId="33c0df0f-d5fe-4bda-8f43-141ad7af67e3" providerId="ADAL" clId="{48B824AD-1B2A-47A8-8D92-6FE6E622A650}" dt="2024-12-16T15:55:50.942" v="70655"/>
          <ac:spMkLst>
            <pc:docMk/>
            <pc:sldMk cId="3145246505" sldId="285"/>
            <ac:spMk id="414" creationId="{6667672E-57D3-2485-254C-BCB5FD1346C0}"/>
          </ac:spMkLst>
        </pc:spChg>
        <pc:spChg chg="add del mod">
          <ac:chgData name="Oğuz Öztekin" userId="33c0df0f-d5fe-4bda-8f43-141ad7af67e3" providerId="ADAL" clId="{48B824AD-1B2A-47A8-8D92-6FE6E622A650}" dt="2024-12-16T15:55:50.942" v="70654"/>
          <ac:spMkLst>
            <pc:docMk/>
            <pc:sldMk cId="3145246505" sldId="285"/>
            <ac:spMk id="415" creationId="{DDCAE89A-087A-ADEF-C222-602D4B629E22}"/>
          </ac:spMkLst>
        </pc:spChg>
        <pc:spChg chg="add del mod">
          <ac:chgData name="Oğuz Öztekin" userId="33c0df0f-d5fe-4bda-8f43-141ad7af67e3" providerId="ADAL" clId="{48B824AD-1B2A-47A8-8D92-6FE6E622A650}" dt="2024-12-16T15:55:50.941" v="70651"/>
          <ac:spMkLst>
            <pc:docMk/>
            <pc:sldMk cId="3145246505" sldId="285"/>
            <ac:spMk id="416" creationId="{B6B09126-DA32-761D-9B1D-FD0C2511F139}"/>
          </ac:spMkLst>
        </pc:spChg>
        <pc:spChg chg="add del mod">
          <ac:chgData name="Oğuz Öztekin" userId="33c0df0f-d5fe-4bda-8f43-141ad7af67e3" providerId="ADAL" clId="{48B824AD-1B2A-47A8-8D92-6FE6E622A650}" dt="2024-12-16T15:55:50.941" v="70653"/>
          <ac:spMkLst>
            <pc:docMk/>
            <pc:sldMk cId="3145246505" sldId="285"/>
            <ac:spMk id="417" creationId="{E270C50F-FF06-DA04-1EBF-8576FCA60464}"/>
          </ac:spMkLst>
        </pc:spChg>
        <pc:spChg chg="add del mod">
          <ac:chgData name="Oğuz Öztekin" userId="33c0df0f-d5fe-4bda-8f43-141ad7af67e3" providerId="ADAL" clId="{48B824AD-1B2A-47A8-8D92-6FE6E622A650}" dt="2024-12-16T15:55:50.944" v="70662"/>
          <ac:spMkLst>
            <pc:docMk/>
            <pc:sldMk cId="3145246505" sldId="285"/>
            <ac:spMk id="418" creationId="{26A6062E-2C3F-309B-33A2-67128CCB6E3D}"/>
          </ac:spMkLst>
        </pc:spChg>
        <pc:spChg chg="add del mod">
          <ac:chgData name="Oğuz Öztekin" userId="33c0df0f-d5fe-4bda-8f43-141ad7af67e3" providerId="ADAL" clId="{48B824AD-1B2A-47A8-8D92-6FE6E622A650}" dt="2024-12-16T15:55:50.939" v="70650"/>
          <ac:spMkLst>
            <pc:docMk/>
            <pc:sldMk cId="3145246505" sldId="285"/>
            <ac:spMk id="419" creationId="{30107411-5C17-2EC9-181F-DBFC512224E8}"/>
          </ac:spMkLst>
        </pc:spChg>
        <pc:spChg chg="add del mod">
          <ac:chgData name="Oğuz Öztekin" userId="33c0df0f-d5fe-4bda-8f43-141ad7af67e3" providerId="ADAL" clId="{48B824AD-1B2A-47A8-8D92-6FE6E622A650}" dt="2024-12-16T15:55:50.944" v="70661"/>
          <ac:spMkLst>
            <pc:docMk/>
            <pc:sldMk cId="3145246505" sldId="285"/>
            <ac:spMk id="420" creationId="{4A4E97B2-84DC-D42D-92E2-C7D34EDF00D0}"/>
          </ac:spMkLst>
        </pc:spChg>
        <pc:spChg chg="add del mod">
          <ac:chgData name="Oğuz Öztekin" userId="33c0df0f-d5fe-4bda-8f43-141ad7af67e3" providerId="ADAL" clId="{48B824AD-1B2A-47A8-8D92-6FE6E622A650}" dt="2024-12-16T15:55:50.943" v="70660"/>
          <ac:spMkLst>
            <pc:docMk/>
            <pc:sldMk cId="3145246505" sldId="285"/>
            <ac:spMk id="421" creationId="{761BD47A-49CA-CB0A-8492-F7717C200FC1}"/>
          </ac:spMkLst>
        </pc:spChg>
        <pc:spChg chg="add del mod">
          <ac:chgData name="Oğuz Öztekin" userId="33c0df0f-d5fe-4bda-8f43-141ad7af67e3" providerId="ADAL" clId="{48B824AD-1B2A-47A8-8D92-6FE6E622A650}" dt="2024-12-16T15:55:50.943" v="70659"/>
          <ac:spMkLst>
            <pc:docMk/>
            <pc:sldMk cId="3145246505" sldId="285"/>
            <ac:spMk id="422" creationId="{76115E53-B4BF-A89C-32A6-7B34EB316E6D}"/>
          </ac:spMkLst>
        </pc:spChg>
        <pc:spChg chg="add del mod">
          <ac:chgData name="Oğuz Öztekin" userId="33c0df0f-d5fe-4bda-8f43-141ad7af67e3" providerId="ADAL" clId="{48B824AD-1B2A-47A8-8D92-6FE6E622A650}" dt="2024-12-16T15:55:50.943" v="70658"/>
          <ac:spMkLst>
            <pc:docMk/>
            <pc:sldMk cId="3145246505" sldId="285"/>
            <ac:spMk id="423" creationId="{2F715EB0-45F5-AA6C-055C-E6124A7ADF4B}"/>
          </ac:spMkLst>
        </pc:spChg>
        <pc:spChg chg="add del mod">
          <ac:chgData name="Oğuz Öztekin" userId="33c0df0f-d5fe-4bda-8f43-141ad7af67e3" providerId="ADAL" clId="{48B824AD-1B2A-47A8-8D92-6FE6E622A650}" dt="2024-12-16T15:55:50.942" v="70657"/>
          <ac:spMkLst>
            <pc:docMk/>
            <pc:sldMk cId="3145246505" sldId="285"/>
            <ac:spMk id="424" creationId="{F0C86A7F-EBFC-700C-BEF0-676392DA79F2}"/>
          </ac:spMkLst>
        </pc:spChg>
        <pc:spChg chg="add del mod">
          <ac:chgData name="Oğuz Öztekin" userId="33c0df0f-d5fe-4bda-8f43-141ad7af67e3" providerId="ADAL" clId="{48B824AD-1B2A-47A8-8D92-6FE6E622A650}" dt="2024-12-16T15:55:50.942" v="70656"/>
          <ac:spMkLst>
            <pc:docMk/>
            <pc:sldMk cId="3145246505" sldId="285"/>
            <ac:spMk id="425" creationId="{F11B05EC-0FCB-B87E-D8B3-0EF43CCB6F75}"/>
          </ac:spMkLst>
        </pc:spChg>
        <pc:spChg chg="add del mod">
          <ac:chgData name="Oğuz Öztekin" userId="33c0df0f-d5fe-4bda-8f43-141ad7af67e3" providerId="ADAL" clId="{48B824AD-1B2A-47A8-8D92-6FE6E622A650}" dt="2024-12-16T15:55:50.946" v="70668"/>
          <ac:spMkLst>
            <pc:docMk/>
            <pc:sldMk cId="3145246505" sldId="285"/>
            <ac:spMk id="426" creationId="{532D3637-D375-170C-A176-A6886155842A}"/>
          </ac:spMkLst>
        </pc:spChg>
        <pc:spChg chg="add del mod">
          <ac:chgData name="Oğuz Öztekin" userId="33c0df0f-d5fe-4bda-8f43-141ad7af67e3" providerId="ADAL" clId="{48B824AD-1B2A-47A8-8D92-6FE6E622A650}" dt="2024-12-16T15:55:50.945" v="70667"/>
          <ac:spMkLst>
            <pc:docMk/>
            <pc:sldMk cId="3145246505" sldId="285"/>
            <ac:spMk id="427" creationId="{5D138C46-A6D3-99B6-C15B-98986F1B69EA}"/>
          </ac:spMkLst>
        </pc:spChg>
        <pc:spChg chg="add del mod">
          <ac:chgData name="Oğuz Öztekin" userId="33c0df0f-d5fe-4bda-8f43-141ad7af67e3" providerId="ADAL" clId="{48B824AD-1B2A-47A8-8D92-6FE6E622A650}" dt="2024-12-16T15:55:50.947" v="70672"/>
          <ac:spMkLst>
            <pc:docMk/>
            <pc:sldMk cId="3145246505" sldId="285"/>
            <ac:spMk id="428" creationId="{F363332C-075C-1FFD-4837-BA1E470BE074}"/>
          </ac:spMkLst>
        </pc:spChg>
        <pc:spChg chg="add del mod">
          <ac:chgData name="Oğuz Öztekin" userId="33c0df0f-d5fe-4bda-8f43-141ad7af67e3" providerId="ADAL" clId="{48B824AD-1B2A-47A8-8D92-6FE6E622A650}" dt="2024-12-16T15:55:50.946" v="70670"/>
          <ac:spMkLst>
            <pc:docMk/>
            <pc:sldMk cId="3145246505" sldId="285"/>
            <ac:spMk id="429" creationId="{A63BB4CD-5B6E-AF7B-96A6-9791B736DFAF}"/>
          </ac:spMkLst>
        </pc:spChg>
        <pc:spChg chg="add del mod">
          <ac:chgData name="Oğuz Öztekin" userId="33c0df0f-d5fe-4bda-8f43-141ad7af67e3" providerId="ADAL" clId="{48B824AD-1B2A-47A8-8D92-6FE6E622A650}" dt="2024-12-16T15:55:50.945" v="70666"/>
          <ac:spMkLst>
            <pc:docMk/>
            <pc:sldMk cId="3145246505" sldId="285"/>
            <ac:spMk id="430" creationId="{D18EFF6D-E3AA-4232-53D2-D2C862C292B4}"/>
          </ac:spMkLst>
        </pc:spChg>
        <pc:spChg chg="add del mod">
          <ac:chgData name="Oğuz Öztekin" userId="33c0df0f-d5fe-4bda-8f43-141ad7af67e3" providerId="ADAL" clId="{48B824AD-1B2A-47A8-8D92-6FE6E622A650}" dt="2024-12-16T15:55:50.946" v="70669"/>
          <ac:spMkLst>
            <pc:docMk/>
            <pc:sldMk cId="3145246505" sldId="285"/>
            <ac:spMk id="431" creationId="{7BFCB141-82E1-3A2E-E36B-F5364C98B622}"/>
          </ac:spMkLst>
        </pc:spChg>
        <pc:spChg chg="add del mod">
          <ac:chgData name="Oğuz Öztekin" userId="33c0df0f-d5fe-4bda-8f43-141ad7af67e3" providerId="ADAL" clId="{48B824AD-1B2A-47A8-8D92-6FE6E622A650}" dt="2024-12-16T15:55:50.946" v="70671"/>
          <ac:spMkLst>
            <pc:docMk/>
            <pc:sldMk cId="3145246505" sldId="285"/>
            <ac:spMk id="432" creationId="{652F17B8-508A-B888-73B1-AF1D1103EB38}"/>
          </ac:spMkLst>
        </pc:spChg>
        <pc:spChg chg="add del mod">
          <ac:chgData name="Oğuz Öztekin" userId="33c0df0f-d5fe-4bda-8f43-141ad7af67e3" providerId="ADAL" clId="{48B824AD-1B2A-47A8-8D92-6FE6E622A650}" dt="2024-12-16T15:55:50.945" v="70665"/>
          <ac:spMkLst>
            <pc:docMk/>
            <pc:sldMk cId="3145246505" sldId="285"/>
            <ac:spMk id="433" creationId="{38FEF71D-7E5A-6C38-A063-903E8B1F091A}"/>
          </ac:spMkLst>
        </pc:spChg>
        <pc:spChg chg="add del mod">
          <ac:chgData name="Oğuz Öztekin" userId="33c0df0f-d5fe-4bda-8f43-141ad7af67e3" providerId="ADAL" clId="{48B824AD-1B2A-47A8-8D92-6FE6E622A650}" dt="2024-12-16T15:55:50.948" v="70676"/>
          <ac:spMkLst>
            <pc:docMk/>
            <pc:sldMk cId="3145246505" sldId="285"/>
            <ac:spMk id="434" creationId="{1BD9488C-F815-DD74-E601-419F84CEE2DE}"/>
          </ac:spMkLst>
        </pc:spChg>
        <pc:spChg chg="add del mod">
          <ac:chgData name="Oğuz Öztekin" userId="33c0df0f-d5fe-4bda-8f43-141ad7af67e3" providerId="ADAL" clId="{48B824AD-1B2A-47A8-8D92-6FE6E622A650}" dt="2024-12-16T15:55:50.947" v="70675"/>
          <ac:spMkLst>
            <pc:docMk/>
            <pc:sldMk cId="3145246505" sldId="285"/>
            <ac:spMk id="435" creationId="{3FF71BCE-7652-B16E-211E-24B40ABBF9FD}"/>
          </ac:spMkLst>
        </pc:spChg>
        <pc:spChg chg="add del mod">
          <ac:chgData name="Oğuz Öztekin" userId="33c0df0f-d5fe-4bda-8f43-141ad7af67e3" providerId="ADAL" clId="{48B824AD-1B2A-47A8-8D92-6FE6E622A650}" dt="2024-12-16T15:55:50.947" v="70674"/>
          <ac:spMkLst>
            <pc:docMk/>
            <pc:sldMk cId="3145246505" sldId="285"/>
            <ac:spMk id="436" creationId="{592987B7-97E2-1012-C205-6594ABECC1A6}"/>
          </ac:spMkLst>
        </pc:spChg>
        <pc:spChg chg="add del mod">
          <ac:chgData name="Oğuz Öztekin" userId="33c0df0f-d5fe-4bda-8f43-141ad7af67e3" providerId="ADAL" clId="{48B824AD-1B2A-47A8-8D92-6FE6E622A650}" dt="2024-12-16T15:55:50.947" v="70673"/>
          <ac:spMkLst>
            <pc:docMk/>
            <pc:sldMk cId="3145246505" sldId="285"/>
            <ac:spMk id="437" creationId="{1FD2DAF0-153B-D9DC-3FFF-DD7D104650C0}"/>
          </ac:spMkLst>
        </pc:spChg>
        <pc:spChg chg="add del mod modVis">
          <ac:chgData name="Oğuz Öztekin" userId="33c0df0f-d5fe-4bda-8f43-141ad7af67e3" providerId="ADAL" clId="{48B824AD-1B2A-47A8-8D92-6FE6E622A650}" dt="2024-12-16T15:54:11.280" v="63027"/>
          <ac:spMkLst>
            <pc:docMk/>
            <pc:sldMk cId="3145246505" sldId="285"/>
            <ac:spMk id="438" creationId="{97A14AAB-3DB0-3154-EE66-F78B3A0828D9}"/>
          </ac:spMkLst>
        </pc:spChg>
        <pc:spChg chg="add del mod modVis">
          <ac:chgData name="Oğuz Öztekin" userId="33c0df0f-d5fe-4bda-8f43-141ad7af67e3" providerId="ADAL" clId="{48B824AD-1B2A-47A8-8D92-6FE6E622A650}" dt="2024-12-16T15:54:20.168" v="64046"/>
          <ac:spMkLst>
            <pc:docMk/>
            <pc:sldMk cId="3145246505" sldId="285"/>
            <ac:spMk id="439" creationId="{67D66FFC-6E2D-37A5-A927-253235E61A94}"/>
          </ac:spMkLst>
        </pc:spChg>
        <pc:spChg chg="add del mod modVis">
          <ac:chgData name="Oğuz Öztekin" userId="33c0df0f-d5fe-4bda-8f43-141ad7af67e3" providerId="ADAL" clId="{48B824AD-1B2A-47A8-8D92-6FE6E622A650}" dt="2024-12-16T15:54:46.550" v="65535"/>
          <ac:spMkLst>
            <pc:docMk/>
            <pc:sldMk cId="3145246505" sldId="285"/>
            <ac:spMk id="440" creationId="{0B2DCC23-0EB4-8355-CB61-2B9F2DBB0BE9}"/>
          </ac:spMkLst>
        </pc:spChg>
        <pc:spChg chg="add del mod modVis">
          <ac:chgData name="Oğuz Öztekin" userId="33c0df0f-d5fe-4bda-8f43-141ad7af67e3" providerId="ADAL" clId="{48B824AD-1B2A-47A8-8D92-6FE6E622A650}" dt="2024-12-16T16:11:07.324" v="85213"/>
          <ac:spMkLst>
            <pc:docMk/>
            <pc:sldMk cId="3145246505" sldId="285"/>
            <ac:spMk id="443" creationId="{65AE3AB4-0839-33C7-09D7-54D85570E524}"/>
          </ac:spMkLst>
        </pc:spChg>
        <pc:graphicFrameChg chg="mod">
          <ac:chgData name="Oğuz Öztekin" userId="33c0df0f-d5fe-4bda-8f43-141ad7af67e3" providerId="ADAL" clId="{48B824AD-1B2A-47A8-8D92-6FE6E622A650}" dt="2024-12-16T16:11:07.325" v="85215"/>
          <ac:graphicFrameMkLst>
            <pc:docMk/>
            <pc:sldMk cId="3145246505" sldId="285"/>
            <ac:graphicFrameMk id="3" creationId="{C0838CC1-E1D1-62CE-877F-307394CD3808}"/>
          </ac:graphicFrameMkLst>
        </pc:graphicFrameChg>
        <pc:graphicFrameChg chg="del">
          <ac:chgData name="Oğuz Öztekin" userId="33c0df0f-d5fe-4bda-8f43-141ad7af67e3" providerId="ADAL" clId="{48B824AD-1B2A-47A8-8D92-6FE6E622A650}" dt="2024-12-16T15:51:44.829" v="53490"/>
          <ac:graphicFrameMkLst>
            <pc:docMk/>
            <pc:sldMk cId="3145246505" sldId="285"/>
            <ac:graphicFrameMk id="366" creationId="{FF61DD4C-4829-D413-DBD5-FF7A3C36644E}"/>
          </ac:graphicFrameMkLst>
        </pc:graphicFrameChg>
        <pc:graphicFrameChg chg="add mod modGraphic">
          <ac:chgData name="Oğuz Öztekin" userId="33c0df0f-d5fe-4bda-8f43-141ad7af67e3" providerId="ADAL" clId="{48B824AD-1B2A-47A8-8D92-6FE6E622A650}" dt="2024-12-16T16:01:45.357" v="70785" actId="20577"/>
          <ac:graphicFrameMkLst>
            <pc:docMk/>
            <pc:sldMk cId="3145246505" sldId="285"/>
            <ac:graphicFrameMk id="441" creationId="{5C2307C4-1DF8-221F-231B-6C67A102E869}"/>
          </ac:graphicFrameMkLst>
        </pc:graphicFrameChg>
        <pc:graphicFrameChg chg="add del mod modGraphic">
          <ac:chgData name="Oğuz Öztekin" userId="33c0df0f-d5fe-4bda-8f43-141ad7af67e3" providerId="ADAL" clId="{48B824AD-1B2A-47A8-8D92-6FE6E622A650}" dt="2024-12-16T16:00:58.348" v="70778" actId="478"/>
          <ac:graphicFrameMkLst>
            <pc:docMk/>
            <pc:sldMk cId="3145246505" sldId="285"/>
            <ac:graphicFrameMk id="442" creationId="{01D1728A-2A3C-BDF1-5CCB-46E2F00AC7EB}"/>
          </ac:graphicFrameMkLst>
        </pc:graphicFrameChg>
      </pc:sldChg>
      <pc:sldChg chg="new del">
        <pc:chgData name="Oğuz Öztekin" userId="33c0df0f-d5fe-4bda-8f43-141ad7af67e3" providerId="ADAL" clId="{48B824AD-1B2A-47A8-8D92-6FE6E622A650}" dt="2024-12-16T15:51:03.665" v="53455" actId="680"/>
        <pc:sldMkLst>
          <pc:docMk/>
          <pc:sldMk cId="3632944939" sldId="285"/>
        </pc:sldMkLst>
      </pc:sldChg>
      <pc:sldChg chg="add del">
        <pc:chgData name="Oğuz Öztekin" userId="33c0df0f-d5fe-4bda-8f43-141ad7af67e3" providerId="ADAL" clId="{48B824AD-1B2A-47A8-8D92-6FE6E622A650}" dt="2024-12-16T15:53:04.687" v="54038"/>
        <pc:sldMkLst>
          <pc:docMk/>
          <pc:sldMk cId="321706453" sldId="286"/>
        </pc:sldMkLst>
      </pc:sldChg>
      <pc:sldChg chg="add del">
        <pc:chgData name="Oğuz Öztekin" userId="33c0df0f-d5fe-4bda-8f43-141ad7af67e3" providerId="ADAL" clId="{48B824AD-1B2A-47A8-8D92-6FE6E622A650}" dt="2024-12-16T15:53:04.687" v="54038"/>
        <pc:sldMkLst>
          <pc:docMk/>
          <pc:sldMk cId="2663857817" sldId="286"/>
        </pc:sldMkLst>
      </pc:sldChg>
      <pc:sldChg chg="addSp delSp modSp add del mod modTransition">
        <pc:chgData name="Oğuz Öztekin" userId="33c0df0f-d5fe-4bda-8f43-141ad7af67e3" providerId="ADAL" clId="{48B824AD-1B2A-47A8-8D92-6FE6E622A650}" dt="2024-12-16T15:53:04.687" v="54038"/>
        <pc:sldMkLst>
          <pc:docMk/>
          <pc:sldMk cId="2862072802" sldId="286"/>
        </pc:sldMkLst>
        <pc:spChg chg="mod ord">
          <ac:chgData name="Oğuz Öztekin" userId="33c0df0f-d5fe-4bda-8f43-141ad7af67e3" providerId="ADAL" clId="{48B824AD-1B2A-47A8-8D92-6FE6E622A650}" dt="2024-12-16T15:53:04.687" v="54038"/>
          <ac:spMkLst>
            <pc:docMk/>
            <pc:sldMk cId="2862072802" sldId="286"/>
            <ac:spMk id="2" creationId="{ED3C9791-245E-9ECF-EFFF-E16634699326}"/>
          </ac:spMkLst>
        </pc:spChg>
        <pc:spChg chg="add del">
          <ac:chgData name="Oğuz Öztekin" userId="33c0df0f-d5fe-4bda-8f43-141ad7af67e3" providerId="ADAL" clId="{48B824AD-1B2A-47A8-8D92-6FE6E622A650}" dt="2024-12-16T15:53:04.687" v="54038"/>
          <ac:spMkLst>
            <pc:docMk/>
            <pc:sldMk cId="2862072802" sldId="286"/>
            <ac:spMk id="3" creationId="{0AD9C599-D9DD-9596-08C1-796770BBB600}"/>
          </ac:spMkLst>
        </pc:spChg>
        <pc:spChg chg="add mod ord">
          <ac:chgData name="Oğuz Öztekin" userId="33c0df0f-d5fe-4bda-8f43-141ad7af67e3" providerId="ADAL" clId="{48B824AD-1B2A-47A8-8D92-6FE6E622A650}" dt="2024-12-16T15:53:04.687" v="54038"/>
          <ac:spMkLst>
            <pc:docMk/>
            <pc:sldMk cId="2862072802" sldId="286"/>
            <ac:spMk id="4" creationId="{1CCEE847-D281-13AD-6501-DB09F6BA92E2}"/>
          </ac:spMkLst>
        </pc:spChg>
        <pc:spChg chg="add del mod modVis">
          <ac:chgData name="Oğuz Öztekin" userId="33c0df0f-d5fe-4bda-8f43-141ad7af67e3" providerId="ADAL" clId="{48B824AD-1B2A-47A8-8D92-6FE6E622A650}" dt="2024-12-16T15:53:04.687" v="54038"/>
          <ac:spMkLst>
            <pc:docMk/>
            <pc:sldMk cId="2862072802" sldId="286"/>
            <ac:spMk id="5" creationId="{92E3B467-DA65-7213-BE81-059881257125}"/>
          </ac:spMkLst>
        </pc:spChg>
        <pc:graphicFrameChg chg="add mod ord modVis">
          <ac:chgData name="Oğuz Öztekin" userId="33c0df0f-d5fe-4bda-8f43-141ad7af67e3" providerId="ADAL" clId="{48B824AD-1B2A-47A8-8D92-6FE6E622A650}" dt="2024-12-16T15:53:04.687" v="54038"/>
          <ac:graphicFrameMkLst>
            <pc:docMk/>
            <pc:sldMk cId="2862072802" sldId="286"/>
            <ac:graphicFrameMk id="6" creationId="{C472D3A6-8225-B7B2-05B8-94A7142AF966}"/>
          </ac:graphicFrameMkLst>
        </pc:graphicFrameChg>
      </pc:sldChg>
      <pc:sldChg chg="addSp delSp modSp add mod">
        <pc:chgData name="Oğuz Öztekin" userId="33c0df0f-d5fe-4bda-8f43-141ad7af67e3" providerId="ADAL" clId="{48B824AD-1B2A-47A8-8D92-6FE6E622A650}" dt="2024-12-16T16:11:04.850" v="85189"/>
        <pc:sldMkLst>
          <pc:docMk/>
          <pc:sldMk cId="2968481684" sldId="286"/>
        </pc:sldMkLst>
        <pc:spChg chg="mod">
          <ac:chgData name="Oğuz Öztekin" userId="33c0df0f-d5fe-4bda-8f43-141ad7af67e3" providerId="ADAL" clId="{48B824AD-1B2A-47A8-8D92-6FE6E622A650}" dt="2024-12-16T16:11:04.833" v="85165" actId="948"/>
          <ac:spMkLst>
            <pc:docMk/>
            <pc:sldMk cId="2968481684" sldId="286"/>
            <ac:spMk id="2" creationId="{1F2C74CD-F4A5-0FBE-9665-BC18E8E2C19C}"/>
          </ac:spMkLst>
        </pc:spChg>
        <pc:spChg chg="add del mod modVis">
          <ac:chgData name="Oğuz Öztekin" userId="33c0df0f-d5fe-4bda-8f43-141ad7af67e3" providerId="ADAL" clId="{48B824AD-1B2A-47A8-8D92-6FE6E622A650}" dt="2024-12-16T16:11:04.850" v="85187"/>
          <ac:spMkLst>
            <pc:docMk/>
            <pc:sldMk cId="2968481684" sldId="286"/>
            <ac:spMk id="4" creationId="{EFA26357-2006-A3E7-B719-87C4F9197309}"/>
          </ac:spMkLst>
        </pc:spChg>
        <pc:graphicFrameChg chg="mod">
          <ac:chgData name="Oğuz Öztekin" userId="33c0df0f-d5fe-4bda-8f43-141ad7af67e3" providerId="ADAL" clId="{48B824AD-1B2A-47A8-8D92-6FE6E622A650}" dt="2024-12-16T16:11:04.850" v="85189"/>
          <ac:graphicFrameMkLst>
            <pc:docMk/>
            <pc:sldMk cId="2968481684" sldId="286"/>
            <ac:graphicFrameMk id="3" creationId="{2C2C61C7-3DB0-8B1D-CC44-7B3F7711BEFA}"/>
          </ac:graphicFrameMkLst>
        </pc:graphicFrameChg>
        <pc:graphicFrameChg chg="del">
          <ac:chgData name="Oğuz Öztekin" userId="33c0df0f-d5fe-4bda-8f43-141ad7af67e3" providerId="ADAL" clId="{48B824AD-1B2A-47A8-8D92-6FE6E622A650}" dt="2024-12-16T16:00:24.627" v="70770" actId="478"/>
          <ac:graphicFrameMkLst>
            <pc:docMk/>
            <pc:sldMk cId="2968481684" sldId="286"/>
            <ac:graphicFrameMk id="441" creationId="{2AB56E06-6D53-4C16-EB8C-1D0824DBBAB3}"/>
          </ac:graphicFrameMkLst>
        </pc:graphicFrameChg>
        <pc:graphicFrameChg chg="mod modGraphic">
          <ac:chgData name="Oğuz Öztekin" userId="33c0df0f-d5fe-4bda-8f43-141ad7af67e3" providerId="ADAL" clId="{48B824AD-1B2A-47A8-8D92-6FE6E622A650}" dt="2024-12-16T16:01:52.165" v="70788" actId="20577"/>
          <ac:graphicFrameMkLst>
            <pc:docMk/>
            <pc:sldMk cId="2968481684" sldId="286"/>
            <ac:graphicFrameMk id="442" creationId="{D236659A-0278-F049-267A-86BE90B3180A}"/>
          </ac:graphicFrameMkLst>
        </pc:graphicFrameChg>
      </pc:sldChg>
      <pc:sldChg chg="del">
        <pc:chgData name="Oğuz Öztekin" userId="33c0df0f-d5fe-4bda-8f43-141ad7af67e3" providerId="ADAL" clId="{48B824AD-1B2A-47A8-8D92-6FE6E622A650}" dt="2024-12-16T09:07:33.481" v="21" actId="2696"/>
        <pc:sldMkLst>
          <pc:docMk/>
          <pc:sldMk cId="2972345480" sldId="286"/>
        </pc:sldMkLst>
      </pc:sldChg>
      <pc:sldChg chg="del">
        <pc:chgData name="Oğuz Öztekin" userId="33c0df0f-d5fe-4bda-8f43-141ad7af67e3" providerId="ADAL" clId="{48B824AD-1B2A-47A8-8D92-6FE6E622A650}" dt="2024-12-16T09:07:32.693" v="18" actId="2696"/>
        <pc:sldMkLst>
          <pc:docMk/>
          <pc:sldMk cId="1173608751" sldId="287"/>
        </pc:sldMkLst>
      </pc:sldChg>
      <pc:sldChg chg="addSp delSp modSp add mod">
        <pc:chgData name="Oğuz Öztekin" userId="33c0df0f-d5fe-4bda-8f43-141ad7af67e3" providerId="ADAL" clId="{48B824AD-1B2A-47A8-8D92-6FE6E622A650}" dt="2024-12-16T18:21:26.203" v="178752"/>
        <pc:sldMkLst>
          <pc:docMk/>
          <pc:sldMk cId="3677495233" sldId="287"/>
        </pc:sldMkLst>
        <pc:spChg chg="mod ord">
          <ac:chgData name="Oğuz Öztekin" userId="33c0df0f-d5fe-4bda-8f43-141ad7af67e3" providerId="ADAL" clId="{48B824AD-1B2A-47A8-8D92-6FE6E622A650}" dt="2024-12-16T18:21:26.191" v="178701"/>
          <ac:spMkLst>
            <pc:docMk/>
            <pc:sldMk cId="3677495233" sldId="287"/>
            <ac:spMk id="2" creationId="{AC5428AD-CFAB-2512-4E7C-C57063989BE4}"/>
          </ac:spMkLst>
        </pc:spChg>
        <pc:spChg chg="add del mod modVis">
          <ac:chgData name="Oğuz Öztekin" userId="33c0df0f-d5fe-4bda-8f43-141ad7af67e3" providerId="ADAL" clId="{48B824AD-1B2A-47A8-8D92-6FE6E622A650}" dt="2024-12-16T17:44:39.319" v="113107"/>
          <ac:spMkLst>
            <pc:docMk/>
            <pc:sldMk cId="3677495233" sldId="287"/>
            <ac:spMk id="4" creationId="{DC2CD90E-B98D-676D-74A4-C8FFFD8D54CD}"/>
          </ac:spMkLst>
        </pc:spChg>
        <pc:spChg chg="add del mod modVis">
          <ac:chgData name="Oğuz Öztekin" userId="33c0df0f-d5fe-4bda-8f43-141ad7af67e3" providerId="ADAL" clId="{48B824AD-1B2A-47A8-8D92-6FE6E622A650}" dt="2024-12-16T17:45:33.649" v="113186"/>
          <ac:spMkLst>
            <pc:docMk/>
            <pc:sldMk cId="3677495233" sldId="287"/>
            <ac:spMk id="6" creationId="{21D07392-E2D2-383D-8FCD-15F6FC099B20}"/>
          </ac:spMkLst>
        </pc:spChg>
        <pc:spChg chg="add del mod modVis">
          <ac:chgData name="Oğuz Öztekin" userId="33c0df0f-d5fe-4bda-8f43-141ad7af67e3" providerId="ADAL" clId="{48B824AD-1B2A-47A8-8D92-6FE6E622A650}" dt="2024-12-16T17:45:54.109" v="113329"/>
          <ac:spMkLst>
            <pc:docMk/>
            <pc:sldMk cId="3677495233" sldId="287"/>
            <ac:spMk id="8" creationId="{164D1203-E218-D354-A87C-F32973AFAFA1}"/>
          </ac:spMkLst>
        </pc:spChg>
        <pc:spChg chg="add del mod">
          <ac:chgData name="Oğuz Öztekin" userId="33c0df0f-d5fe-4bda-8f43-141ad7af67e3" providerId="ADAL" clId="{48B824AD-1B2A-47A8-8D92-6FE6E622A650}" dt="2024-12-16T17:48:19.832" v="114951"/>
          <ac:spMkLst>
            <pc:docMk/>
            <pc:sldMk cId="3677495233" sldId="287"/>
            <ac:spMk id="10" creationId="{4EE0588C-926C-70E8-1158-269FD27BC5D6}"/>
          </ac:spMkLst>
        </pc:spChg>
        <pc:spChg chg="add del mod">
          <ac:chgData name="Oğuz Öztekin" userId="33c0df0f-d5fe-4bda-8f43-141ad7af67e3" providerId="ADAL" clId="{48B824AD-1B2A-47A8-8D92-6FE6E622A650}" dt="2024-12-16T17:48:19.834" v="114952"/>
          <ac:spMkLst>
            <pc:docMk/>
            <pc:sldMk cId="3677495233" sldId="287"/>
            <ac:spMk id="11" creationId="{A11834FC-23B1-5326-4800-95E8CAD06A1A}"/>
          </ac:spMkLst>
        </pc:spChg>
        <pc:spChg chg="add del mod">
          <ac:chgData name="Oğuz Öztekin" userId="33c0df0f-d5fe-4bda-8f43-141ad7af67e3" providerId="ADAL" clId="{48B824AD-1B2A-47A8-8D92-6FE6E622A650}" dt="2024-12-16T17:48:19.834" v="114953"/>
          <ac:spMkLst>
            <pc:docMk/>
            <pc:sldMk cId="3677495233" sldId="287"/>
            <ac:spMk id="12" creationId="{6955808F-59FD-E030-29C5-D938D2AC4E05}"/>
          </ac:spMkLst>
        </pc:spChg>
        <pc:spChg chg="add del mod">
          <ac:chgData name="Oğuz Öztekin" userId="33c0df0f-d5fe-4bda-8f43-141ad7af67e3" providerId="ADAL" clId="{48B824AD-1B2A-47A8-8D92-6FE6E622A650}" dt="2024-12-16T17:48:19.834" v="114954"/>
          <ac:spMkLst>
            <pc:docMk/>
            <pc:sldMk cId="3677495233" sldId="287"/>
            <ac:spMk id="13" creationId="{78862DC5-595A-F91D-D373-EB19163B1A2A}"/>
          </ac:spMkLst>
        </pc:spChg>
        <pc:spChg chg="add del mod">
          <ac:chgData name="Oğuz Öztekin" userId="33c0df0f-d5fe-4bda-8f43-141ad7af67e3" providerId="ADAL" clId="{48B824AD-1B2A-47A8-8D92-6FE6E622A650}" dt="2024-12-16T17:48:19.835" v="114955"/>
          <ac:spMkLst>
            <pc:docMk/>
            <pc:sldMk cId="3677495233" sldId="287"/>
            <ac:spMk id="14" creationId="{7EE2A807-890B-E722-436C-424B78CA01E4}"/>
          </ac:spMkLst>
        </pc:spChg>
        <pc:spChg chg="add del mod">
          <ac:chgData name="Oğuz Öztekin" userId="33c0df0f-d5fe-4bda-8f43-141ad7af67e3" providerId="ADAL" clId="{48B824AD-1B2A-47A8-8D92-6FE6E622A650}" dt="2024-12-16T17:48:19.835" v="114956"/>
          <ac:spMkLst>
            <pc:docMk/>
            <pc:sldMk cId="3677495233" sldId="287"/>
            <ac:spMk id="15" creationId="{6C8356AB-EE7B-DCF2-D6FB-5E1BA4D2686C}"/>
          </ac:spMkLst>
        </pc:spChg>
        <pc:spChg chg="add del mod">
          <ac:chgData name="Oğuz Öztekin" userId="33c0df0f-d5fe-4bda-8f43-141ad7af67e3" providerId="ADAL" clId="{48B824AD-1B2A-47A8-8D92-6FE6E622A650}" dt="2024-12-16T17:48:19.836" v="114957"/>
          <ac:spMkLst>
            <pc:docMk/>
            <pc:sldMk cId="3677495233" sldId="287"/>
            <ac:spMk id="16" creationId="{1ED9E8CE-BE89-D515-3FB5-73DFCB87E037}"/>
          </ac:spMkLst>
        </pc:spChg>
        <pc:spChg chg="add del mod">
          <ac:chgData name="Oğuz Öztekin" userId="33c0df0f-d5fe-4bda-8f43-141ad7af67e3" providerId="ADAL" clId="{48B824AD-1B2A-47A8-8D92-6FE6E622A650}" dt="2024-12-16T17:48:19.836" v="114958"/>
          <ac:spMkLst>
            <pc:docMk/>
            <pc:sldMk cId="3677495233" sldId="287"/>
            <ac:spMk id="17" creationId="{05A41A3D-ED24-7E2E-9FB6-A419C59EE696}"/>
          </ac:spMkLst>
        </pc:spChg>
        <pc:spChg chg="add del mod">
          <ac:chgData name="Oğuz Öztekin" userId="33c0df0f-d5fe-4bda-8f43-141ad7af67e3" providerId="ADAL" clId="{48B824AD-1B2A-47A8-8D92-6FE6E622A650}" dt="2024-12-16T17:48:19.837" v="114959"/>
          <ac:spMkLst>
            <pc:docMk/>
            <pc:sldMk cId="3677495233" sldId="287"/>
            <ac:spMk id="18" creationId="{DE1C7510-E32A-62CD-1561-D1BCC9F098CD}"/>
          </ac:spMkLst>
        </pc:spChg>
        <pc:spChg chg="add del mod">
          <ac:chgData name="Oğuz Öztekin" userId="33c0df0f-d5fe-4bda-8f43-141ad7af67e3" providerId="ADAL" clId="{48B824AD-1B2A-47A8-8D92-6FE6E622A650}" dt="2024-12-16T17:48:19.838" v="114960"/>
          <ac:spMkLst>
            <pc:docMk/>
            <pc:sldMk cId="3677495233" sldId="287"/>
            <ac:spMk id="19" creationId="{1E819489-54D5-660D-27DF-290AA8F0C81B}"/>
          </ac:spMkLst>
        </pc:spChg>
        <pc:spChg chg="mod">
          <ac:chgData name="Oğuz Öztekin" userId="33c0df0f-d5fe-4bda-8f43-141ad7af67e3" providerId="ADAL" clId="{48B824AD-1B2A-47A8-8D92-6FE6E622A650}" dt="2024-12-16T18:21:26.202" v="178748"/>
          <ac:spMkLst>
            <pc:docMk/>
            <pc:sldMk cId="3677495233" sldId="287"/>
            <ac:spMk id="20" creationId="{6F743322-797F-06D1-CC4D-992847ABEB04}"/>
          </ac:spMkLst>
        </pc:spChg>
        <pc:spChg chg="add del mod modVis">
          <ac:chgData name="Oğuz Öztekin" userId="33c0df0f-d5fe-4bda-8f43-141ad7af67e3" providerId="ADAL" clId="{48B824AD-1B2A-47A8-8D92-6FE6E622A650}" dt="2024-12-16T17:45:58.512" v="113664"/>
          <ac:spMkLst>
            <pc:docMk/>
            <pc:sldMk cId="3677495233" sldId="287"/>
            <ac:spMk id="21" creationId="{EC99718B-00F2-CF9B-393C-562F99A54342}"/>
          </ac:spMkLst>
        </pc:spChg>
        <pc:spChg chg="add del mod modVis">
          <ac:chgData name="Oğuz Öztekin" userId="33c0df0f-d5fe-4bda-8f43-141ad7af67e3" providerId="ADAL" clId="{48B824AD-1B2A-47A8-8D92-6FE6E622A650}" dt="2024-12-16T17:46:00.814" v="113765"/>
          <ac:spMkLst>
            <pc:docMk/>
            <pc:sldMk cId="3677495233" sldId="287"/>
            <ac:spMk id="23" creationId="{A4B73581-32F9-7F97-148C-EE48983F6E0B}"/>
          </ac:spMkLst>
        </pc:spChg>
        <pc:spChg chg="add del mod modVis">
          <ac:chgData name="Oğuz Öztekin" userId="33c0df0f-d5fe-4bda-8f43-141ad7af67e3" providerId="ADAL" clId="{48B824AD-1B2A-47A8-8D92-6FE6E622A650}" dt="2024-12-16T17:46:04.412" v="113866"/>
          <ac:spMkLst>
            <pc:docMk/>
            <pc:sldMk cId="3677495233" sldId="287"/>
            <ac:spMk id="25" creationId="{F3110D4E-73EB-7BDA-7C1E-0B55BBD6B637}"/>
          </ac:spMkLst>
        </pc:spChg>
        <pc:spChg chg="add del mod modVis">
          <ac:chgData name="Oğuz Öztekin" userId="33c0df0f-d5fe-4bda-8f43-141ad7af67e3" providerId="ADAL" clId="{48B824AD-1B2A-47A8-8D92-6FE6E622A650}" dt="2024-12-16T17:46:10.677" v="113975"/>
          <ac:spMkLst>
            <pc:docMk/>
            <pc:sldMk cId="3677495233" sldId="287"/>
            <ac:spMk id="27" creationId="{E47F3DA3-38A6-A83B-C730-99A7584FFEB8}"/>
          </ac:spMkLst>
        </pc:spChg>
        <pc:spChg chg="mod">
          <ac:chgData name="Oğuz Öztekin" userId="33c0df0f-d5fe-4bda-8f43-141ad7af67e3" providerId="ADAL" clId="{48B824AD-1B2A-47A8-8D92-6FE6E622A650}" dt="2024-12-16T18:21:26.195" v="178722"/>
          <ac:spMkLst>
            <pc:docMk/>
            <pc:sldMk cId="3677495233" sldId="287"/>
            <ac:spMk id="29" creationId="{14A5F7EA-25F3-E927-6BF1-76A2E92503D5}"/>
          </ac:spMkLst>
        </pc:spChg>
        <pc:spChg chg="add del mod modVis">
          <ac:chgData name="Oğuz Öztekin" userId="33c0df0f-d5fe-4bda-8f43-141ad7af67e3" providerId="ADAL" clId="{48B824AD-1B2A-47A8-8D92-6FE6E622A650}" dt="2024-12-16T17:46:23.496" v="114084"/>
          <ac:spMkLst>
            <pc:docMk/>
            <pc:sldMk cId="3677495233" sldId="287"/>
            <ac:spMk id="30" creationId="{D9315074-4087-BAF0-5900-FA8409D96750}"/>
          </ac:spMkLst>
        </pc:spChg>
        <pc:spChg chg="add del mod modVis">
          <ac:chgData name="Oğuz Öztekin" userId="33c0df0f-d5fe-4bda-8f43-141ad7af67e3" providerId="ADAL" clId="{48B824AD-1B2A-47A8-8D92-6FE6E622A650}" dt="2024-12-16T17:46:33.724" v="114193"/>
          <ac:spMkLst>
            <pc:docMk/>
            <pc:sldMk cId="3677495233" sldId="287"/>
            <ac:spMk id="32" creationId="{45432189-DE76-D784-7AA0-8FECC506C328}"/>
          </ac:spMkLst>
        </pc:spChg>
        <pc:spChg chg="add del mod modVis">
          <ac:chgData name="Oğuz Öztekin" userId="33c0df0f-d5fe-4bda-8f43-141ad7af67e3" providerId="ADAL" clId="{48B824AD-1B2A-47A8-8D92-6FE6E622A650}" dt="2024-12-16T17:46:55.272" v="114302"/>
          <ac:spMkLst>
            <pc:docMk/>
            <pc:sldMk cId="3677495233" sldId="287"/>
            <ac:spMk id="34" creationId="{005BA862-62B1-5433-6F2E-74BFD94F9DF9}"/>
          </ac:spMkLst>
        </pc:spChg>
        <pc:spChg chg="mod">
          <ac:chgData name="Oğuz Öztekin" userId="33c0df0f-d5fe-4bda-8f43-141ad7af67e3" providerId="ADAL" clId="{48B824AD-1B2A-47A8-8D92-6FE6E622A650}" dt="2024-12-16T18:21:26.195" v="178723"/>
          <ac:spMkLst>
            <pc:docMk/>
            <pc:sldMk cId="3677495233" sldId="287"/>
            <ac:spMk id="35" creationId="{77642B2C-C71B-397B-E06A-24ED9A863D74}"/>
          </ac:spMkLst>
        </pc:spChg>
        <pc:spChg chg="mod">
          <ac:chgData name="Oğuz Öztekin" userId="33c0df0f-d5fe-4bda-8f43-141ad7af67e3" providerId="ADAL" clId="{48B824AD-1B2A-47A8-8D92-6FE6E622A650}" dt="2024-12-16T18:21:26.195" v="178724"/>
          <ac:spMkLst>
            <pc:docMk/>
            <pc:sldMk cId="3677495233" sldId="287"/>
            <ac:spMk id="36" creationId="{148F3FFA-2D6C-B9ED-C987-4136AB210B7C}"/>
          </ac:spMkLst>
        </pc:spChg>
        <pc:spChg chg="mod">
          <ac:chgData name="Oğuz Öztekin" userId="33c0df0f-d5fe-4bda-8f43-141ad7af67e3" providerId="ADAL" clId="{48B824AD-1B2A-47A8-8D92-6FE6E622A650}" dt="2024-12-16T18:21:26.195" v="178725"/>
          <ac:spMkLst>
            <pc:docMk/>
            <pc:sldMk cId="3677495233" sldId="287"/>
            <ac:spMk id="37" creationId="{22B25C97-F702-9C32-4EF6-E90DA81CF603}"/>
          </ac:spMkLst>
        </pc:spChg>
        <pc:spChg chg="add del mod modVis">
          <ac:chgData name="Oğuz Öztekin" userId="33c0df0f-d5fe-4bda-8f43-141ad7af67e3" providerId="ADAL" clId="{48B824AD-1B2A-47A8-8D92-6FE6E622A650}" dt="2024-12-16T17:47:08.330" v="114411"/>
          <ac:spMkLst>
            <pc:docMk/>
            <pc:sldMk cId="3677495233" sldId="287"/>
            <ac:spMk id="39" creationId="{73034183-786A-04DD-403F-0780E68B6065}"/>
          </ac:spMkLst>
        </pc:spChg>
        <pc:spChg chg="add del mod modVis">
          <ac:chgData name="Oğuz Öztekin" userId="33c0df0f-d5fe-4bda-8f43-141ad7af67e3" providerId="ADAL" clId="{48B824AD-1B2A-47A8-8D92-6FE6E622A650}" dt="2024-12-16T17:47:21.451" v="114520"/>
          <ac:spMkLst>
            <pc:docMk/>
            <pc:sldMk cId="3677495233" sldId="287"/>
            <ac:spMk id="41" creationId="{73E903B4-2080-AAE1-20F9-23ECA4943888}"/>
          </ac:spMkLst>
        </pc:spChg>
        <pc:spChg chg="add del mod modVis">
          <ac:chgData name="Oğuz Öztekin" userId="33c0df0f-d5fe-4bda-8f43-141ad7af67e3" providerId="ADAL" clId="{48B824AD-1B2A-47A8-8D92-6FE6E622A650}" dt="2024-12-16T17:47:38.933" v="114629"/>
          <ac:spMkLst>
            <pc:docMk/>
            <pc:sldMk cId="3677495233" sldId="287"/>
            <ac:spMk id="43" creationId="{BF5731E8-7D81-4165-31F1-2D6FC6BA7EC0}"/>
          </ac:spMkLst>
        </pc:spChg>
        <pc:spChg chg="add del mod modVis">
          <ac:chgData name="Oğuz Öztekin" userId="33c0df0f-d5fe-4bda-8f43-141ad7af67e3" providerId="ADAL" clId="{48B824AD-1B2A-47A8-8D92-6FE6E622A650}" dt="2024-12-16T17:47:54.670" v="114738"/>
          <ac:spMkLst>
            <pc:docMk/>
            <pc:sldMk cId="3677495233" sldId="287"/>
            <ac:spMk id="45" creationId="{2A7A4837-FB9E-C4A9-0A15-61AE2E3AC047}"/>
          </ac:spMkLst>
        </pc:spChg>
        <pc:spChg chg="add del mod modVis">
          <ac:chgData name="Oğuz Öztekin" userId="33c0df0f-d5fe-4bda-8f43-141ad7af67e3" providerId="ADAL" clId="{48B824AD-1B2A-47A8-8D92-6FE6E622A650}" dt="2024-12-16T17:48:04.697" v="114839"/>
          <ac:spMkLst>
            <pc:docMk/>
            <pc:sldMk cId="3677495233" sldId="287"/>
            <ac:spMk id="47" creationId="{E1346728-C718-9D59-7429-1BAE11580E70}"/>
          </ac:spMkLst>
        </pc:spChg>
        <pc:spChg chg="add del mod modVis">
          <ac:chgData name="Oğuz Öztekin" userId="33c0df0f-d5fe-4bda-8f43-141ad7af67e3" providerId="ADAL" clId="{48B824AD-1B2A-47A8-8D92-6FE6E622A650}" dt="2024-12-16T17:48:16.327" v="114948"/>
          <ac:spMkLst>
            <pc:docMk/>
            <pc:sldMk cId="3677495233" sldId="287"/>
            <ac:spMk id="49" creationId="{337B50AD-45C2-AAF7-5645-84FF00B1D633}"/>
          </ac:spMkLst>
        </pc:spChg>
        <pc:spChg chg="del mod">
          <ac:chgData name="Oğuz Öztekin" userId="33c0df0f-d5fe-4bda-8f43-141ad7af67e3" providerId="ADAL" clId="{48B824AD-1B2A-47A8-8D92-6FE6E622A650}" dt="2024-12-16T17:48:46.285" v="115224"/>
          <ac:spMkLst>
            <pc:docMk/>
            <pc:sldMk cId="3677495233" sldId="287"/>
            <ac:spMk id="51" creationId="{3CEE364E-CF00-A21D-E8D1-7CB64D78E4C6}"/>
          </ac:spMkLst>
        </pc:spChg>
        <pc:spChg chg="del mod">
          <ac:chgData name="Oğuz Öztekin" userId="33c0df0f-d5fe-4bda-8f43-141ad7af67e3" providerId="ADAL" clId="{48B824AD-1B2A-47A8-8D92-6FE6E622A650}" dt="2024-12-16T17:48:46.284" v="115223"/>
          <ac:spMkLst>
            <pc:docMk/>
            <pc:sldMk cId="3677495233" sldId="287"/>
            <ac:spMk id="52" creationId="{CCEF8464-6D36-75EA-FCFC-110AAF9C7860}"/>
          </ac:spMkLst>
        </pc:spChg>
        <pc:spChg chg="add del mod modVis">
          <ac:chgData name="Oğuz Öztekin" userId="33c0df0f-d5fe-4bda-8f43-141ad7af67e3" providerId="ADAL" clId="{48B824AD-1B2A-47A8-8D92-6FE6E622A650}" dt="2024-12-16T17:48:19.918" v="115067"/>
          <ac:spMkLst>
            <pc:docMk/>
            <pc:sldMk cId="3677495233" sldId="287"/>
            <ac:spMk id="54" creationId="{02CF7837-6681-F6BD-153A-44356CD3A359}"/>
          </ac:spMkLst>
        </pc:spChg>
        <pc:spChg chg="add del mod modVis">
          <ac:chgData name="Oğuz Öztekin" userId="33c0df0f-d5fe-4bda-8f43-141ad7af67e3" providerId="ADAL" clId="{48B824AD-1B2A-47A8-8D92-6FE6E622A650}" dt="2024-12-16T17:48:35.965" v="115220"/>
          <ac:spMkLst>
            <pc:docMk/>
            <pc:sldMk cId="3677495233" sldId="287"/>
            <ac:spMk id="56" creationId="{B12E4EA3-3EAF-6592-0D9D-4971E122A4CD}"/>
          </ac:spMkLst>
        </pc:spChg>
        <pc:spChg chg="add del mod modVis">
          <ac:chgData name="Oğuz Öztekin" userId="33c0df0f-d5fe-4bda-8f43-141ad7af67e3" providerId="ADAL" clId="{48B824AD-1B2A-47A8-8D92-6FE6E622A650}" dt="2024-12-16T17:48:46.354" v="115304"/>
          <ac:spMkLst>
            <pc:docMk/>
            <pc:sldMk cId="3677495233" sldId="287"/>
            <ac:spMk id="58" creationId="{B1E5BB2D-8109-C74B-2DFE-E52142C6794F}"/>
          </ac:spMkLst>
        </pc:spChg>
        <pc:spChg chg="add del mod modVis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60" creationId="{B645956D-A7EA-5CE8-15F6-04F26BF16808}"/>
          </ac:spMkLst>
        </pc:spChg>
        <pc:spChg chg="add mod">
          <ac:chgData name="Oğuz Öztekin" userId="33c0df0f-d5fe-4bda-8f43-141ad7af67e3" providerId="ADAL" clId="{48B824AD-1B2A-47A8-8D92-6FE6E622A650}" dt="2024-12-16T17:49:31.458" v="116957" actId="207"/>
          <ac:spMkLst>
            <pc:docMk/>
            <pc:sldMk cId="3677495233" sldId="287"/>
            <ac:spMk id="61" creationId="{156F83B4-BAFE-3521-6F87-C7D2BCFE0DF2}"/>
          </ac:spMkLst>
        </pc:spChg>
        <pc:spChg chg="add mod">
          <ac:chgData name="Oğuz Öztekin" userId="33c0df0f-d5fe-4bda-8f43-141ad7af67e3" providerId="ADAL" clId="{48B824AD-1B2A-47A8-8D92-6FE6E622A650}" dt="2024-12-16T17:49:31.458" v="116951" actId="207"/>
          <ac:spMkLst>
            <pc:docMk/>
            <pc:sldMk cId="3677495233" sldId="287"/>
            <ac:spMk id="62" creationId="{6E37E9ED-03F6-9AB7-9EE7-12900CBABF40}"/>
          </ac:spMkLst>
        </pc:spChg>
        <pc:spChg chg="add mod">
          <ac:chgData name="Oğuz Öztekin" userId="33c0df0f-d5fe-4bda-8f43-141ad7af67e3" providerId="ADAL" clId="{48B824AD-1B2A-47A8-8D92-6FE6E622A650}" dt="2024-12-16T17:49:31.457" v="116945" actId="207"/>
          <ac:spMkLst>
            <pc:docMk/>
            <pc:sldMk cId="3677495233" sldId="287"/>
            <ac:spMk id="63" creationId="{DB8F22F4-446A-B84B-6A3A-DCF7C205B3FA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64" creationId="{2F945DD8-1866-AFD6-D742-BF75FDBC51D8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65" creationId="{C00B1889-E796-BEE1-711F-5D1CEFB57051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66" creationId="{700B9142-6CF1-FA8A-1E0F-FC6E8424B1B0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67" creationId="{34888721-993D-BF6F-9C90-95DAE615DC5E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68" creationId="{39DBEA35-8113-B1BC-6312-34B976890065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69" creationId="{99A70521-A4CC-AFFD-2BA9-815840C5E8B0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70" creationId="{211C1C82-01BB-DFF7-354D-8519E1000018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71" creationId="{EB5E225F-6AD2-B3CA-28BE-C38D6B8344CE}"/>
          </ac:spMkLst>
        </pc:spChg>
        <pc:spChg chg="del">
          <ac:chgData name="Oğuz Öztekin" userId="33c0df0f-d5fe-4bda-8f43-141ad7af67e3" providerId="ADAL" clId="{48B824AD-1B2A-47A8-8D92-6FE6E622A650}" dt="2024-12-16T17:44:39.221" v="112980"/>
          <ac:spMkLst>
            <pc:docMk/>
            <pc:sldMk cId="3677495233" sldId="287"/>
            <ac:spMk id="72" creationId="{9FF21973-E53F-384A-3B43-929171EEA658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76" creationId="{D90E8A7B-1DE1-B68F-96FE-97B2058134E6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77" creationId="{32BF4654-824A-24C1-C5C6-8A77D9D2BFB3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78" creationId="{67E5BC71-1CA0-ECDB-2E5C-13B05E8B96AA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79" creationId="{2AEF75B0-4D47-DB9C-D947-85492D2E6328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80" creationId="{E1A4E14B-30DC-420F-1555-D49627B07ED6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81" creationId="{35206B31-204B-D050-8E68-7BCEDE7EDE23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82" creationId="{D6F79EE1-CC76-E03A-A420-9F00F3F6617E}"/>
          </ac:spMkLst>
        </pc:spChg>
        <pc:spChg chg="add mod">
          <ac:chgData name="Oğuz Öztekin" userId="33c0df0f-d5fe-4bda-8f43-141ad7af67e3" providerId="ADAL" clId="{48B824AD-1B2A-47A8-8D92-6FE6E622A650}" dt="2024-12-16T17:49:31.466" v="116983"/>
          <ac:spMkLst>
            <pc:docMk/>
            <pc:sldMk cId="3677495233" sldId="287"/>
            <ac:spMk id="83" creationId="{609467D5-F664-3F02-89A9-CD1864743D96}"/>
          </ac:spMkLst>
        </pc:spChg>
        <pc:spChg chg="mod">
          <ac:chgData name="Oğuz Öztekin" userId="33c0df0f-d5fe-4bda-8f43-141ad7af67e3" providerId="ADAL" clId="{48B824AD-1B2A-47A8-8D92-6FE6E622A650}" dt="2024-12-16T18:21:26.196" v="178726"/>
          <ac:spMkLst>
            <pc:docMk/>
            <pc:sldMk cId="3677495233" sldId="287"/>
            <ac:spMk id="86" creationId="{CC45BDF5-24BE-9973-78A0-60EE72B966A2}"/>
          </ac:spMkLst>
        </pc:spChg>
        <pc:spChg chg="mod">
          <ac:chgData name="Oğuz Öztekin" userId="33c0df0f-d5fe-4bda-8f43-141ad7af67e3" providerId="ADAL" clId="{48B824AD-1B2A-47A8-8D92-6FE6E622A650}" dt="2024-12-16T18:21:26.196" v="178727"/>
          <ac:spMkLst>
            <pc:docMk/>
            <pc:sldMk cId="3677495233" sldId="287"/>
            <ac:spMk id="87" creationId="{56D268C6-0767-9ED0-A3EB-42A51A514DE8}"/>
          </ac:spMkLst>
        </pc:spChg>
        <pc:spChg chg="mod">
          <ac:chgData name="Oğuz Öztekin" userId="33c0df0f-d5fe-4bda-8f43-141ad7af67e3" providerId="ADAL" clId="{48B824AD-1B2A-47A8-8D92-6FE6E622A650}" dt="2024-12-16T18:21:26.197" v="178728"/>
          <ac:spMkLst>
            <pc:docMk/>
            <pc:sldMk cId="3677495233" sldId="287"/>
            <ac:spMk id="88" creationId="{1E54B449-55F7-4466-A43D-FD74B2B0792D}"/>
          </ac:spMkLst>
        </pc:spChg>
        <pc:spChg chg="mod">
          <ac:chgData name="Oğuz Öztekin" userId="33c0df0f-d5fe-4bda-8f43-141ad7af67e3" providerId="ADAL" clId="{48B824AD-1B2A-47A8-8D92-6FE6E622A650}" dt="2024-12-16T18:21:26.197" v="178729"/>
          <ac:spMkLst>
            <pc:docMk/>
            <pc:sldMk cId="3677495233" sldId="287"/>
            <ac:spMk id="89" creationId="{A330AF7B-FFA4-349C-8782-8C7901D3FA0D}"/>
          </ac:spMkLst>
        </pc:spChg>
        <pc:spChg chg="mod">
          <ac:chgData name="Oğuz Öztekin" userId="33c0df0f-d5fe-4bda-8f43-141ad7af67e3" providerId="ADAL" clId="{48B824AD-1B2A-47A8-8D92-6FE6E622A650}" dt="2024-12-16T18:21:26.197" v="178730"/>
          <ac:spMkLst>
            <pc:docMk/>
            <pc:sldMk cId="3677495233" sldId="287"/>
            <ac:spMk id="90" creationId="{2DDE9A8A-9554-FCEA-88D5-4DE0AA16BA7F}"/>
          </ac:spMkLst>
        </pc:spChg>
        <pc:spChg chg="mod">
          <ac:chgData name="Oğuz Öztekin" userId="33c0df0f-d5fe-4bda-8f43-141ad7af67e3" providerId="ADAL" clId="{48B824AD-1B2A-47A8-8D92-6FE6E622A650}" dt="2024-12-16T18:21:26.197" v="178731"/>
          <ac:spMkLst>
            <pc:docMk/>
            <pc:sldMk cId="3677495233" sldId="287"/>
            <ac:spMk id="91" creationId="{3E16AA4B-F476-AB7B-78EB-F4E3EFD9F8A4}"/>
          </ac:spMkLst>
        </pc:spChg>
        <pc:spChg chg="mod">
          <ac:chgData name="Oğuz Öztekin" userId="33c0df0f-d5fe-4bda-8f43-141ad7af67e3" providerId="ADAL" clId="{48B824AD-1B2A-47A8-8D92-6FE6E622A650}" dt="2024-12-16T18:21:26.198" v="178732"/>
          <ac:spMkLst>
            <pc:docMk/>
            <pc:sldMk cId="3677495233" sldId="287"/>
            <ac:spMk id="92" creationId="{B9674807-E611-395C-A14F-9C23C1E89B16}"/>
          </ac:spMkLst>
        </pc:spChg>
        <pc:spChg chg="add del mod modVis">
          <ac:chgData name="Oğuz Öztekin" userId="33c0df0f-d5fe-4bda-8f43-141ad7af67e3" providerId="ADAL" clId="{48B824AD-1B2A-47A8-8D92-6FE6E622A650}" dt="2024-12-16T17:49:42.492" v="117115"/>
          <ac:spMkLst>
            <pc:docMk/>
            <pc:sldMk cId="3677495233" sldId="287"/>
            <ac:spMk id="109" creationId="{AB5B5F7B-79B7-C60A-C316-EEEA86D146BB}"/>
          </ac:spMkLst>
        </pc:spChg>
        <pc:spChg chg="add del mod modVis">
          <ac:chgData name="Oğuz Öztekin" userId="33c0df0f-d5fe-4bda-8f43-141ad7af67e3" providerId="ADAL" clId="{48B824AD-1B2A-47A8-8D92-6FE6E622A650}" dt="2024-12-16T17:49:56.240" v="117223"/>
          <ac:spMkLst>
            <pc:docMk/>
            <pc:sldMk cId="3677495233" sldId="287"/>
            <ac:spMk id="111" creationId="{BAA2663B-6289-7A59-AA54-DEC19BD611F2}"/>
          </ac:spMkLst>
        </pc:spChg>
        <pc:spChg chg="add del mod modVis">
          <ac:chgData name="Oğuz Öztekin" userId="33c0df0f-d5fe-4bda-8f43-141ad7af67e3" providerId="ADAL" clId="{48B824AD-1B2A-47A8-8D92-6FE6E622A650}" dt="2024-12-16T17:49:57.638" v="117323"/>
          <ac:spMkLst>
            <pc:docMk/>
            <pc:sldMk cId="3677495233" sldId="287"/>
            <ac:spMk id="113" creationId="{48398D52-E3D2-9D51-23D8-BFB339061CF6}"/>
          </ac:spMkLst>
        </pc:spChg>
        <pc:spChg chg="add del mod modVis">
          <ac:chgData name="Oğuz Öztekin" userId="33c0df0f-d5fe-4bda-8f43-141ad7af67e3" providerId="ADAL" clId="{48B824AD-1B2A-47A8-8D92-6FE6E622A650}" dt="2024-12-16T17:50:01.816" v="121252"/>
          <ac:spMkLst>
            <pc:docMk/>
            <pc:sldMk cId="3677495233" sldId="287"/>
            <ac:spMk id="115" creationId="{41EC297B-AFDB-4C0C-2E0E-8519DFB99BA3}"/>
          </ac:spMkLst>
        </pc:spChg>
        <pc:spChg chg="add del mod">
          <ac:chgData name="Oğuz Öztekin" userId="33c0df0f-d5fe-4bda-8f43-141ad7af67e3" providerId="ADAL" clId="{48B824AD-1B2A-47A8-8D92-6FE6E622A650}" dt="2024-12-16T17:50:12.925" v="121514"/>
          <ac:spMkLst>
            <pc:docMk/>
            <pc:sldMk cId="3677495233" sldId="287"/>
            <ac:spMk id="116" creationId="{C0D1B681-2F6D-C4B1-2F3A-AAA068652210}"/>
          </ac:spMkLst>
        </pc:spChg>
        <pc:spChg chg="add del mod">
          <ac:chgData name="Oğuz Öztekin" userId="33c0df0f-d5fe-4bda-8f43-141ad7af67e3" providerId="ADAL" clId="{48B824AD-1B2A-47A8-8D92-6FE6E622A650}" dt="2024-12-16T17:50:12.924" v="121513"/>
          <ac:spMkLst>
            <pc:docMk/>
            <pc:sldMk cId="3677495233" sldId="287"/>
            <ac:spMk id="117" creationId="{3DBADB56-8655-2C90-7770-A7661323BAF6}"/>
          </ac:spMkLst>
        </pc:spChg>
        <pc:spChg chg="add del mod">
          <ac:chgData name="Oğuz Öztekin" userId="33c0df0f-d5fe-4bda-8f43-141ad7af67e3" providerId="ADAL" clId="{48B824AD-1B2A-47A8-8D92-6FE6E622A650}" dt="2024-12-16T17:50:12.924" v="121512"/>
          <ac:spMkLst>
            <pc:docMk/>
            <pc:sldMk cId="3677495233" sldId="287"/>
            <ac:spMk id="118" creationId="{2558E18A-C92A-E517-A094-88CA3AF25325}"/>
          </ac:spMkLst>
        </pc:spChg>
        <pc:spChg chg="add del mod">
          <ac:chgData name="Oğuz Öztekin" userId="33c0df0f-d5fe-4bda-8f43-141ad7af67e3" providerId="ADAL" clId="{48B824AD-1B2A-47A8-8D92-6FE6E622A650}" dt="2024-12-16T17:50:12.924" v="121511"/>
          <ac:spMkLst>
            <pc:docMk/>
            <pc:sldMk cId="3677495233" sldId="287"/>
            <ac:spMk id="119" creationId="{CA0D17F5-F0B6-8A09-E570-7E77A7427E4F}"/>
          </ac:spMkLst>
        </pc:spChg>
        <pc:spChg chg="add del mod">
          <ac:chgData name="Oğuz Öztekin" userId="33c0df0f-d5fe-4bda-8f43-141ad7af67e3" providerId="ADAL" clId="{48B824AD-1B2A-47A8-8D92-6FE6E622A650}" dt="2024-12-16T17:50:12.923" v="121510"/>
          <ac:spMkLst>
            <pc:docMk/>
            <pc:sldMk cId="3677495233" sldId="287"/>
            <ac:spMk id="120" creationId="{620C2B48-FB35-92A9-1D6D-432DA006EB62}"/>
          </ac:spMkLst>
        </pc:spChg>
        <pc:spChg chg="add del mod">
          <ac:chgData name="Oğuz Öztekin" userId="33c0df0f-d5fe-4bda-8f43-141ad7af67e3" providerId="ADAL" clId="{48B824AD-1B2A-47A8-8D92-6FE6E622A650}" dt="2024-12-16T17:50:12.923" v="121509"/>
          <ac:spMkLst>
            <pc:docMk/>
            <pc:sldMk cId="3677495233" sldId="287"/>
            <ac:spMk id="121" creationId="{BBEE5625-8312-7CB6-98B7-3005084CFD36}"/>
          </ac:spMkLst>
        </pc:spChg>
        <pc:spChg chg="add del mod">
          <ac:chgData name="Oğuz Öztekin" userId="33c0df0f-d5fe-4bda-8f43-141ad7af67e3" providerId="ADAL" clId="{48B824AD-1B2A-47A8-8D92-6FE6E622A650}" dt="2024-12-16T17:50:12.922" v="121508"/>
          <ac:spMkLst>
            <pc:docMk/>
            <pc:sldMk cId="3677495233" sldId="287"/>
            <ac:spMk id="122" creationId="{515251EE-5B8B-E56E-5B69-E05EEF404C85}"/>
          </ac:spMkLst>
        </pc:spChg>
        <pc:spChg chg="add del mod">
          <ac:chgData name="Oğuz Öztekin" userId="33c0df0f-d5fe-4bda-8f43-141ad7af67e3" providerId="ADAL" clId="{48B824AD-1B2A-47A8-8D92-6FE6E622A650}" dt="2024-12-16T17:50:12.921" v="121507"/>
          <ac:spMkLst>
            <pc:docMk/>
            <pc:sldMk cId="3677495233" sldId="287"/>
            <ac:spMk id="123" creationId="{956CAA8C-5197-5B41-D5C1-BB971774F9C7}"/>
          </ac:spMkLst>
        </pc:spChg>
        <pc:spChg chg="add del mod">
          <ac:chgData name="Oğuz Öztekin" userId="33c0df0f-d5fe-4bda-8f43-141ad7af67e3" providerId="ADAL" clId="{48B824AD-1B2A-47A8-8D92-6FE6E622A650}" dt="2024-12-16T17:50:12.928" v="121525"/>
          <ac:spMkLst>
            <pc:docMk/>
            <pc:sldMk cId="3677495233" sldId="287"/>
            <ac:spMk id="124" creationId="{C5B4D6EF-089F-2DD0-F1A0-C029DE2E2013}"/>
          </ac:spMkLst>
        </pc:spChg>
        <pc:spChg chg="add del mod">
          <ac:chgData name="Oğuz Öztekin" userId="33c0df0f-d5fe-4bda-8f43-141ad7af67e3" providerId="ADAL" clId="{48B824AD-1B2A-47A8-8D92-6FE6E622A650}" dt="2024-12-16T17:50:12.927" v="121522"/>
          <ac:spMkLst>
            <pc:docMk/>
            <pc:sldMk cId="3677495233" sldId="287"/>
            <ac:spMk id="125" creationId="{CEC21316-D36A-574A-7CE1-E220DCA076A2}"/>
          </ac:spMkLst>
        </pc:spChg>
        <pc:spChg chg="add del mod">
          <ac:chgData name="Oğuz Öztekin" userId="33c0df0f-d5fe-4bda-8f43-141ad7af67e3" providerId="ADAL" clId="{48B824AD-1B2A-47A8-8D92-6FE6E622A650}" dt="2024-12-16T17:50:12.927" v="121521"/>
          <ac:spMkLst>
            <pc:docMk/>
            <pc:sldMk cId="3677495233" sldId="287"/>
            <ac:spMk id="126" creationId="{D63AE7E4-52FB-398C-F957-604B5DBA0D96}"/>
          </ac:spMkLst>
        </pc:spChg>
        <pc:spChg chg="add del mod">
          <ac:chgData name="Oğuz Öztekin" userId="33c0df0f-d5fe-4bda-8f43-141ad7af67e3" providerId="ADAL" clId="{48B824AD-1B2A-47A8-8D92-6FE6E622A650}" dt="2024-12-16T17:50:12.926" v="121520"/>
          <ac:spMkLst>
            <pc:docMk/>
            <pc:sldMk cId="3677495233" sldId="287"/>
            <ac:spMk id="127" creationId="{3B714BF9-BDA4-5D7E-A420-47CD2CE2649A}"/>
          </ac:spMkLst>
        </pc:spChg>
        <pc:spChg chg="add del mod">
          <ac:chgData name="Oğuz Öztekin" userId="33c0df0f-d5fe-4bda-8f43-141ad7af67e3" providerId="ADAL" clId="{48B824AD-1B2A-47A8-8D92-6FE6E622A650}" dt="2024-12-16T17:50:12.926" v="121519"/>
          <ac:spMkLst>
            <pc:docMk/>
            <pc:sldMk cId="3677495233" sldId="287"/>
            <ac:spMk id="128" creationId="{A17E8B27-CDF7-38CC-1F7A-E920E3D27A73}"/>
          </ac:spMkLst>
        </pc:spChg>
        <pc:spChg chg="add del mod">
          <ac:chgData name="Oğuz Öztekin" userId="33c0df0f-d5fe-4bda-8f43-141ad7af67e3" providerId="ADAL" clId="{48B824AD-1B2A-47A8-8D92-6FE6E622A650}" dt="2024-12-16T17:50:12.926" v="121518"/>
          <ac:spMkLst>
            <pc:docMk/>
            <pc:sldMk cId="3677495233" sldId="287"/>
            <ac:spMk id="129" creationId="{EA4E767E-2743-C430-E886-086A6E1B254D}"/>
          </ac:spMkLst>
        </pc:spChg>
        <pc:spChg chg="add del mod">
          <ac:chgData name="Oğuz Öztekin" userId="33c0df0f-d5fe-4bda-8f43-141ad7af67e3" providerId="ADAL" clId="{48B824AD-1B2A-47A8-8D92-6FE6E622A650}" dt="2024-12-16T17:50:12.926" v="121517"/>
          <ac:spMkLst>
            <pc:docMk/>
            <pc:sldMk cId="3677495233" sldId="287"/>
            <ac:spMk id="130" creationId="{93C4C9C6-FF90-A515-F78B-6CBC5AE52240}"/>
          </ac:spMkLst>
        </pc:spChg>
        <pc:spChg chg="add del mod">
          <ac:chgData name="Oğuz Öztekin" userId="33c0df0f-d5fe-4bda-8f43-141ad7af67e3" providerId="ADAL" clId="{48B824AD-1B2A-47A8-8D92-6FE6E622A650}" dt="2024-12-16T17:50:12.925" v="121516"/>
          <ac:spMkLst>
            <pc:docMk/>
            <pc:sldMk cId="3677495233" sldId="287"/>
            <ac:spMk id="131" creationId="{33EF83A4-8374-7892-9DB0-F112290CE568}"/>
          </ac:spMkLst>
        </pc:spChg>
        <pc:spChg chg="add del mod">
          <ac:chgData name="Oğuz Öztekin" userId="33c0df0f-d5fe-4bda-8f43-141ad7af67e3" providerId="ADAL" clId="{48B824AD-1B2A-47A8-8D92-6FE6E622A650}" dt="2024-12-16T17:50:12.925" v="121515"/>
          <ac:spMkLst>
            <pc:docMk/>
            <pc:sldMk cId="3677495233" sldId="287"/>
            <ac:spMk id="132" creationId="{4FA6BD83-542E-CC01-65E4-AC894C3D73D9}"/>
          </ac:spMkLst>
        </pc:spChg>
        <pc:spChg chg="add del mod">
          <ac:chgData name="Oğuz Öztekin" userId="33c0df0f-d5fe-4bda-8f43-141ad7af67e3" providerId="ADAL" clId="{48B824AD-1B2A-47A8-8D92-6FE6E622A650}" dt="2024-12-16T17:50:12.931" v="121536"/>
          <ac:spMkLst>
            <pc:docMk/>
            <pc:sldMk cId="3677495233" sldId="287"/>
            <ac:spMk id="133" creationId="{2D39DF47-A8E7-A47C-B140-AF90FFC839C6}"/>
          </ac:spMkLst>
        </pc:spChg>
        <pc:spChg chg="add del mod">
          <ac:chgData name="Oğuz Öztekin" userId="33c0df0f-d5fe-4bda-8f43-141ad7af67e3" providerId="ADAL" clId="{48B824AD-1B2A-47A8-8D92-6FE6E622A650}" dt="2024-12-16T17:50:12.931" v="121533"/>
          <ac:spMkLst>
            <pc:docMk/>
            <pc:sldMk cId="3677495233" sldId="287"/>
            <ac:spMk id="134" creationId="{2772A10E-C4A7-2158-1BFE-9B4C95C64F10}"/>
          </ac:spMkLst>
        </pc:spChg>
        <pc:spChg chg="add del mod">
          <ac:chgData name="Oğuz Öztekin" userId="33c0df0f-d5fe-4bda-8f43-141ad7af67e3" providerId="ADAL" clId="{48B824AD-1B2A-47A8-8D92-6FE6E622A650}" dt="2024-12-16T17:50:12.930" v="121532"/>
          <ac:spMkLst>
            <pc:docMk/>
            <pc:sldMk cId="3677495233" sldId="287"/>
            <ac:spMk id="135" creationId="{F910C07F-57EF-1696-C14E-3B24CB55C1D7}"/>
          </ac:spMkLst>
        </pc:spChg>
        <pc:spChg chg="add del mod">
          <ac:chgData name="Oğuz Öztekin" userId="33c0df0f-d5fe-4bda-8f43-141ad7af67e3" providerId="ADAL" clId="{48B824AD-1B2A-47A8-8D92-6FE6E622A650}" dt="2024-12-16T17:50:12.930" v="121531"/>
          <ac:spMkLst>
            <pc:docMk/>
            <pc:sldMk cId="3677495233" sldId="287"/>
            <ac:spMk id="136" creationId="{85CB3EDF-BDEA-40E1-9942-1AA347F0982B}"/>
          </ac:spMkLst>
        </pc:spChg>
        <pc:spChg chg="add del mod">
          <ac:chgData name="Oğuz Öztekin" userId="33c0df0f-d5fe-4bda-8f43-141ad7af67e3" providerId="ADAL" clId="{48B824AD-1B2A-47A8-8D92-6FE6E622A650}" dt="2024-12-16T17:50:12.930" v="121530"/>
          <ac:spMkLst>
            <pc:docMk/>
            <pc:sldMk cId="3677495233" sldId="287"/>
            <ac:spMk id="137" creationId="{0BAC4587-5B3D-F4C2-87C9-2DEA9E7C3FA0}"/>
          </ac:spMkLst>
        </pc:spChg>
        <pc:spChg chg="add del mod">
          <ac:chgData name="Oğuz Öztekin" userId="33c0df0f-d5fe-4bda-8f43-141ad7af67e3" providerId="ADAL" clId="{48B824AD-1B2A-47A8-8D92-6FE6E622A650}" dt="2024-12-16T17:50:12.929" v="121529"/>
          <ac:spMkLst>
            <pc:docMk/>
            <pc:sldMk cId="3677495233" sldId="287"/>
            <ac:spMk id="138" creationId="{FD82FB9F-58A1-32D5-1786-69FF58CD499E}"/>
          </ac:spMkLst>
        </pc:spChg>
        <pc:spChg chg="add del mod">
          <ac:chgData name="Oğuz Öztekin" userId="33c0df0f-d5fe-4bda-8f43-141ad7af67e3" providerId="ADAL" clId="{48B824AD-1B2A-47A8-8D92-6FE6E622A650}" dt="2024-12-16T17:50:12.929" v="121528"/>
          <ac:spMkLst>
            <pc:docMk/>
            <pc:sldMk cId="3677495233" sldId="287"/>
            <ac:spMk id="139" creationId="{82A98F9E-B4B5-DF4E-3FB2-8FEEF21CC333}"/>
          </ac:spMkLst>
        </pc:spChg>
        <pc:spChg chg="add del mod">
          <ac:chgData name="Oğuz Öztekin" userId="33c0df0f-d5fe-4bda-8f43-141ad7af67e3" providerId="ADAL" clId="{48B824AD-1B2A-47A8-8D92-6FE6E622A650}" dt="2024-12-16T17:50:12.929" v="121527"/>
          <ac:spMkLst>
            <pc:docMk/>
            <pc:sldMk cId="3677495233" sldId="287"/>
            <ac:spMk id="140" creationId="{8C2E8894-80F4-1B6E-4A98-73575330ED7D}"/>
          </ac:spMkLst>
        </pc:spChg>
        <pc:spChg chg="add del mod">
          <ac:chgData name="Oğuz Öztekin" userId="33c0df0f-d5fe-4bda-8f43-141ad7af67e3" providerId="ADAL" clId="{48B824AD-1B2A-47A8-8D92-6FE6E622A650}" dt="2024-12-16T17:50:12.928" v="121526"/>
          <ac:spMkLst>
            <pc:docMk/>
            <pc:sldMk cId="3677495233" sldId="287"/>
            <ac:spMk id="141" creationId="{BA7C3B82-309C-BC4F-52A2-FCA388367106}"/>
          </ac:spMkLst>
        </pc:spChg>
        <pc:spChg chg="add del mod">
          <ac:chgData name="Oğuz Öztekin" userId="33c0df0f-d5fe-4bda-8f43-141ad7af67e3" providerId="ADAL" clId="{48B824AD-1B2A-47A8-8D92-6FE6E622A650}" dt="2024-12-16T17:50:12.934" v="121544"/>
          <ac:spMkLst>
            <pc:docMk/>
            <pc:sldMk cId="3677495233" sldId="287"/>
            <ac:spMk id="142" creationId="{7C07A2F3-B2D5-B049-A714-32314C9C70E6}"/>
          </ac:spMkLst>
        </pc:spChg>
        <pc:spChg chg="add del mod">
          <ac:chgData name="Oğuz Öztekin" userId="33c0df0f-d5fe-4bda-8f43-141ad7af67e3" providerId="ADAL" clId="{48B824AD-1B2A-47A8-8D92-6FE6E622A650}" dt="2024-12-16T17:50:12.933" v="121543"/>
          <ac:spMkLst>
            <pc:docMk/>
            <pc:sldMk cId="3677495233" sldId="287"/>
            <ac:spMk id="143" creationId="{CE81F284-9AF6-6EBD-EB68-2F6A5D44B087}"/>
          </ac:spMkLst>
        </pc:spChg>
        <pc:spChg chg="add del mod">
          <ac:chgData name="Oğuz Öztekin" userId="33c0df0f-d5fe-4bda-8f43-141ad7af67e3" providerId="ADAL" clId="{48B824AD-1B2A-47A8-8D92-6FE6E622A650}" dt="2024-12-16T17:50:12.933" v="121542"/>
          <ac:spMkLst>
            <pc:docMk/>
            <pc:sldMk cId="3677495233" sldId="287"/>
            <ac:spMk id="144" creationId="{AD6EE4F0-83A9-454E-A3BB-63B461F9F06E}"/>
          </ac:spMkLst>
        </pc:spChg>
        <pc:spChg chg="add del mod">
          <ac:chgData name="Oğuz Öztekin" userId="33c0df0f-d5fe-4bda-8f43-141ad7af67e3" providerId="ADAL" clId="{48B824AD-1B2A-47A8-8D92-6FE6E622A650}" dt="2024-12-16T17:50:12.933" v="121541"/>
          <ac:spMkLst>
            <pc:docMk/>
            <pc:sldMk cId="3677495233" sldId="287"/>
            <ac:spMk id="145" creationId="{438E7F34-2706-32B0-AF08-30ED917FF165}"/>
          </ac:spMkLst>
        </pc:spChg>
        <pc:spChg chg="add del mod">
          <ac:chgData name="Oğuz Öztekin" userId="33c0df0f-d5fe-4bda-8f43-141ad7af67e3" providerId="ADAL" clId="{48B824AD-1B2A-47A8-8D92-6FE6E622A650}" dt="2024-12-16T17:50:12.933" v="121540"/>
          <ac:spMkLst>
            <pc:docMk/>
            <pc:sldMk cId="3677495233" sldId="287"/>
            <ac:spMk id="146" creationId="{8E3315D2-BF4B-8FA0-8813-DBC1A1F85FDF}"/>
          </ac:spMkLst>
        </pc:spChg>
        <pc:spChg chg="add del mod">
          <ac:chgData name="Oğuz Öztekin" userId="33c0df0f-d5fe-4bda-8f43-141ad7af67e3" providerId="ADAL" clId="{48B824AD-1B2A-47A8-8D92-6FE6E622A650}" dt="2024-12-16T17:50:12.932" v="121539"/>
          <ac:spMkLst>
            <pc:docMk/>
            <pc:sldMk cId="3677495233" sldId="287"/>
            <ac:spMk id="147" creationId="{B2EF0F07-79A7-07C4-3835-7D8B3F7FC50D}"/>
          </ac:spMkLst>
        </pc:spChg>
        <pc:spChg chg="add del mod">
          <ac:chgData name="Oğuz Öztekin" userId="33c0df0f-d5fe-4bda-8f43-141ad7af67e3" providerId="ADAL" clId="{48B824AD-1B2A-47A8-8D92-6FE6E622A650}" dt="2024-12-16T17:50:12.932" v="121538"/>
          <ac:spMkLst>
            <pc:docMk/>
            <pc:sldMk cId="3677495233" sldId="287"/>
            <ac:spMk id="148" creationId="{59ECA8BA-B0B3-A230-1F05-BBD75CC5161A}"/>
          </ac:spMkLst>
        </pc:spChg>
        <pc:spChg chg="add del mod">
          <ac:chgData name="Oğuz Öztekin" userId="33c0df0f-d5fe-4bda-8f43-141ad7af67e3" providerId="ADAL" clId="{48B824AD-1B2A-47A8-8D92-6FE6E622A650}" dt="2024-12-16T17:50:12.932" v="121537"/>
          <ac:spMkLst>
            <pc:docMk/>
            <pc:sldMk cId="3677495233" sldId="287"/>
            <ac:spMk id="149" creationId="{E865FC76-FADB-B769-238B-270E38B169E4}"/>
          </ac:spMkLst>
        </pc:spChg>
        <pc:spChg chg="add del mod">
          <ac:chgData name="Oğuz Öztekin" userId="33c0df0f-d5fe-4bda-8f43-141ad7af67e3" providerId="ADAL" clId="{48B824AD-1B2A-47A8-8D92-6FE6E622A650}" dt="2024-12-16T17:50:12.938" v="121556"/>
          <ac:spMkLst>
            <pc:docMk/>
            <pc:sldMk cId="3677495233" sldId="287"/>
            <ac:spMk id="150" creationId="{52E24403-2B34-92A5-E22E-575D5A6C1A61}"/>
          </ac:spMkLst>
        </pc:spChg>
        <pc:spChg chg="add del mod">
          <ac:chgData name="Oğuz Öztekin" userId="33c0df0f-d5fe-4bda-8f43-141ad7af67e3" providerId="ADAL" clId="{48B824AD-1B2A-47A8-8D92-6FE6E622A650}" dt="2024-12-16T17:50:12.937" v="121553"/>
          <ac:spMkLst>
            <pc:docMk/>
            <pc:sldMk cId="3677495233" sldId="287"/>
            <ac:spMk id="151" creationId="{FA076E10-B7BD-271E-BF2F-FE616EC12EF2}"/>
          </ac:spMkLst>
        </pc:spChg>
        <pc:spChg chg="add del mod">
          <ac:chgData name="Oğuz Öztekin" userId="33c0df0f-d5fe-4bda-8f43-141ad7af67e3" providerId="ADAL" clId="{48B824AD-1B2A-47A8-8D92-6FE6E622A650}" dt="2024-12-16T17:50:12.937" v="121552"/>
          <ac:spMkLst>
            <pc:docMk/>
            <pc:sldMk cId="3677495233" sldId="287"/>
            <ac:spMk id="152" creationId="{649555A0-FF3A-A936-BAC9-A6CB47970409}"/>
          </ac:spMkLst>
        </pc:spChg>
        <pc:spChg chg="add del mod">
          <ac:chgData name="Oğuz Öztekin" userId="33c0df0f-d5fe-4bda-8f43-141ad7af67e3" providerId="ADAL" clId="{48B824AD-1B2A-47A8-8D92-6FE6E622A650}" dt="2024-12-16T17:50:12.935" v="121551"/>
          <ac:spMkLst>
            <pc:docMk/>
            <pc:sldMk cId="3677495233" sldId="287"/>
            <ac:spMk id="153" creationId="{96FA5484-C063-99C4-0BE4-E0C6393507C0}"/>
          </ac:spMkLst>
        </pc:spChg>
        <pc:spChg chg="add del mod">
          <ac:chgData name="Oğuz Öztekin" userId="33c0df0f-d5fe-4bda-8f43-141ad7af67e3" providerId="ADAL" clId="{48B824AD-1B2A-47A8-8D92-6FE6E622A650}" dt="2024-12-16T17:50:12.935" v="121550"/>
          <ac:spMkLst>
            <pc:docMk/>
            <pc:sldMk cId="3677495233" sldId="287"/>
            <ac:spMk id="154" creationId="{64597AB7-0B5B-F1BE-2DEF-5937D7C05A3F}"/>
          </ac:spMkLst>
        </pc:spChg>
        <pc:spChg chg="add del mod">
          <ac:chgData name="Oğuz Öztekin" userId="33c0df0f-d5fe-4bda-8f43-141ad7af67e3" providerId="ADAL" clId="{48B824AD-1B2A-47A8-8D92-6FE6E622A650}" dt="2024-12-16T17:50:12.935" v="121549"/>
          <ac:spMkLst>
            <pc:docMk/>
            <pc:sldMk cId="3677495233" sldId="287"/>
            <ac:spMk id="155" creationId="{C24148C5-FDAE-F723-0FCC-B3904FFF8381}"/>
          </ac:spMkLst>
        </pc:spChg>
        <pc:spChg chg="add del mod">
          <ac:chgData name="Oğuz Öztekin" userId="33c0df0f-d5fe-4bda-8f43-141ad7af67e3" providerId="ADAL" clId="{48B824AD-1B2A-47A8-8D92-6FE6E622A650}" dt="2024-12-16T17:50:12.935" v="121548"/>
          <ac:spMkLst>
            <pc:docMk/>
            <pc:sldMk cId="3677495233" sldId="287"/>
            <ac:spMk id="156" creationId="{55CAC8E2-F476-0B53-A1BB-0CE6156F1F29}"/>
          </ac:spMkLst>
        </pc:spChg>
        <pc:spChg chg="add del mod">
          <ac:chgData name="Oğuz Öztekin" userId="33c0df0f-d5fe-4bda-8f43-141ad7af67e3" providerId="ADAL" clId="{48B824AD-1B2A-47A8-8D92-6FE6E622A650}" dt="2024-12-16T17:50:12.935" v="121547"/>
          <ac:spMkLst>
            <pc:docMk/>
            <pc:sldMk cId="3677495233" sldId="287"/>
            <ac:spMk id="157" creationId="{418DEE7B-8779-5F86-39A1-AB79B684CA20}"/>
          </ac:spMkLst>
        </pc:spChg>
        <pc:spChg chg="add del mod">
          <ac:chgData name="Oğuz Öztekin" userId="33c0df0f-d5fe-4bda-8f43-141ad7af67e3" providerId="ADAL" clId="{48B824AD-1B2A-47A8-8D92-6FE6E622A650}" dt="2024-12-16T17:50:12.940" v="121564"/>
          <ac:spMkLst>
            <pc:docMk/>
            <pc:sldMk cId="3677495233" sldId="287"/>
            <ac:spMk id="158" creationId="{DC7E0B6E-94E8-4424-450D-B33825D226D4}"/>
          </ac:spMkLst>
        </pc:spChg>
        <pc:spChg chg="add del mod">
          <ac:chgData name="Oğuz Öztekin" userId="33c0df0f-d5fe-4bda-8f43-141ad7af67e3" providerId="ADAL" clId="{48B824AD-1B2A-47A8-8D92-6FE6E622A650}" dt="2024-12-16T17:50:12.940" v="121563"/>
          <ac:spMkLst>
            <pc:docMk/>
            <pc:sldMk cId="3677495233" sldId="287"/>
            <ac:spMk id="159" creationId="{AB8043AA-D255-AFE0-2A2B-E55826E2CEF6}"/>
          </ac:spMkLst>
        </pc:spChg>
        <pc:spChg chg="add del mod">
          <ac:chgData name="Oğuz Öztekin" userId="33c0df0f-d5fe-4bda-8f43-141ad7af67e3" providerId="ADAL" clId="{48B824AD-1B2A-47A8-8D92-6FE6E622A650}" dt="2024-12-16T17:50:12.940" v="121562"/>
          <ac:spMkLst>
            <pc:docMk/>
            <pc:sldMk cId="3677495233" sldId="287"/>
            <ac:spMk id="160" creationId="{5A69291B-9724-92EC-6E05-116426DCCB09}"/>
          </ac:spMkLst>
        </pc:spChg>
        <pc:spChg chg="add del mod">
          <ac:chgData name="Oğuz Öztekin" userId="33c0df0f-d5fe-4bda-8f43-141ad7af67e3" providerId="ADAL" clId="{48B824AD-1B2A-47A8-8D92-6FE6E622A650}" dt="2024-12-16T17:50:12.939" v="121561"/>
          <ac:spMkLst>
            <pc:docMk/>
            <pc:sldMk cId="3677495233" sldId="287"/>
            <ac:spMk id="161" creationId="{599EFD3D-0891-6104-565A-8B4E1488FB12}"/>
          </ac:spMkLst>
        </pc:spChg>
        <pc:spChg chg="add del mod">
          <ac:chgData name="Oğuz Öztekin" userId="33c0df0f-d5fe-4bda-8f43-141ad7af67e3" providerId="ADAL" clId="{48B824AD-1B2A-47A8-8D92-6FE6E622A650}" dt="2024-12-16T17:50:12.939" v="121560"/>
          <ac:spMkLst>
            <pc:docMk/>
            <pc:sldMk cId="3677495233" sldId="287"/>
            <ac:spMk id="162" creationId="{968B50D2-2BE2-C9F6-85C6-396041CD9295}"/>
          </ac:spMkLst>
        </pc:spChg>
        <pc:spChg chg="add del mod">
          <ac:chgData name="Oğuz Öztekin" userId="33c0df0f-d5fe-4bda-8f43-141ad7af67e3" providerId="ADAL" clId="{48B824AD-1B2A-47A8-8D92-6FE6E622A650}" dt="2024-12-16T17:50:12.939" v="121559"/>
          <ac:spMkLst>
            <pc:docMk/>
            <pc:sldMk cId="3677495233" sldId="287"/>
            <ac:spMk id="163" creationId="{8CADC734-4666-301F-F87D-F30D85233E54}"/>
          </ac:spMkLst>
        </pc:spChg>
        <pc:spChg chg="add del mod">
          <ac:chgData name="Oğuz Öztekin" userId="33c0df0f-d5fe-4bda-8f43-141ad7af67e3" providerId="ADAL" clId="{48B824AD-1B2A-47A8-8D92-6FE6E622A650}" dt="2024-12-16T17:50:12.938" v="121558"/>
          <ac:spMkLst>
            <pc:docMk/>
            <pc:sldMk cId="3677495233" sldId="287"/>
            <ac:spMk id="164" creationId="{6ACF960B-B94F-E141-B27B-802080E24477}"/>
          </ac:spMkLst>
        </pc:spChg>
        <pc:spChg chg="add del mod">
          <ac:chgData name="Oğuz Öztekin" userId="33c0df0f-d5fe-4bda-8f43-141ad7af67e3" providerId="ADAL" clId="{48B824AD-1B2A-47A8-8D92-6FE6E622A650}" dt="2024-12-16T17:50:12.938" v="121557"/>
          <ac:spMkLst>
            <pc:docMk/>
            <pc:sldMk cId="3677495233" sldId="287"/>
            <ac:spMk id="165" creationId="{E946C053-EB28-BB8C-8899-85B59D1D2E49}"/>
          </ac:spMkLst>
        </pc:spChg>
        <pc:spChg chg="add del mod">
          <ac:chgData name="Oğuz Öztekin" userId="33c0df0f-d5fe-4bda-8f43-141ad7af67e3" providerId="ADAL" clId="{48B824AD-1B2A-47A8-8D92-6FE6E622A650}" dt="2024-12-16T17:50:12.942" v="121571"/>
          <ac:spMkLst>
            <pc:docMk/>
            <pc:sldMk cId="3677495233" sldId="287"/>
            <ac:spMk id="166" creationId="{535288E1-B915-388A-4D9F-114604B00F1E}"/>
          </ac:spMkLst>
        </pc:spChg>
        <pc:spChg chg="add del mod">
          <ac:chgData name="Oğuz Öztekin" userId="33c0df0f-d5fe-4bda-8f43-141ad7af67e3" providerId="ADAL" clId="{48B824AD-1B2A-47A8-8D92-6FE6E622A650}" dt="2024-12-16T17:50:12.942" v="121570"/>
          <ac:spMkLst>
            <pc:docMk/>
            <pc:sldMk cId="3677495233" sldId="287"/>
            <ac:spMk id="167" creationId="{D0812E78-98EF-3699-3001-712917EEC0A2}"/>
          </ac:spMkLst>
        </pc:spChg>
        <pc:spChg chg="add del mod">
          <ac:chgData name="Oğuz Öztekin" userId="33c0df0f-d5fe-4bda-8f43-141ad7af67e3" providerId="ADAL" clId="{48B824AD-1B2A-47A8-8D92-6FE6E622A650}" dt="2024-12-16T17:50:12.942" v="121569"/>
          <ac:spMkLst>
            <pc:docMk/>
            <pc:sldMk cId="3677495233" sldId="287"/>
            <ac:spMk id="168" creationId="{2721F4E1-6690-5976-20D1-FAB3B9A5EF2C}"/>
          </ac:spMkLst>
        </pc:spChg>
        <pc:spChg chg="add del mod">
          <ac:chgData name="Oğuz Öztekin" userId="33c0df0f-d5fe-4bda-8f43-141ad7af67e3" providerId="ADAL" clId="{48B824AD-1B2A-47A8-8D92-6FE6E622A650}" dt="2024-12-16T17:50:12.941" v="121568"/>
          <ac:spMkLst>
            <pc:docMk/>
            <pc:sldMk cId="3677495233" sldId="287"/>
            <ac:spMk id="169" creationId="{FAB4BB0A-5785-B0CB-83A1-D1A582B777CC}"/>
          </ac:spMkLst>
        </pc:spChg>
        <pc:spChg chg="add del mod">
          <ac:chgData name="Oğuz Öztekin" userId="33c0df0f-d5fe-4bda-8f43-141ad7af67e3" providerId="ADAL" clId="{48B824AD-1B2A-47A8-8D92-6FE6E622A650}" dt="2024-12-16T17:50:12.941" v="121567"/>
          <ac:spMkLst>
            <pc:docMk/>
            <pc:sldMk cId="3677495233" sldId="287"/>
            <ac:spMk id="170" creationId="{7653DE90-8490-4FB9-2127-84567CB35B00}"/>
          </ac:spMkLst>
        </pc:spChg>
        <pc:spChg chg="add del mod">
          <ac:chgData name="Oğuz Öztekin" userId="33c0df0f-d5fe-4bda-8f43-141ad7af67e3" providerId="ADAL" clId="{48B824AD-1B2A-47A8-8D92-6FE6E622A650}" dt="2024-12-16T17:50:12.941" v="121566"/>
          <ac:spMkLst>
            <pc:docMk/>
            <pc:sldMk cId="3677495233" sldId="287"/>
            <ac:spMk id="171" creationId="{D75E4728-989E-5EF1-C190-0DCE3E0FE2B8}"/>
          </ac:spMkLst>
        </pc:spChg>
        <pc:spChg chg="add del mod">
          <ac:chgData name="Oğuz Öztekin" userId="33c0df0f-d5fe-4bda-8f43-141ad7af67e3" providerId="ADAL" clId="{48B824AD-1B2A-47A8-8D92-6FE6E622A650}" dt="2024-12-16T17:50:12.940" v="121565"/>
          <ac:spMkLst>
            <pc:docMk/>
            <pc:sldMk cId="3677495233" sldId="287"/>
            <ac:spMk id="172" creationId="{0B80E4FE-ADEE-5039-233A-D5BD753CC442}"/>
          </ac:spMkLst>
        </pc:spChg>
        <pc:spChg chg="add del mod">
          <ac:chgData name="Oğuz Öztekin" userId="33c0df0f-d5fe-4bda-8f43-141ad7af67e3" providerId="ADAL" clId="{48B824AD-1B2A-47A8-8D92-6FE6E622A650}" dt="2024-12-16T17:50:12.945" v="121582"/>
          <ac:spMkLst>
            <pc:docMk/>
            <pc:sldMk cId="3677495233" sldId="287"/>
            <ac:spMk id="173" creationId="{E0E9536F-661E-5711-6F1C-D04E4F23FBCF}"/>
          </ac:spMkLst>
        </pc:spChg>
        <pc:spChg chg="add del mod">
          <ac:chgData name="Oğuz Öztekin" userId="33c0df0f-d5fe-4bda-8f43-141ad7af67e3" providerId="ADAL" clId="{48B824AD-1B2A-47A8-8D92-6FE6E622A650}" dt="2024-12-16T17:50:12.945" v="121581"/>
          <ac:spMkLst>
            <pc:docMk/>
            <pc:sldMk cId="3677495233" sldId="287"/>
            <ac:spMk id="174" creationId="{8923B161-10CC-7C8A-D292-D1DEFB9F6807}"/>
          </ac:spMkLst>
        </pc:spChg>
        <pc:spChg chg="add del mod">
          <ac:chgData name="Oğuz Öztekin" userId="33c0df0f-d5fe-4bda-8f43-141ad7af67e3" providerId="ADAL" clId="{48B824AD-1B2A-47A8-8D92-6FE6E622A650}" dt="2024-12-16T17:50:12.945" v="121580"/>
          <ac:spMkLst>
            <pc:docMk/>
            <pc:sldMk cId="3677495233" sldId="287"/>
            <ac:spMk id="175" creationId="{DA8D94EB-DFA1-B5E3-0CB3-37146CA9CA27}"/>
          </ac:spMkLst>
        </pc:spChg>
        <pc:spChg chg="add del mod">
          <ac:chgData name="Oğuz Öztekin" userId="33c0df0f-d5fe-4bda-8f43-141ad7af67e3" providerId="ADAL" clId="{48B824AD-1B2A-47A8-8D92-6FE6E622A650}" dt="2024-12-16T17:50:12.944" v="121579"/>
          <ac:spMkLst>
            <pc:docMk/>
            <pc:sldMk cId="3677495233" sldId="287"/>
            <ac:spMk id="176" creationId="{03E38E76-156B-1CA4-E807-326098B0F82B}"/>
          </ac:spMkLst>
        </pc:spChg>
        <pc:spChg chg="add del mod">
          <ac:chgData name="Oğuz Öztekin" userId="33c0df0f-d5fe-4bda-8f43-141ad7af67e3" providerId="ADAL" clId="{48B824AD-1B2A-47A8-8D92-6FE6E622A650}" dt="2024-12-16T17:50:12.944" v="121578"/>
          <ac:spMkLst>
            <pc:docMk/>
            <pc:sldMk cId="3677495233" sldId="287"/>
            <ac:spMk id="177" creationId="{148F79C6-F3FC-BF9B-9F7B-BBF5AD46975A}"/>
          </ac:spMkLst>
        </pc:spChg>
        <pc:spChg chg="add del mod">
          <ac:chgData name="Oğuz Öztekin" userId="33c0df0f-d5fe-4bda-8f43-141ad7af67e3" providerId="ADAL" clId="{48B824AD-1B2A-47A8-8D92-6FE6E622A650}" dt="2024-12-16T17:50:12.944" v="121577"/>
          <ac:spMkLst>
            <pc:docMk/>
            <pc:sldMk cId="3677495233" sldId="287"/>
            <ac:spMk id="178" creationId="{4597FB3D-5B8A-E7CD-F66B-2748AC87F67C}"/>
          </ac:spMkLst>
        </pc:spChg>
        <pc:spChg chg="add del mod">
          <ac:chgData name="Oğuz Öztekin" userId="33c0df0f-d5fe-4bda-8f43-141ad7af67e3" providerId="ADAL" clId="{48B824AD-1B2A-47A8-8D92-6FE6E622A650}" dt="2024-12-16T17:50:12.944" v="121576"/>
          <ac:spMkLst>
            <pc:docMk/>
            <pc:sldMk cId="3677495233" sldId="287"/>
            <ac:spMk id="179" creationId="{27C7F48F-9612-EE15-4C70-0E568B64F9D8}"/>
          </ac:spMkLst>
        </pc:spChg>
        <pc:spChg chg="add del mod">
          <ac:chgData name="Oğuz Öztekin" userId="33c0df0f-d5fe-4bda-8f43-141ad7af67e3" providerId="ADAL" clId="{48B824AD-1B2A-47A8-8D92-6FE6E622A650}" dt="2024-12-16T17:50:12.943" v="121575"/>
          <ac:spMkLst>
            <pc:docMk/>
            <pc:sldMk cId="3677495233" sldId="287"/>
            <ac:spMk id="180" creationId="{7753D4EC-2FCE-8BFD-42B4-4052CBE54BD7}"/>
          </ac:spMkLst>
        </pc:spChg>
        <pc:spChg chg="add del mod">
          <ac:chgData name="Oğuz Öztekin" userId="33c0df0f-d5fe-4bda-8f43-141ad7af67e3" providerId="ADAL" clId="{48B824AD-1B2A-47A8-8D92-6FE6E622A650}" dt="2024-12-16T17:50:12.943" v="121574"/>
          <ac:spMkLst>
            <pc:docMk/>
            <pc:sldMk cId="3677495233" sldId="287"/>
            <ac:spMk id="181" creationId="{933637A9-5E09-DCB6-4E94-CA97E6F662A4}"/>
          </ac:spMkLst>
        </pc:spChg>
        <pc:spChg chg="add del mod">
          <ac:chgData name="Oğuz Öztekin" userId="33c0df0f-d5fe-4bda-8f43-141ad7af67e3" providerId="ADAL" clId="{48B824AD-1B2A-47A8-8D92-6FE6E622A650}" dt="2024-12-16T17:50:12.948" v="121592"/>
          <ac:spMkLst>
            <pc:docMk/>
            <pc:sldMk cId="3677495233" sldId="287"/>
            <ac:spMk id="182" creationId="{239D3F70-21BC-2658-DFD4-5674D7ABD959}"/>
          </ac:spMkLst>
        </pc:spChg>
        <pc:spChg chg="add del mod">
          <ac:chgData name="Oğuz Öztekin" userId="33c0df0f-d5fe-4bda-8f43-141ad7af67e3" providerId="ADAL" clId="{48B824AD-1B2A-47A8-8D92-6FE6E622A650}" dt="2024-12-16T17:50:12.947" v="121591"/>
          <ac:spMkLst>
            <pc:docMk/>
            <pc:sldMk cId="3677495233" sldId="287"/>
            <ac:spMk id="183" creationId="{7B3BB3DF-0AE5-6D15-E7BB-81C09123CE87}"/>
          </ac:spMkLst>
        </pc:spChg>
        <pc:spChg chg="add del mod">
          <ac:chgData name="Oğuz Öztekin" userId="33c0df0f-d5fe-4bda-8f43-141ad7af67e3" providerId="ADAL" clId="{48B824AD-1B2A-47A8-8D92-6FE6E622A650}" dt="2024-12-16T17:50:12.947" v="121590"/>
          <ac:spMkLst>
            <pc:docMk/>
            <pc:sldMk cId="3677495233" sldId="287"/>
            <ac:spMk id="184" creationId="{F68ED531-90D5-1B85-F724-B765F935318D}"/>
          </ac:spMkLst>
        </pc:spChg>
        <pc:spChg chg="add del mod">
          <ac:chgData name="Oğuz Öztekin" userId="33c0df0f-d5fe-4bda-8f43-141ad7af67e3" providerId="ADAL" clId="{48B824AD-1B2A-47A8-8D92-6FE6E622A650}" dt="2024-12-16T17:50:12.947" v="121589"/>
          <ac:spMkLst>
            <pc:docMk/>
            <pc:sldMk cId="3677495233" sldId="287"/>
            <ac:spMk id="185" creationId="{9E356F42-6C41-3C96-1B13-6BE390E2BA93}"/>
          </ac:spMkLst>
        </pc:spChg>
        <pc:spChg chg="add del mod">
          <ac:chgData name="Oğuz Öztekin" userId="33c0df0f-d5fe-4bda-8f43-141ad7af67e3" providerId="ADAL" clId="{48B824AD-1B2A-47A8-8D92-6FE6E622A650}" dt="2024-12-16T17:50:12.947" v="121588"/>
          <ac:spMkLst>
            <pc:docMk/>
            <pc:sldMk cId="3677495233" sldId="287"/>
            <ac:spMk id="186" creationId="{85D51EA3-D76E-C4F0-E55A-1258618C5816}"/>
          </ac:spMkLst>
        </pc:spChg>
        <pc:spChg chg="add del mod">
          <ac:chgData name="Oğuz Öztekin" userId="33c0df0f-d5fe-4bda-8f43-141ad7af67e3" providerId="ADAL" clId="{48B824AD-1B2A-47A8-8D92-6FE6E622A650}" dt="2024-12-16T17:50:12.946" v="121587"/>
          <ac:spMkLst>
            <pc:docMk/>
            <pc:sldMk cId="3677495233" sldId="287"/>
            <ac:spMk id="187" creationId="{FBA34C37-8303-B2E2-3857-104A0B06B961}"/>
          </ac:spMkLst>
        </pc:spChg>
        <pc:spChg chg="add del mod">
          <ac:chgData name="Oğuz Öztekin" userId="33c0df0f-d5fe-4bda-8f43-141ad7af67e3" providerId="ADAL" clId="{48B824AD-1B2A-47A8-8D92-6FE6E622A650}" dt="2024-12-16T17:50:12.946" v="121586"/>
          <ac:spMkLst>
            <pc:docMk/>
            <pc:sldMk cId="3677495233" sldId="287"/>
            <ac:spMk id="188" creationId="{AB7DB424-AF8C-EFEE-4A74-B6E617D1DE27}"/>
          </ac:spMkLst>
        </pc:spChg>
        <pc:spChg chg="add del mod">
          <ac:chgData name="Oğuz Öztekin" userId="33c0df0f-d5fe-4bda-8f43-141ad7af67e3" providerId="ADAL" clId="{48B824AD-1B2A-47A8-8D92-6FE6E622A650}" dt="2024-12-16T17:50:12.946" v="121585"/>
          <ac:spMkLst>
            <pc:docMk/>
            <pc:sldMk cId="3677495233" sldId="287"/>
            <ac:spMk id="189" creationId="{C23813B3-5595-5AC4-8FE2-7406E4EC8B45}"/>
          </ac:spMkLst>
        </pc:spChg>
        <pc:spChg chg="add del mod">
          <ac:chgData name="Oğuz Öztekin" userId="33c0df0f-d5fe-4bda-8f43-141ad7af67e3" providerId="ADAL" clId="{48B824AD-1B2A-47A8-8D92-6FE6E622A650}" dt="2024-12-16T17:50:12.950" v="121601"/>
          <ac:spMkLst>
            <pc:docMk/>
            <pc:sldMk cId="3677495233" sldId="287"/>
            <ac:spMk id="190" creationId="{0923A65A-AC0A-C6B6-8442-014017EADFD7}"/>
          </ac:spMkLst>
        </pc:spChg>
        <pc:spChg chg="add del mod">
          <ac:chgData name="Oğuz Öztekin" userId="33c0df0f-d5fe-4bda-8f43-141ad7af67e3" providerId="ADAL" clId="{48B824AD-1B2A-47A8-8D92-6FE6E622A650}" dt="2024-12-16T17:50:12.950" v="121600"/>
          <ac:spMkLst>
            <pc:docMk/>
            <pc:sldMk cId="3677495233" sldId="287"/>
            <ac:spMk id="191" creationId="{46BDECF0-9099-21CC-4CD3-03E74B87AA1A}"/>
          </ac:spMkLst>
        </pc:spChg>
        <pc:spChg chg="add del mod">
          <ac:chgData name="Oğuz Öztekin" userId="33c0df0f-d5fe-4bda-8f43-141ad7af67e3" providerId="ADAL" clId="{48B824AD-1B2A-47A8-8D92-6FE6E622A650}" dt="2024-12-16T17:50:12.950" v="121599"/>
          <ac:spMkLst>
            <pc:docMk/>
            <pc:sldMk cId="3677495233" sldId="287"/>
            <ac:spMk id="192" creationId="{D86A119B-5955-0A8C-D8A5-BAA91F756EFF}"/>
          </ac:spMkLst>
        </pc:spChg>
        <pc:spChg chg="add del mod">
          <ac:chgData name="Oğuz Öztekin" userId="33c0df0f-d5fe-4bda-8f43-141ad7af67e3" providerId="ADAL" clId="{48B824AD-1B2A-47A8-8D92-6FE6E622A650}" dt="2024-12-16T17:50:12.949" v="121598"/>
          <ac:spMkLst>
            <pc:docMk/>
            <pc:sldMk cId="3677495233" sldId="287"/>
            <ac:spMk id="193" creationId="{B1CC7DD3-4545-57DB-93AC-FF9429406B50}"/>
          </ac:spMkLst>
        </pc:spChg>
        <pc:spChg chg="add del mod">
          <ac:chgData name="Oğuz Öztekin" userId="33c0df0f-d5fe-4bda-8f43-141ad7af67e3" providerId="ADAL" clId="{48B824AD-1B2A-47A8-8D92-6FE6E622A650}" dt="2024-12-16T17:50:12.949" v="121597"/>
          <ac:spMkLst>
            <pc:docMk/>
            <pc:sldMk cId="3677495233" sldId="287"/>
            <ac:spMk id="194" creationId="{7BF2E650-51A8-E244-FB33-20273CCAC3CB}"/>
          </ac:spMkLst>
        </pc:spChg>
        <pc:spChg chg="add del mod">
          <ac:chgData name="Oğuz Öztekin" userId="33c0df0f-d5fe-4bda-8f43-141ad7af67e3" providerId="ADAL" clId="{48B824AD-1B2A-47A8-8D92-6FE6E622A650}" dt="2024-12-16T17:50:12.949" v="121596"/>
          <ac:spMkLst>
            <pc:docMk/>
            <pc:sldMk cId="3677495233" sldId="287"/>
            <ac:spMk id="195" creationId="{28E9C72D-DFFF-7672-ECFB-41E060984325}"/>
          </ac:spMkLst>
        </pc:spChg>
        <pc:spChg chg="add del mod">
          <ac:chgData name="Oğuz Öztekin" userId="33c0df0f-d5fe-4bda-8f43-141ad7af67e3" providerId="ADAL" clId="{48B824AD-1B2A-47A8-8D92-6FE6E622A650}" dt="2024-12-16T17:50:12.949" v="121595"/>
          <ac:spMkLst>
            <pc:docMk/>
            <pc:sldMk cId="3677495233" sldId="287"/>
            <ac:spMk id="196" creationId="{040239C3-6A70-FB27-57F3-1FB0E782094C}"/>
          </ac:spMkLst>
        </pc:spChg>
        <pc:spChg chg="add del mod modVis">
          <ac:chgData name="Oğuz Öztekin" userId="33c0df0f-d5fe-4bda-8f43-141ad7af67e3" providerId="ADAL" clId="{48B824AD-1B2A-47A8-8D92-6FE6E622A650}" dt="2024-12-16T17:50:11.250" v="121504"/>
          <ac:spMkLst>
            <pc:docMk/>
            <pc:sldMk cId="3677495233" sldId="287"/>
            <ac:spMk id="205" creationId="{DE3A15E7-0C6F-B894-A4E6-EDC6B0B0339E}"/>
          </ac:spMkLst>
        </pc:spChg>
        <pc:spChg chg="add del mod modVis">
          <ac:chgData name="Oğuz Öztekin" userId="33c0df0f-d5fe-4bda-8f43-141ad7af67e3" providerId="ADAL" clId="{48B824AD-1B2A-47A8-8D92-6FE6E622A650}" dt="2024-12-16T17:50:13.039" v="121713"/>
          <ac:spMkLst>
            <pc:docMk/>
            <pc:sldMk cId="3677495233" sldId="287"/>
            <ac:spMk id="207" creationId="{0FB4382E-F733-88A7-322B-78EF48799905}"/>
          </ac:spMkLst>
        </pc:spChg>
        <pc:spChg chg="add del mod modVis">
          <ac:chgData name="Oğuz Öztekin" userId="33c0df0f-d5fe-4bda-8f43-141ad7af67e3" providerId="ADAL" clId="{48B824AD-1B2A-47A8-8D92-6FE6E622A650}" dt="2024-12-16T17:50:20.696" v="121791"/>
          <ac:spMkLst>
            <pc:docMk/>
            <pc:sldMk cId="3677495233" sldId="287"/>
            <ac:spMk id="209" creationId="{F499D705-A943-FFCD-4790-A3E6499C412B}"/>
          </ac:spMkLst>
        </pc:spChg>
        <pc:spChg chg="add del mod modVis">
          <ac:chgData name="Oğuz Öztekin" userId="33c0df0f-d5fe-4bda-8f43-141ad7af67e3" providerId="ADAL" clId="{48B824AD-1B2A-47A8-8D92-6FE6E622A650}" dt="2024-12-16T17:50:29.382" v="121869"/>
          <ac:spMkLst>
            <pc:docMk/>
            <pc:sldMk cId="3677495233" sldId="287"/>
            <ac:spMk id="211" creationId="{A0E7710D-010A-5B76-1562-62E9B57B1012}"/>
          </ac:spMkLst>
        </pc:spChg>
        <pc:spChg chg="add del mod modVis">
          <ac:chgData name="Oğuz Öztekin" userId="33c0df0f-d5fe-4bda-8f43-141ad7af67e3" providerId="ADAL" clId="{48B824AD-1B2A-47A8-8D92-6FE6E622A650}" dt="2024-12-16T17:50:35.525" v="121947"/>
          <ac:spMkLst>
            <pc:docMk/>
            <pc:sldMk cId="3677495233" sldId="287"/>
            <ac:spMk id="213" creationId="{0AC13732-6DBF-6A42-15EC-447A76DDB85E}"/>
          </ac:spMkLst>
        </pc:spChg>
        <pc:spChg chg="add del mod modVis">
          <ac:chgData name="Oğuz Öztekin" userId="33c0df0f-d5fe-4bda-8f43-141ad7af67e3" providerId="ADAL" clId="{48B824AD-1B2A-47A8-8D92-6FE6E622A650}" dt="2024-12-16T17:50:38.534" v="122025"/>
          <ac:spMkLst>
            <pc:docMk/>
            <pc:sldMk cId="3677495233" sldId="287"/>
            <ac:spMk id="215" creationId="{4920D789-CFF4-2F3E-603F-23F3D3861E66}"/>
          </ac:spMkLst>
        </pc:spChg>
        <pc:spChg chg="add del mod modVis">
          <ac:chgData name="Oğuz Öztekin" userId="33c0df0f-d5fe-4bda-8f43-141ad7af67e3" providerId="ADAL" clId="{48B824AD-1B2A-47A8-8D92-6FE6E622A650}" dt="2024-12-16T17:50:42.676" v="122103"/>
          <ac:spMkLst>
            <pc:docMk/>
            <pc:sldMk cId="3677495233" sldId="287"/>
            <ac:spMk id="217" creationId="{4356D937-A01A-9496-2D62-CF436B9710E9}"/>
          </ac:spMkLst>
        </pc:spChg>
        <pc:spChg chg="add del mod modVis">
          <ac:chgData name="Oğuz Öztekin" userId="33c0df0f-d5fe-4bda-8f43-141ad7af67e3" providerId="ADAL" clId="{48B824AD-1B2A-47A8-8D92-6FE6E622A650}" dt="2024-12-16T17:50:51.049" v="122181"/>
          <ac:spMkLst>
            <pc:docMk/>
            <pc:sldMk cId="3677495233" sldId="287"/>
            <ac:spMk id="219" creationId="{322039D8-5BD2-7D70-CDF1-7D5A2BEBEDB9}"/>
          </ac:spMkLst>
        </pc:spChg>
        <pc:spChg chg="add del mod modVis">
          <ac:chgData name="Oğuz Öztekin" userId="33c0df0f-d5fe-4bda-8f43-141ad7af67e3" providerId="ADAL" clId="{48B824AD-1B2A-47A8-8D92-6FE6E622A650}" dt="2024-12-16T17:50:55.194" v="122259"/>
          <ac:spMkLst>
            <pc:docMk/>
            <pc:sldMk cId="3677495233" sldId="287"/>
            <ac:spMk id="221" creationId="{CC67E646-2961-6828-E42D-B56B575BF43A}"/>
          </ac:spMkLst>
        </pc:spChg>
        <pc:spChg chg="add del mod modVis">
          <ac:chgData name="Oğuz Öztekin" userId="33c0df0f-d5fe-4bda-8f43-141ad7af67e3" providerId="ADAL" clId="{48B824AD-1B2A-47A8-8D92-6FE6E622A650}" dt="2024-12-16T17:51:04.735" v="122518"/>
          <ac:spMkLst>
            <pc:docMk/>
            <pc:sldMk cId="3677495233" sldId="287"/>
            <ac:spMk id="223" creationId="{15227A1B-4E13-C4A6-1669-1996DA0E0D9A}"/>
          </ac:spMkLst>
        </pc:spChg>
        <pc:spChg chg="add del mod modVis">
          <ac:chgData name="Oğuz Öztekin" userId="33c0df0f-d5fe-4bda-8f43-141ad7af67e3" providerId="ADAL" clId="{48B824AD-1B2A-47A8-8D92-6FE6E622A650}" dt="2024-12-16T17:51:08.226" v="122765"/>
          <ac:spMkLst>
            <pc:docMk/>
            <pc:sldMk cId="3677495233" sldId="287"/>
            <ac:spMk id="225" creationId="{A25D090A-9B8E-7BBB-60D0-FCA104CDC8F6}"/>
          </ac:spMkLst>
        </pc:spChg>
        <pc:spChg chg="add del mod modVis">
          <ac:chgData name="Oğuz Öztekin" userId="33c0df0f-d5fe-4bda-8f43-141ad7af67e3" providerId="ADAL" clId="{48B824AD-1B2A-47A8-8D92-6FE6E622A650}" dt="2024-12-16T17:53:19.670" v="123627"/>
          <ac:spMkLst>
            <pc:docMk/>
            <pc:sldMk cId="3677495233" sldId="287"/>
            <ac:spMk id="227" creationId="{97E3EB77-5481-AF57-05C2-041C63EEF172}"/>
          </ac:spMkLst>
        </pc:spChg>
        <pc:spChg chg="add mod">
          <ac:chgData name="Oğuz Öztekin" userId="33c0df0f-d5fe-4bda-8f43-141ad7af67e3" providerId="ADAL" clId="{48B824AD-1B2A-47A8-8D92-6FE6E622A650}" dt="2024-12-16T17:53:19.670" v="123627"/>
          <ac:spMkLst>
            <pc:docMk/>
            <pc:sldMk cId="3677495233" sldId="287"/>
            <ac:spMk id="228" creationId="{55F7F867-73DD-F6FA-3991-81726B792267}"/>
          </ac:spMkLst>
        </pc:spChg>
        <pc:spChg chg="add mod">
          <ac:chgData name="Oğuz Öztekin" userId="33c0df0f-d5fe-4bda-8f43-141ad7af67e3" providerId="ADAL" clId="{48B824AD-1B2A-47A8-8D92-6FE6E622A650}" dt="2024-12-16T17:53:19.670" v="123627"/>
          <ac:spMkLst>
            <pc:docMk/>
            <pc:sldMk cId="3677495233" sldId="287"/>
            <ac:spMk id="229" creationId="{81EA6D80-1BD1-B487-274C-22834F13ED5D}"/>
          </ac:spMkLst>
        </pc:spChg>
        <pc:spChg chg="add mod">
          <ac:chgData name="Oğuz Öztekin" userId="33c0df0f-d5fe-4bda-8f43-141ad7af67e3" providerId="ADAL" clId="{48B824AD-1B2A-47A8-8D92-6FE6E622A650}" dt="2024-12-16T17:53:19.670" v="123627"/>
          <ac:spMkLst>
            <pc:docMk/>
            <pc:sldMk cId="3677495233" sldId="287"/>
            <ac:spMk id="230" creationId="{F5D421CA-66E7-B180-E1B5-706DB0961F4C}"/>
          </ac:spMkLst>
        </pc:spChg>
        <pc:spChg chg="add del mod">
          <ac:chgData name="Oğuz Öztekin" userId="33c0df0f-d5fe-4bda-8f43-141ad7af67e3" providerId="ADAL" clId="{48B824AD-1B2A-47A8-8D92-6FE6E622A650}" dt="2024-12-16T17:53:19.670" v="123627"/>
          <ac:spMkLst>
            <pc:docMk/>
            <pc:sldMk cId="3677495233" sldId="287"/>
            <ac:spMk id="231" creationId="{788DBEF9-91FA-C897-A2E1-E479D9DE2290}"/>
          </ac:spMkLst>
        </pc:spChg>
        <pc:spChg chg="add del mod">
          <ac:chgData name="Oğuz Öztekin" userId="33c0df0f-d5fe-4bda-8f43-141ad7af67e3" providerId="ADAL" clId="{48B824AD-1B2A-47A8-8D92-6FE6E622A650}" dt="2024-12-16T17:53:19.670" v="123627"/>
          <ac:spMkLst>
            <pc:docMk/>
            <pc:sldMk cId="3677495233" sldId="287"/>
            <ac:spMk id="232" creationId="{ED6B2349-20E2-3216-5FC1-3FE30E93A8DF}"/>
          </ac:spMkLst>
        </pc:spChg>
        <pc:spChg chg="add del mod modVis">
          <ac:chgData name="Oğuz Öztekin" userId="33c0df0f-d5fe-4bda-8f43-141ad7af67e3" providerId="ADAL" clId="{48B824AD-1B2A-47A8-8D92-6FE6E622A650}" dt="2024-12-16T17:53:18.858" v="123477"/>
          <ac:spMkLst>
            <pc:docMk/>
            <pc:sldMk cId="3677495233" sldId="287"/>
            <ac:spMk id="234" creationId="{1FE21378-0394-4066-C980-934A7614E72F}"/>
          </ac:spMkLst>
        </pc:spChg>
        <pc:spChg chg="add del mod modVis">
          <ac:chgData name="Oğuz Öztekin" userId="33c0df0f-d5fe-4bda-8f43-141ad7af67e3" providerId="ADAL" clId="{48B824AD-1B2A-47A8-8D92-6FE6E622A650}" dt="2024-12-16T17:53:17.969" v="123435"/>
          <ac:spMkLst>
            <pc:docMk/>
            <pc:sldMk cId="3677495233" sldId="287"/>
            <ac:spMk id="236" creationId="{8070E9B8-5743-ADDC-5EF5-C7B1722176B0}"/>
          </ac:spMkLst>
        </pc:spChg>
        <pc:spChg chg="add del mod modVis">
          <ac:chgData name="Oğuz Öztekin" userId="33c0df0f-d5fe-4bda-8f43-141ad7af67e3" providerId="ADAL" clId="{48B824AD-1B2A-47A8-8D92-6FE6E622A650}" dt="2024-12-16T17:53:17.539" v="123394"/>
          <ac:spMkLst>
            <pc:docMk/>
            <pc:sldMk cId="3677495233" sldId="287"/>
            <ac:spMk id="238" creationId="{F090FEC7-8355-4A1E-B572-003FB8D72A47}"/>
          </ac:spMkLst>
        </pc:spChg>
        <pc:spChg chg="add del mod modVis">
          <ac:chgData name="Oğuz Öztekin" userId="33c0df0f-d5fe-4bda-8f43-141ad7af67e3" providerId="ADAL" clId="{48B824AD-1B2A-47A8-8D92-6FE6E622A650}" dt="2024-12-16T17:53:27.772" v="123883"/>
          <ac:spMkLst>
            <pc:docMk/>
            <pc:sldMk cId="3677495233" sldId="287"/>
            <ac:spMk id="240" creationId="{33FBF738-FE26-596C-3DBB-F8B3888AEB24}"/>
          </ac:spMkLst>
        </pc:spChg>
        <pc:spChg chg="add del mod modVis">
          <ac:chgData name="Oğuz Öztekin" userId="33c0df0f-d5fe-4bda-8f43-141ad7af67e3" providerId="ADAL" clId="{48B824AD-1B2A-47A8-8D92-6FE6E622A650}" dt="2024-12-16T17:53:44.799" v="124139"/>
          <ac:spMkLst>
            <pc:docMk/>
            <pc:sldMk cId="3677495233" sldId="287"/>
            <ac:spMk id="242" creationId="{2861C613-351C-5C91-CE82-059E85FE5A9D}"/>
          </ac:spMkLst>
        </pc:spChg>
        <pc:spChg chg="add del mod modVis">
          <ac:chgData name="Oğuz Öztekin" userId="33c0df0f-d5fe-4bda-8f43-141ad7af67e3" providerId="ADAL" clId="{48B824AD-1B2A-47A8-8D92-6FE6E622A650}" dt="2024-12-16T17:54:53.486" v="124443"/>
          <ac:spMkLst>
            <pc:docMk/>
            <pc:sldMk cId="3677495233" sldId="287"/>
            <ac:spMk id="244" creationId="{679AD93F-3F7A-64DA-6218-655B16FD41A6}"/>
          </ac:spMkLst>
        </pc:spChg>
        <pc:spChg chg="add mod">
          <ac:chgData name="Oğuz Öztekin" userId="33c0df0f-d5fe-4bda-8f43-141ad7af67e3" providerId="ADAL" clId="{48B824AD-1B2A-47A8-8D92-6FE6E622A650}" dt="2024-12-16T17:55:23.855" v="124575"/>
          <ac:spMkLst>
            <pc:docMk/>
            <pc:sldMk cId="3677495233" sldId="287"/>
            <ac:spMk id="246" creationId="{A61CBB0B-5F43-3C4C-B510-545A5C62104F}"/>
          </ac:spMkLst>
        </pc:spChg>
        <pc:spChg chg="add del mod modVis">
          <ac:chgData name="Oğuz Öztekin" userId="33c0df0f-d5fe-4bda-8f43-141ad7af67e3" providerId="ADAL" clId="{48B824AD-1B2A-47A8-8D92-6FE6E622A650}" dt="2024-12-16T17:55:23.855" v="124575"/>
          <ac:spMkLst>
            <pc:docMk/>
            <pc:sldMk cId="3677495233" sldId="287"/>
            <ac:spMk id="247" creationId="{BB06394F-E056-CF0B-0234-05DB164A7DA4}"/>
          </ac:spMkLst>
        </pc:spChg>
        <pc:spChg chg="add del mod modVis">
          <ac:chgData name="Oğuz Öztekin" userId="33c0df0f-d5fe-4bda-8f43-141ad7af67e3" providerId="ADAL" clId="{48B824AD-1B2A-47A8-8D92-6FE6E622A650}" dt="2024-12-16T17:56:29.689" v="124726"/>
          <ac:spMkLst>
            <pc:docMk/>
            <pc:sldMk cId="3677495233" sldId="287"/>
            <ac:spMk id="248" creationId="{96CA9CAF-920F-B32F-F993-579855B66CF9}"/>
          </ac:spMkLst>
        </pc:spChg>
        <pc:spChg chg="add del mod modVis">
          <ac:chgData name="Oğuz Öztekin" userId="33c0df0f-d5fe-4bda-8f43-141ad7af67e3" providerId="ADAL" clId="{48B824AD-1B2A-47A8-8D92-6FE6E622A650}" dt="2024-12-16T17:56:30.301" v="124808"/>
          <ac:spMkLst>
            <pc:docMk/>
            <pc:sldMk cId="3677495233" sldId="287"/>
            <ac:spMk id="250" creationId="{AE759D9C-4262-9A92-2E7F-AC428845F5DC}"/>
          </ac:spMkLst>
        </pc:spChg>
        <pc:spChg chg="add del mod modVis">
          <ac:chgData name="Oğuz Öztekin" userId="33c0df0f-d5fe-4bda-8f43-141ad7af67e3" providerId="ADAL" clId="{48B824AD-1B2A-47A8-8D92-6FE6E622A650}" dt="2024-12-16T17:56:35.869" v="124894"/>
          <ac:spMkLst>
            <pc:docMk/>
            <pc:sldMk cId="3677495233" sldId="287"/>
            <ac:spMk id="252" creationId="{AD355A42-EFB2-0CB6-F14E-05973CBF1494}"/>
          </ac:spMkLst>
        </pc:spChg>
        <pc:spChg chg="add del mod modVis">
          <ac:chgData name="Oğuz Öztekin" userId="33c0df0f-d5fe-4bda-8f43-141ad7af67e3" providerId="ADAL" clId="{48B824AD-1B2A-47A8-8D92-6FE6E622A650}" dt="2024-12-16T17:56:37.406" v="124978"/>
          <ac:spMkLst>
            <pc:docMk/>
            <pc:sldMk cId="3677495233" sldId="287"/>
            <ac:spMk id="254" creationId="{3677F5AF-6AE8-F325-0A69-DA9EA8B06914}"/>
          </ac:spMkLst>
        </pc:spChg>
        <pc:spChg chg="add del mod modVis">
          <ac:chgData name="Oğuz Öztekin" userId="33c0df0f-d5fe-4bda-8f43-141ad7af67e3" providerId="ADAL" clId="{48B824AD-1B2A-47A8-8D92-6FE6E622A650}" dt="2024-12-16T17:56:38.435" v="125061"/>
          <ac:spMkLst>
            <pc:docMk/>
            <pc:sldMk cId="3677495233" sldId="287"/>
            <ac:spMk id="256" creationId="{029C277D-BCCE-9FED-31AA-7A787E42FAD5}"/>
          </ac:spMkLst>
        </pc:spChg>
        <pc:spChg chg="add del mod modVis">
          <ac:chgData name="Oğuz Öztekin" userId="33c0df0f-d5fe-4bda-8f43-141ad7af67e3" providerId="ADAL" clId="{48B824AD-1B2A-47A8-8D92-6FE6E622A650}" dt="2024-12-16T17:56:39.384" v="125143"/>
          <ac:spMkLst>
            <pc:docMk/>
            <pc:sldMk cId="3677495233" sldId="287"/>
            <ac:spMk id="258" creationId="{44A365FB-605A-1D9A-A94A-EF6808812FCA}"/>
          </ac:spMkLst>
        </pc:spChg>
        <pc:spChg chg="add del mod modVis">
          <ac:chgData name="Oğuz Öztekin" userId="33c0df0f-d5fe-4bda-8f43-141ad7af67e3" providerId="ADAL" clId="{48B824AD-1B2A-47A8-8D92-6FE6E622A650}" dt="2024-12-16T17:56:40.505" v="125226"/>
          <ac:spMkLst>
            <pc:docMk/>
            <pc:sldMk cId="3677495233" sldId="287"/>
            <ac:spMk id="260" creationId="{D3D45C07-F14A-B272-5726-978BE9FFC753}"/>
          </ac:spMkLst>
        </pc:spChg>
        <pc:spChg chg="add del mod modVis">
          <ac:chgData name="Oğuz Öztekin" userId="33c0df0f-d5fe-4bda-8f43-141ad7af67e3" providerId="ADAL" clId="{48B824AD-1B2A-47A8-8D92-6FE6E622A650}" dt="2024-12-16T17:56:42.792" v="125312"/>
          <ac:spMkLst>
            <pc:docMk/>
            <pc:sldMk cId="3677495233" sldId="287"/>
            <ac:spMk id="262" creationId="{1E2F4DEB-C69A-8235-B5AC-E5E14B46F44B}"/>
          </ac:spMkLst>
        </pc:spChg>
        <pc:spChg chg="add del mod modVis">
          <ac:chgData name="Oğuz Öztekin" userId="33c0df0f-d5fe-4bda-8f43-141ad7af67e3" providerId="ADAL" clId="{48B824AD-1B2A-47A8-8D92-6FE6E622A650}" dt="2024-12-16T17:56:48.367" v="125403"/>
          <ac:spMkLst>
            <pc:docMk/>
            <pc:sldMk cId="3677495233" sldId="287"/>
            <ac:spMk id="264" creationId="{6DA6DBD5-C3FF-B650-BA57-6E8405CA9F36}"/>
          </ac:spMkLst>
        </pc:spChg>
        <pc:spChg chg="add del mod modVis">
          <ac:chgData name="Oğuz Öztekin" userId="33c0df0f-d5fe-4bda-8f43-141ad7af67e3" providerId="ADAL" clId="{48B824AD-1B2A-47A8-8D92-6FE6E622A650}" dt="2024-12-16T17:56:58.429" v="125485"/>
          <ac:spMkLst>
            <pc:docMk/>
            <pc:sldMk cId="3677495233" sldId="287"/>
            <ac:spMk id="266" creationId="{054F342C-F3CD-9877-1F8B-261481340A9F}"/>
          </ac:spMkLst>
        </pc:spChg>
        <pc:spChg chg="add del mod modVis">
          <ac:chgData name="Oğuz Öztekin" userId="33c0df0f-d5fe-4bda-8f43-141ad7af67e3" providerId="ADAL" clId="{48B824AD-1B2A-47A8-8D92-6FE6E622A650}" dt="2024-12-16T17:56:59.091" v="125567"/>
          <ac:spMkLst>
            <pc:docMk/>
            <pc:sldMk cId="3677495233" sldId="287"/>
            <ac:spMk id="268" creationId="{14A41FB5-F1D2-77E0-0F10-2E886CD7D413}"/>
          </ac:spMkLst>
        </pc:spChg>
        <pc:spChg chg="add del mod modVis">
          <ac:chgData name="Oğuz Öztekin" userId="33c0df0f-d5fe-4bda-8f43-141ad7af67e3" providerId="ADAL" clId="{48B824AD-1B2A-47A8-8D92-6FE6E622A650}" dt="2024-12-16T17:56:59.774" v="125649"/>
          <ac:spMkLst>
            <pc:docMk/>
            <pc:sldMk cId="3677495233" sldId="287"/>
            <ac:spMk id="270" creationId="{8B57C2F6-301E-2224-729C-581C3EE75279}"/>
          </ac:spMkLst>
        </pc:spChg>
        <pc:spChg chg="add del mod modVis">
          <ac:chgData name="Oğuz Öztekin" userId="33c0df0f-d5fe-4bda-8f43-141ad7af67e3" providerId="ADAL" clId="{48B824AD-1B2A-47A8-8D92-6FE6E622A650}" dt="2024-12-16T17:57:00.941" v="125731"/>
          <ac:spMkLst>
            <pc:docMk/>
            <pc:sldMk cId="3677495233" sldId="287"/>
            <ac:spMk id="272" creationId="{5B5EBC13-89EC-177E-7ED2-2636B4A1F8D9}"/>
          </ac:spMkLst>
        </pc:spChg>
        <pc:spChg chg="add del mod modVis">
          <ac:chgData name="Oğuz Öztekin" userId="33c0df0f-d5fe-4bda-8f43-141ad7af67e3" providerId="ADAL" clId="{48B824AD-1B2A-47A8-8D92-6FE6E622A650}" dt="2024-12-16T17:57:05.195" v="125866"/>
          <ac:spMkLst>
            <pc:docMk/>
            <pc:sldMk cId="3677495233" sldId="287"/>
            <ac:spMk id="274" creationId="{77C35CF0-137D-CB03-E786-9F05DEBC2182}"/>
          </ac:spMkLst>
        </pc:spChg>
        <pc:spChg chg="add del mod">
          <ac:chgData name="Oğuz Öztekin" userId="33c0df0f-d5fe-4bda-8f43-141ad7af67e3" providerId="ADAL" clId="{48B824AD-1B2A-47A8-8D92-6FE6E622A650}" dt="2024-12-16T17:57:48.483" v="126348"/>
          <ac:spMkLst>
            <pc:docMk/>
            <pc:sldMk cId="3677495233" sldId="287"/>
            <ac:spMk id="275" creationId="{1927EE2D-A48B-4D67-009A-281DD58C17DD}"/>
          </ac:spMkLst>
        </pc:spChg>
        <pc:spChg chg="add del mod">
          <ac:chgData name="Oğuz Öztekin" userId="33c0df0f-d5fe-4bda-8f43-141ad7af67e3" providerId="ADAL" clId="{48B824AD-1B2A-47A8-8D92-6FE6E622A650}" dt="2024-12-16T17:57:48.484" v="126351"/>
          <ac:spMkLst>
            <pc:docMk/>
            <pc:sldMk cId="3677495233" sldId="287"/>
            <ac:spMk id="277" creationId="{FBB29F3B-DBA8-8C0B-1F7C-686763398CFF}"/>
          </ac:spMkLst>
        </pc:spChg>
        <pc:spChg chg="add del mod modVis">
          <ac:chgData name="Oğuz Öztekin" userId="33c0df0f-d5fe-4bda-8f43-141ad7af67e3" providerId="ADAL" clId="{48B824AD-1B2A-47A8-8D92-6FE6E622A650}" dt="2024-12-16T17:57:09.763" v="125981"/>
          <ac:spMkLst>
            <pc:docMk/>
            <pc:sldMk cId="3677495233" sldId="287"/>
            <ac:spMk id="278" creationId="{B1B7C980-B4B6-18CA-1213-10D21683DFDC}"/>
          </ac:spMkLst>
        </pc:spChg>
        <pc:spChg chg="add del mod">
          <ac:chgData name="Oğuz Öztekin" userId="33c0df0f-d5fe-4bda-8f43-141ad7af67e3" providerId="ADAL" clId="{48B824AD-1B2A-47A8-8D92-6FE6E622A650}" dt="2024-12-16T17:57:48.481" v="126347"/>
          <ac:spMkLst>
            <pc:docMk/>
            <pc:sldMk cId="3677495233" sldId="287"/>
            <ac:spMk id="280" creationId="{3CBDFB87-1DB9-AC86-6C15-D75B99DA059D}"/>
          </ac:spMkLst>
        </pc:spChg>
        <pc:spChg chg="add del mod modVis">
          <ac:chgData name="Oğuz Öztekin" userId="33c0df0f-d5fe-4bda-8f43-141ad7af67e3" providerId="ADAL" clId="{48B824AD-1B2A-47A8-8D92-6FE6E622A650}" dt="2024-12-16T17:57:12.919" v="126098"/>
          <ac:spMkLst>
            <pc:docMk/>
            <pc:sldMk cId="3677495233" sldId="287"/>
            <ac:spMk id="281" creationId="{06ED56FF-E464-748A-E10A-E73B490564D0}"/>
          </ac:spMkLst>
        </pc:spChg>
        <pc:spChg chg="add del mod">
          <ac:chgData name="Oğuz Öztekin" userId="33c0df0f-d5fe-4bda-8f43-141ad7af67e3" providerId="ADAL" clId="{48B824AD-1B2A-47A8-8D92-6FE6E622A650}" dt="2024-12-16T17:57:48.483" v="126349"/>
          <ac:spMkLst>
            <pc:docMk/>
            <pc:sldMk cId="3677495233" sldId="287"/>
            <ac:spMk id="283" creationId="{239C4BC5-E1B6-C48F-2598-E1A23D957781}"/>
          </ac:spMkLst>
        </pc:spChg>
        <pc:spChg chg="add del mod modVis">
          <ac:chgData name="Oğuz Öztekin" userId="33c0df0f-d5fe-4bda-8f43-141ad7af67e3" providerId="ADAL" clId="{48B824AD-1B2A-47A8-8D92-6FE6E622A650}" dt="2024-12-16T17:57:15.077" v="126219"/>
          <ac:spMkLst>
            <pc:docMk/>
            <pc:sldMk cId="3677495233" sldId="287"/>
            <ac:spMk id="284" creationId="{BA9C466E-66C7-EF08-6B5F-A377A993918A}"/>
          </ac:spMkLst>
        </pc:spChg>
        <pc:spChg chg="add del mod">
          <ac:chgData name="Oğuz Öztekin" userId="33c0df0f-d5fe-4bda-8f43-141ad7af67e3" providerId="ADAL" clId="{48B824AD-1B2A-47A8-8D92-6FE6E622A650}" dt="2024-12-16T17:57:48.483" v="126350"/>
          <ac:spMkLst>
            <pc:docMk/>
            <pc:sldMk cId="3677495233" sldId="287"/>
            <ac:spMk id="286" creationId="{14F2610E-BCD0-1FA6-B90D-26101945F5D0}"/>
          </ac:spMkLst>
        </pc:spChg>
        <pc:spChg chg="add del mod modVis">
          <ac:chgData name="Oğuz Öztekin" userId="33c0df0f-d5fe-4bda-8f43-141ad7af67e3" providerId="ADAL" clId="{48B824AD-1B2A-47A8-8D92-6FE6E622A650}" dt="2024-12-16T17:57:23.072" v="126344"/>
          <ac:spMkLst>
            <pc:docMk/>
            <pc:sldMk cId="3677495233" sldId="287"/>
            <ac:spMk id="287" creationId="{AAD1C6F8-38CC-54FB-2122-6BD37CE07084}"/>
          </ac:spMkLst>
        </pc:spChg>
        <pc:spChg chg="add del mod modVis">
          <ac:chgData name="Oğuz Öztekin" userId="33c0df0f-d5fe-4bda-8f43-141ad7af67e3" providerId="ADAL" clId="{48B824AD-1B2A-47A8-8D92-6FE6E622A650}" dt="2024-12-16T17:57:48.552" v="126428"/>
          <ac:spMkLst>
            <pc:docMk/>
            <pc:sldMk cId="3677495233" sldId="287"/>
            <ac:spMk id="289" creationId="{7A80769F-D60C-B2BB-7BC9-5153D06D0AF6}"/>
          </ac:spMkLst>
        </pc:spChg>
        <pc:spChg chg="add del mod modVis">
          <ac:chgData name="Oğuz Öztekin" userId="33c0df0f-d5fe-4bda-8f43-141ad7af67e3" providerId="ADAL" clId="{48B824AD-1B2A-47A8-8D92-6FE6E622A650}" dt="2024-12-16T17:57:50.561" v="126579"/>
          <ac:spMkLst>
            <pc:docMk/>
            <pc:sldMk cId="3677495233" sldId="287"/>
            <ac:spMk id="291" creationId="{D18B5446-300E-185F-9656-5A9462152FA1}"/>
          </ac:spMkLst>
        </pc:spChg>
        <pc:spChg chg="add mod">
          <ac:chgData name="Oğuz Öztekin" userId="33c0df0f-d5fe-4bda-8f43-141ad7af67e3" providerId="ADAL" clId="{48B824AD-1B2A-47A8-8D92-6FE6E622A650}" dt="2024-12-16T18:21:26.198" v="178733"/>
          <ac:spMkLst>
            <pc:docMk/>
            <pc:sldMk cId="3677495233" sldId="287"/>
            <ac:spMk id="292" creationId="{BCD2FD7C-823D-340D-8224-1E3861F79691}"/>
          </ac:spMkLst>
        </pc:spChg>
        <pc:spChg chg="add mod">
          <ac:chgData name="Oğuz Öztekin" userId="33c0df0f-d5fe-4bda-8f43-141ad7af67e3" providerId="ADAL" clId="{48B824AD-1B2A-47A8-8D92-6FE6E622A650}" dt="2024-12-16T18:21:26.198" v="178734"/>
          <ac:spMkLst>
            <pc:docMk/>
            <pc:sldMk cId="3677495233" sldId="287"/>
            <ac:spMk id="295" creationId="{2F3EAD0D-E448-9472-3882-328013F76685}"/>
          </ac:spMkLst>
        </pc:spChg>
        <pc:spChg chg="add del mod modVis">
          <ac:chgData name="Oğuz Öztekin" userId="33c0df0f-d5fe-4bda-8f43-141ad7af67e3" providerId="ADAL" clId="{48B824AD-1B2A-47A8-8D92-6FE6E622A650}" dt="2024-12-16T17:57:53.084" v="126696"/>
          <ac:spMkLst>
            <pc:docMk/>
            <pc:sldMk cId="3677495233" sldId="287"/>
            <ac:spMk id="296" creationId="{28720454-C403-6784-9DB5-3A05006D33CB}"/>
          </ac:spMkLst>
        </pc:spChg>
        <pc:spChg chg="add mod">
          <ac:chgData name="Oğuz Öztekin" userId="33c0df0f-d5fe-4bda-8f43-141ad7af67e3" providerId="ADAL" clId="{48B824AD-1B2A-47A8-8D92-6FE6E622A650}" dt="2024-12-16T18:21:26.198" v="178735"/>
          <ac:spMkLst>
            <pc:docMk/>
            <pc:sldMk cId="3677495233" sldId="287"/>
            <ac:spMk id="298" creationId="{8F0B02A3-4528-E1DB-1E5A-F480CCF4D744}"/>
          </ac:spMkLst>
        </pc:spChg>
        <pc:spChg chg="add del mod modVis">
          <ac:chgData name="Oğuz Öztekin" userId="33c0df0f-d5fe-4bda-8f43-141ad7af67e3" providerId="ADAL" clId="{48B824AD-1B2A-47A8-8D92-6FE6E622A650}" dt="2024-12-16T17:57:54.933" v="126815"/>
          <ac:spMkLst>
            <pc:docMk/>
            <pc:sldMk cId="3677495233" sldId="287"/>
            <ac:spMk id="299" creationId="{4E6852B4-512E-17E5-538A-2FED3EF071F4}"/>
          </ac:spMkLst>
        </pc:spChg>
        <pc:spChg chg="add mod">
          <ac:chgData name="Oğuz Öztekin" userId="33c0df0f-d5fe-4bda-8f43-141ad7af67e3" providerId="ADAL" clId="{48B824AD-1B2A-47A8-8D92-6FE6E622A650}" dt="2024-12-16T18:21:26.199" v="178736"/>
          <ac:spMkLst>
            <pc:docMk/>
            <pc:sldMk cId="3677495233" sldId="287"/>
            <ac:spMk id="301" creationId="{E2ADD6DF-203C-1FFB-F187-675A2D9042DA}"/>
          </ac:spMkLst>
        </pc:spChg>
        <pc:spChg chg="add del mod modVis">
          <ac:chgData name="Oğuz Öztekin" userId="33c0df0f-d5fe-4bda-8f43-141ad7af67e3" providerId="ADAL" clId="{48B824AD-1B2A-47A8-8D92-6FE6E622A650}" dt="2024-12-16T17:57:56.533" v="126936"/>
          <ac:spMkLst>
            <pc:docMk/>
            <pc:sldMk cId="3677495233" sldId="287"/>
            <ac:spMk id="302" creationId="{46C91DB4-B18E-DFDE-17C1-F191778C9B54}"/>
          </ac:spMkLst>
        </pc:spChg>
        <pc:spChg chg="add mod">
          <ac:chgData name="Oğuz Öztekin" userId="33c0df0f-d5fe-4bda-8f43-141ad7af67e3" providerId="ADAL" clId="{48B824AD-1B2A-47A8-8D92-6FE6E622A650}" dt="2024-12-16T18:21:26.199" v="178737"/>
          <ac:spMkLst>
            <pc:docMk/>
            <pc:sldMk cId="3677495233" sldId="287"/>
            <ac:spMk id="304" creationId="{7567CADD-6CB8-DA86-96E4-49D707736A35}"/>
          </ac:spMkLst>
        </pc:spChg>
        <pc:spChg chg="add del mod modVis">
          <ac:chgData name="Oğuz Öztekin" userId="33c0df0f-d5fe-4bda-8f43-141ad7af67e3" providerId="ADAL" clId="{48B824AD-1B2A-47A8-8D92-6FE6E622A650}" dt="2024-12-16T17:58:00.534" v="127075"/>
          <ac:spMkLst>
            <pc:docMk/>
            <pc:sldMk cId="3677495233" sldId="287"/>
            <ac:spMk id="305" creationId="{C58C30FC-8ABD-2E04-8D1A-1516B1728242}"/>
          </ac:spMkLst>
        </pc:spChg>
        <pc:spChg chg="add mod">
          <ac:chgData name="Oğuz Öztekin" userId="33c0df0f-d5fe-4bda-8f43-141ad7af67e3" providerId="ADAL" clId="{48B824AD-1B2A-47A8-8D92-6FE6E622A650}" dt="2024-12-16T18:21:26.202" v="178747"/>
          <ac:spMkLst>
            <pc:docMk/>
            <pc:sldMk cId="3677495233" sldId="287"/>
            <ac:spMk id="308" creationId="{01C21A6A-F80C-5EE5-2566-DF86CB6B9730}"/>
          </ac:spMkLst>
        </pc:spChg>
        <pc:spChg chg="add del mod modVis">
          <ac:chgData name="Oğuz Öztekin" userId="33c0df0f-d5fe-4bda-8f43-141ad7af67e3" providerId="ADAL" clId="{48B824AD-1B2A-47A8-8D92-6FE6E622A650}" dt="2024-12-16T17:58:14.874" v="127202"/>
          <ac:spMkLst>
            <pc:docMk/>
            <pc:sldMk cId="3677495233" sldId="287"/>
            <ac:spMk id="309" creationId="{9D3D111F-4FEA-4FFB-5DC1-3D92E6EE698D}"/>
          </ac:spMkLst>
        </pc:spChg>
        <pc:spChg chg="add mod">
          <ac:chgData name="Oğuz Öztekin" userId="33c0df0f-d5fe-4bda-8f43-141ad7af67e3" providerId="ADAL" clId="{48B824AD-1B2A-47A8-8D92-6FE6E622A650}" dt="2024-12-16T18:21:26.201" v="178745"/>
          <ac:spMkLst>
            <pc:docMk/>
            <pc:sldMk cId="3677495233" sldId="287"/>
            <ac:spMk id="311" creationId="{E581D666-BA27-DEAC-E56F-A67B4FC05347}"/>
          </ac:spMkLst>
        </pc:spChg>
        <pc:spChg chg="add del mod modVis">
          <ac:chgData name="Oğuz Öztekin" userId="33c0df0f-d5fe-4bda-8f43-141ad7af67e3" providerId="ADAL" clId="{48B824AD-1B2A-47A8-8D92-6FE6E622A650}" dt="2024-12-16T17:58:17.443" v="127347"/>
          <ac:spMkLst>
            <pc:docMk/>
            <pc:sldMk cId="3677495233" sldId="287"/>
            <ac:spMk id="312" creationId="{A1E2B3EE-8DFE-2161-651B-35BAE3922CD3}"/>
          </ac:spMkLst>
        </pc:spChg>
        <pc:spChg chg="add mod">
          <ac:chgData name="Oğuz Öztekin" userId="33c0df0f-d5fe-4bda-8f43-141ad7af67e3" providerId="ADAL" clId="{48B824AD-1B2A-47A8-8D92-6FE6E622A650}" dt="2024-12-16T18:21:26.201" v="178744"/>
          <ac:spMkLst>
            <pc:docMk/>
            <pc:sldMk cId="3677495233" sldId="287"/>
            <ac:spMk id="315" creationId="{3D47A660-641C-DA16-0D2B-01DB69237685}"/>
          </ac:spMkLst>
        </pc:spChg>
        <pc:spChg chg="add del mod modVis">
          <ac:chgData name="Oğuz Öztekin" userId="33c0df0f-d5fe-4bda-8f43-141ad7af67e3" providerId="ADAL" clId="{48B824AD-1B2A-47A8-8D92-6FE6E622A650}" dt="2024-12-16T17:58:20.580" v="127496"/>
          <ac:spMkLst>
            <pc:docMk/>
            <pc:sldMk cId="3677495233" sldId="287"/>
            <ac:spMk id="316" creationId="{C173ACB2-97CC-55B8-27F4-498DEB23BB57}"/>
          </ac:spMkLst>
        </pc:spChg>
        <pc:spChg chg="add mod">
          <ac:chgData name="Oğuz Öztekin" userId="33c0df0f-d5fe-4bda-8f43-141ad7af67e3" providerId="ADAL" clId="{48B824AD-1B2A-47A8-8D92-6FE6E622A650}" dt="2024-12-16T18:21:26.201" v="178746"/>
          <ac:spMkLst>
            <pc:docMk/>
            <pc:sldMk cId="3677495233" sldId="287"/>
            <ac:spMk id="319" creationId="{9BFE874F-D290-CA47-9631-634544260562}"/>
          </ac:spMkLst>
        </pc:spChg>
        <pc:spChg chg="add del mod modVis">
          <ac:chgData name="Oğuz Öztekin" userId="33c0df0f-d5fe-4bda-8f43-141ad7af67e3" providerId="ADAL" clId="{48B824AD-1B2A-47A8-8D92-6FE6E622A650}" dt="2024-12-16T17:58:22.245" v="127649"/>
          <ac:spMkLst>
            <pc:docMk/>
            <pc:sldMk cId="3677495233" sldId="287"/>
            <ac:spMk id="320" creationId="{E29E5162-2914-76E5-FD2C-3AC4FBE2AB34}"/>
          </ac:spMkLst>
        </pc:spChg>
        <pc:spChg chg="add mod">
          <ac:chgData name="Oğuz Öztekin" userId="33c0df0f-d5fe-4bda-8f43-141ad7af67e3" providerId="ADAL" clId="{48B824AD-1B2A-47A8-8D92-6FE6E622A650}" dt="2024-12-16T18:21:26.199" v="178738"/>
          <ac:spMkLst>
            <pc:docMk/>
            <pc:sldMk cId="3677495233" sldId="287"/>
            <ac:spMk id="323" creationId="{2AF072C0-55B0-28C1-D821-E158D4F19AA0}"/>
          </ac:spMkLst>
        </pc:spChg>
        <pc:spChg chg="add del mod modVis">
          <ac:chgData name="Oğuz Öztekin" userId="33c0df0f-d5fe-4bda-8f43-141ad7af67e3" providerId="ADAL" clId="{48B824AD-1B2A-47A8-8D92-6FE6E622A650}" dt="2024-12-16T17:58:32.875" v="127790"/>
          <ac:spMkLst>
            <pc:docMk/>
            <pc:sldMk cId="3677495233" sldId="287"/>
            <ac:spMk id="324" creationId="{8F8E19FC-2AE6-FD99-E588-931F1E907895}"/>
          </ac:spMkLst>
        </pc:spChg>
        <pc:spChg chg="add mod">
          <ac:chgData name="Oğuz Öztekin" userId="33c0df0f-d5fe-4bda-8f43-141ad7af67e3" providerId="ADAL" clId="{48B824AD-1B2A-47A8-8D92-6FE6E622A650}" dt="2024-12-16T18:21:26.199" v="178739"/>
          <ac:spMkLst>
            <pc:docMk/>
            <pc:sldMk cId="3677495233" sldId="287"/>
            <ac:spMk id="326" creationId="{5DB4E24F-5008-3051-8520-7925B8D3089B}"/>
          </ac:spMkLst>
        </pc:spChg>
        <pc:spChg chg="add del mod modVis">
          <ac:chgData name="Oğuz Öztekin" userId="33c0df0f-d5fe-4bda-8f43-141ad7af67e3" providerId="ADAL" clId="{48B824AD-1B2A-47A8-8D92-6FE6E622A650}" dt="2024-12-16T17:58:37.380" v="127933"/>
          <ac:spMkLst>
            <pc:docMk/>
            <pc:sldMk cId="3677495233" sldId="287"/>
            <ac:spMk id="327" creationId="{E4DD7ECA-0EEB-C2D7-729E-D0475A8DB30A}"/>
          </ac:spMkLst>
        </pc:spChg>
        <pc:spChg chg="add mod">
          <ac:chgData name="Oğuz Öztekin" userId="33c0df0f-d5fe-4bda-8f43-141ad7af67e3" providerId="ADAL" clId="{48B824AD-1B2A-47A8-8D92-6FE6E622A650}" dt="2024-12-16T18:21:26.200" v="178740"/>
          <ac:spMkLst>
            <pc:docMk/>
            <pc:sldMk cId="3677495233" sldId="287"/>
            <ac:spMk id="329" creationId="{5AABEC02-09D3-9EBB-EDFA-449D64C1F545}"/>
          </ac:spMkLst>
        </pc:spChg>
        <pc:spChg chg="add del mod modVis">
          <ac:chgData name="Oğuz Öztekin" userId="33c0df0f-d5fe-4bda-8f43-141ad7af67e3" providerId="ADAL" clId="{48B824AD-1B2A-47A8-8D92-6FE6E622A650}" dt="2024-12-16T17:58:40.141" v="128078"/>
          <ac:spMkLst>
            <pc:docMk/>
            <pc:sldMk cId="3677495233" sldId="287"/>
            <ac:spMk id="330" creationId="{47E60266-CAB1-3D88-EBD2-0941DF47BA32}"/>
          </ac:spMkLst>
        </pc:spChg>
        <pc:spChg chg="add mod">
          <ac:chgData name="Oğuz Öztekin" userId="33c0df0f-d5fe-4bda-8f43-141ad7af67e3" providerId="ADAL" clId="{48B824AD-1B2A-47A8-8D92-6FE6E622A650}" dt="2024-12-16T18:21:26.200" v="178741"/>
          <ac:spMkLst>
            <pc:docMk/>
            <pc:sldMk cId="3677495233" sldId="287"/>
            <ac:spMk id="332" creationId="{F3C0E283-2610-AFAD-191B-BDF0E4F87531}"/>
          </ac:spMkLst>
        </pc:spChg>
        <pc:spChg chg="add del mod modVis">
          <ac:chgData name="Oğuz Öztekin" userId="33c0df0f-d5fe-4bda-8f43-141ad7af67e3" providerId="ADAL" clId="{48B824AD-1B2A-47A8-8D92-6FE6E622A650}" dt="2024-12-16T17:58:42.276" v="128227"/>
          <ac:spMkLst>
            <pc:docMk/>
            <pc:sldMk cId="3677495233" sldId="287"/>
            <ac:spMk id="333" creationId="{63D2C275-C913-9916-7BEF-A41BBF3CDF24}"/>
          </ac:spMkLst>
        </pc:spChg>
        <pc:spChg chg="add mod">
          <ac:chgData name="Oğuz Öztekin" userId="33c0df0f-d5fe-4bda-8f43-141ad7af67e3" providerId="ADAL" clId="{48B824AD-1B2A-47A8-8D92-6FE6E622A650}" dt="2024-12-16T18:21:26.200" v="178742"/>
          <ac:spMkLst>
            <pc:docMk/>
            <pc:sldMk cId="3677495233" sldId="287"/>
            <ac:spMk id="335" creationId="{41BEE121-097C-2A41-BDE1-F60701F348BB}"/>
          </ac:spMkLst>
        </pc:spChg>
        <pc:spChg chg="add del mod modVis">
          <ac:chgData name="Oğuz Öztekin" userId="33c0df0f-d5fe-4bda-8f43-141ad7af67e3" providerId="ADAL" clId="{48B824AD-1B2A-47A8-8D92-6FE6E622A650}" dt="2024-12-16T17:58:44.374" v="128376"/>
          <ac:spMkLst>
            <pc:docMk/>
            <pc:sldMk cId="3677495233" sldId="287"/>
            <ac:spMk id="336" creationId="{2E8AB179-2E01-4BC8-DD18-27AE7ACBF9C0}"/>
          </ac:spMkLst>
        </pc:spChg>
        <pc:spChg chg="add del mod modVis">
          <ac:chgData name="Oğuz Öztekin" userId="33c0df0f-d5fe-4bda-8f43-141ad7af67e3" providerId="ADAL" clId="{48B824AD-1B2A-47A8-8D92-6FE6E622A650}" dt="2024-12-16T17:58:51.256" v="128637"/>
          <ac:spMkLst>
            <pc:docMk/>
            <pc:sldMk cId="3677495233" sldId="287"/>
            <ac:spMk id="338" creationId="{7766DC44-4F8A-4292-256E-DBA9B6EBC2AF}"/>
          </ac:spMkLst>
        </pc:spChg>
        <pc:spChg chg="add del mod modVis">
          <ac:chgData name="Oğuz Öztekin" userId="33c0df0f-d5fe-4bda-8f43-141ad7af67e3" providerId="ADAL" clId="{48B824AD-1B2A-47A8-8D92-6FE6E622A650}" dt="2024-12-16T17:58:53.195" v="128823"/>
          <ac:spMkLst>
            <pc:docMk/>
            <pc:sldMk cId="3677495233" sldId="287"/>
            <ac:spMk id="340" creationId="{055DCB0C-036F-2A31-70A8-F82E81C58B94}"/>
          </ac:spMkLst>
        </pc:spChg>
        <pc:spChg chg="add del mod modVis">
          <ac:chgData name="Oğuz Öztekin" userId="33c0df0f-d5fe-4bda-8f43-141ad7af67e3" providerId="ADAL" clId="{48B824AD-1B2A-47A8-8D92-6FE6E622A650}" dt="2024-12-16T17:58:55.657" v="129009"/>
          <ac:spMkLst>
            <pc:docMk/>
            <pc:sldMk cId="3677495233" sldId="287"/>
            <ac:spMk id="342" creationId="{A075D88C-CE57-3E0E-4D7B-B97099E34CBF}"/>
          </ac:spMkLst>
        </pc:spChg>
        <pc:spChg chg="add del mod modVis">
          <ac:chgData name="Oğuz Öztekin" userId="33c0df0f-d5fe-4bda-8f43-141ad7af67e3" providerId="ADAL" clId="{48B824AD-1B2A-47A8-8D92-6FE6E622A650}" dt="2024-12-16T17:59:37.535" v="129126"/>
          <ac:spMkLst>
            <pc:docMk/>
            <pc:sldMk cId="3677495233" sldId="287"/>
            <ac:spMk id="344" creationId="{F7CE4FE7-8E23-2756-58FA-56629F11E092}"/>
          </ac:spMkLst>
        </pc:spChg>
        <pc:spChg chg="add del mod modVis">
          <ac:chgData name="Oğuz Öztekin" userId="33c0df0f-d5fe-4bda-8f43-141ad7af67e3" providerId="ADAL" clId="{48B824AD-1B2A-47A8-8D92-6FE6E622A650}" dt="2024-12-16T18:00:09" v="129266"/>
          <ac:spMkLst>
            <pc:docMk/>
            <pc:sldMk cId="3677495233" sldId="287"/>
            <ac:spMk id="346" creationId="{0E806E2D-68B4-473D-F3A2-D3B4008E2733}"/>
          </ac:spMkLst>
        </pc:spChg>
        <pc:spChg chg="add del mod modVis">
          <ac:chgData name="Oğuz Öztekin" userId="33c0df0f-d5fe-4bda-8f43-141ad7af67e3" providerId="ADAL" clId="{48B824AD-1B2A-47A8-8D92-6FE6E622A650}" dt="2024-12-16T18:00:11.597" v="129406"/>
          <ac:spMkLst>
            <pc:docMk/>
            <pc:sldMk cId="3677495233" sldId="287"/>
            <ac:spMk id="348" creationId="{1C4EC4A6-56EF-4E3D-0CF4-5FC5AF6920C8}"/>
          </ac:spMkLst>
        </pc:spChg>
        <pc:spChg chg="add del mod modVis">
          <ac:chgData name="Oğuz Öztekin" userId="33c0df0f-d5fe-4bda-8f43-141ad7af67e3" providerId="ADAL" clId="{48B824AD-1B2A-47A8-8D92-6FE6E622A650}" dt="2024-12-16T18:00:15.064" v="129592"/>
          <ac:spMkLst>
            <pc:docMk/>
            <pc:sldMk cId="3677495233" sldId="287"/>
            <ac:spMk id="350" creationId="{1DCFB59C-C819-199B-8153-6C5A2FABC0B9}"/>
          </ac:spMkLst>
        </pc:spChg>
        <pc:spChg chg="add del mod modVis">
          <ac:chgData name="Oğuz Öztekin" userId="33c0df0f-d5fe-4bda-8f43-141ad7af67e3" providerId="ADAL" clId="{48B824AD-1B2A-47A8-8D92-6FE6E622A650}" dt="2024-12-16T18:00:16.875" v="129778"/>
          <ac:spMkLst>
            <pc:docMk/>
            <pc:sldMk cId="3677495233" sldId="287"/>
            <ac:spMk id="352" creationId="{76C7AC6C-C266-B9D0-3152-87AEEF5D31E2}"/>
          </ac:spMkLst>
        </pc:spChg>
        <pc:spChg chg="add del mod modVis">
          <ac:chgData name="Oğuz Öztekin" userId="33c0df0f-d5fe-4bda-8f43-141ad7af67e3" providerId="ADAL" clId="{48B824AD-1B2A-47A8-8D92-6FE6E622A650}" dt="2024-12-16T18:00:54.034" v="129809"/>
          <ac:spMkLst>
            <pc:docMk/>
            <pc:sldMk cId="3677495233" sldId="287"/>
            <ac:spMk id="354" creationId="{3ED65DF2-5C78-5E2A-E49D-031EB6CF61ED}"/>
          </ac:spMkLst>
        </pc:spChg>
        <pc:spChg chg="add del mod modVis">
          <ac:chgData name="Oğuz Öztekin" userId="33c0df0f-d5fe-4bda-8f43-141ad7af67e3" providerId="ADAL" clId="{48B824AD-1B2A-47A8-8D92-6FE6E622A650}" dt="2024-12-16T18:00:59.737" v="129835"/>
          <ac:spMkLst>
            <pc:docMk/>
            <pc:sldMk cId="3677495233" sldId="287"/>
            <ac:spMk id="355" creationId="{9A99D9F5-D80F-E018-7355-5B4A96F37E76}"/>
          </ac:spMkLst>
        </pc:spChg>
        <pc:spChg chg="add del mod modVis">
          <ac:chgData name="Oğuz Öztekin" userId="33c0df0f-d5fe-4bda-8f43-141ad7af67e3" providerId="ADAL" clId="{48B824AD-1B2A-47A8-8D92-6FE6E622A650}" dt="2024-12-16T18:01:00.576" v="129861"/>
          <ac:spMkLst>
            <pc:docMk/>
            <pc:sldMk cId="3677495233" sldId="287"/>
            <ac:spMk id="356" creationId="{8BE2C79E-32B2-B52C-53F3-E50AE6978A9A}"/>
          </ac:spMkLst>
        </pc:spChg>
        <pc:spChg chg="add del mod modVis">
          <ac:chgData name="Oğuz Öztekin" userId="33c0df0f-d5fe-4bda-8f43-141ad7af67e3" providerId="ADAL" clId="{48B824AD-1B2A-47A8-8D92-6FE6E622A650}" dt="2024-12-16T18:01:01.874" v="129887"/>
          <ac:spMkLst>
            <pc:docMk/>
            <pc:sldMk cId="3677495233" sldId="287"/>
            <ac:spMk id="357" creationId="{FD17FD27-9574-23B7-557A-56B8344C7EF3}"/>
          </ac:spMkLst>
        </pc:spChg>
        <pc:spChg chg="add del mod modVis">
          <ac:chgData name="Oğuz Öztekin" userId="33c0df0f-d5fe-4bda-8f43-141ad7af67e3" providerId="ADAL" clId="{48B824AD-1B2A-47A8-8D92-6FE6E622A650}" dt="2024-12-16T18:01:06.977" v="129922"/>
          <ac:spMkLst>
            <pc:docMk/>
            <pc:sldMk cId="3677495233" sldId="287"/>
            <ac:spMk id="358" creationId="{A3CB2CD5-3783-3518-8A72-AA3DC95D7928}"/>
          </ac:spMkLst>
        </pc:spChg>
        <pc:spChg chg="add del mod modVis">
          <ac:chgData name="Oğuz Öztekin" userId="33c0df0f-d5fe-4bda-8f43-141ad7af67e3" providerId="ADAL" clId="{48B824AD-1B2A-47A8-8D92-6FE6E622A650}" dt="2024-12-16T18:06:27.965" v="147484"/>
          <ac:spMkLst>
            <pc:docMk/>
            <pc:sldMk cId="3677495233" sldId="287"/>
            <ac:spMk id="359" creationId="{A19BDDA0-201C-EE38-B12A-D776FE0A106F}"/>
          </ac:spMkLst>
        </pc:spChg>
        <pc:spChg chg="add mod">
          <ac:chgData name="Oğuz Öztekin" userId="33c0df0f-d5fe-4bda-8f43-141ad7af67e3" providerId="ADAL" clId="{48B824AD-1B2A-47A8-8D92-6FE6E622A650}" dt="2024-12-16T18:21:26.201" v="178743"/>
          <ac:spMkLst>
            <pc:docMk/>
            <pc:sldMk cId="3677495233" sldId="287"/>
            <ac:spMk id="363" creationId="{771C0672-7D9B-21D1-EBCB-899E1179FBA4}"/>
          </ac:spMkLst>
        </pc:spChg>
        <pc:spChg chg="add del mod modVis">
          <ac:chgData name="Oğuz Öztekin" userId="33c0df0f-d5fe-4bda-8f43-141ad7af67e3" providerId="ADAL" clId="{48B824AD-1B2A-47A8-8D92-6FE6E622A650}" dt="2024-12-16T18:06:34.290" v="147675"/>
          <ac:spMkLst>
            <pc:docMk/>
            <pc:sldMk cId="3677495233" sldId="287"/>
            <ac:spMk id="364" creationId="{3EF45E7F-AC7D-AC61-BF1A-B53D4B98FF71}"/>
          </ac:spMkLst>
        </pc:spChg>
        <pc:spChg chg="add del mod modVis">
          <ac:chgData name="Oğuz Öztekin" userId="33c0df0f-d5fe-4bda-8f43-141ad7af67e3" providerId="ADAL" clId="{48B824AD-1B2A-47A8-8D92-6FE6E622A650}" dt="2024-12-16T18:06:41.297" v="147890"/>
          <ac:spMkLst>
            <pc:docMk/>
            <pc:sldMk cId="3677495233" sldId="287"/>
            <ac:spMk id="366" creationId="{9C2B95B1-DFE2-9900-5FDB-BC9FA7E2A015}"/>
          </ac:spMkLst>
        </pc:spChg>
        <pc:spChg chg="add del mod modVis">
          <ac:chgData name="Oğuz Öztekin" userId="33c0df0f-d5fe-4bda-8f43-141ad7af67e3" providerId="ADAL" clId="{48B824AD-1B2A-47A8-8D92-6FE6E622A650}" dt="2024-12-16T18:21:26.202" v="178750"/>
          <ac:spMkLst>
            <pc:docMk/>
            <pc:sldMk cId="3677495233" sldId="287"/>
            <ac:spMk id="372" creationId="{D04385E0-B85F-3BF9-7A72-E9A9C4801BE7}"/>
          </ac:spMkLst>
        </pc:spChg>
        <pc:graphicFrameChg chg="mod">
          <ac:chgData name="Oğuz Öztekin" userId="33c0df0f-d5fe-4bda-8f43-141ad7af67e3" providerId="ADAL" clId="{48B824AD-1B2A-47A8-8D92-6FE6E622A650}" dt="2024-12-16T18:21:26.203" v="178752"/>
          <ac:graphicFrameMkLst>
            <pc:docMk/>
            <pc:sldMk cId="3677495233" sldId="287"/>
            <ac:graphicFrameMk id="3" creationId="{C01A56A0-3F08-E5AC-019E-0E806F17FBB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5:33.625" v="113159"/>
          <ac:graphicFrameMkLst>
            <pc:docMk/>
            <pc:sldMk cId="3677495233" sldId="287"/>
            <ac:graphicFrameMk id="5" creationId="{0971FBA2-EC3A-CA77-4863-1301E18538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5:54.084" v="113298"/>
          <ac:graphicFrameMkLst>
            <pc:docMk/>
            <pc:sldMk cId="3677495233" sldId="287"/>
            <ac:graphicFrameMk id="7" creationId="{4724585A-9D68-838A-61F0-24B1C1E46A9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5:58.479" v="113617"/>
          <ac:graphicFrameMkLst>
            <pc:docMk/>
            <pc:sldMk cId="3677495233" sldId="287"/>
            <ac:graphicFrameMk id="9" creationId="{B4EF897C-A896-33D3-E21C-F2D393BBA4E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6:00.791" v="113728"/>
          <ac:graphicFrameMkLst>
            <pc:docMk/>
            <pc:sldMk cId="3677495233" sldId="287"/>
            <ac:graphicFrameMk id="22" creationId="{63C74878-9284-5150-B907-B3C8ED22222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6:04.386" v="113829"/>
          <ac:graphicFrameMkLst>
            <pc:docMk/>
            <pc:sldMk cId="3677495233" sldId="287"/>
            <ac:graphicFrameMk id="24" creationId="{03C6825A-6160-1487-D980-0D8D6D74E32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6:10.651" v="113938"/>
          <ac:graphicFrameMkLst>
            <pc:docMk/>
            <pc:sldMk cId="3677495233" sldId="287"/>
            <ac:graphicFrameMk id="26" creationId="{D9E14A08-022E-246C-462A-2E9485CBFC5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6:23.467" v="114047"/>
          <ac:graphicFrameMkLst>
            <pc:docMk/>
            <pc:sldMk cId="3677495233" sldId="287"/>
            <ac:graphicFrameMk id="28" creationId="{F2656469-7EF0-A392-B0AC-3C6D72A909E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6:33.700" v="114156"/>
          <ac:graphicFrameMkLst>
            <pc:docMk/>
            <pc:sldMk cId="3677495233" sldId="287"/>
            <ac:graphicFrameMk id="31" creationId="{C62BF61E-369A-C429-A0CA-E994E20A764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6:55.244" v="114265"/>
          <ac:graphicFrameMkLst>
            <pc:docMk/>
            <pc:sldMk cId="3677495233" sldId="287"/>
            <ac:graphicFrameMk id="33" creationId="{29F28A74-60CB-C895-E152-4052628EAF0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7:08.294" v="114374"/>
          <ac:graphicFrameMkLst>
            <pc:docMk/>
            <pc:sldMk cId="3677495233" sldId="287"/>
            <ac:graphicFrameMk id="38" creationId="{70C697FE-61C4-C7B5-5775-240FD8F19E0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7:21.421" v="114483"/>
          <ac:graphicFrameMkLst>
            <pc:docMk/>
            <pc:sldMk cId="3677495233" sldId="287"/>
            <ac:graphicFrameMk id="40" creationId="{8D4C3E6B-8C9A-DEEF-2D63-95DBCD04E3F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7:38.903" v="114592"/>
          <ac:graphicFrameMkLst>
            <pc:docMk/>
            <pc:sldMk cId="3677495233" sldId="287"/>
            <ac:graphicFrameMk id="42" creationId="{7D552D84-E9BF-1E08-D271-1846DE1EEE9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7:54.641" v="114701"/>
          <ac:graphicFrameMkLst>
            <pc:docMk/>
            <pc:sldMk cId="3677495233" sldId="287"/>
            <ac:graphicFrameMk id="44" creationId="{821B36E8-22AB-DE21-E4D7-2535A84337A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8:04.669" v="114802"/>
          <ac:graphicFrameMkLst>
            <pc:docMk/>
            <pc:sldMk cId="3677495233" sldId="287"/>
            <ac:graphicFrameMk id="46" creationId="{D2D5A59A-19BD-3BD9-6EF6-244E3F2CE09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8:16.298" v="114911"/>
          <ac:graphicFrameMkLst>
            <pc:docMk/>
            <pc:sldMk cId="3677495233" sldId="287"/>
            <ac:graphicFrameMk id="48" creationId="{9611210B-4D29-F09D-C8AE-DC2BE43C33F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8:19.894" v="115040"/>
          <ac:graphicFrameMkLst>
            <pc:docMk/>
            <pc:sldMk cId="3677495233" sldId="287"/>
            <ac:graphicFrameMk id="50" creationId="{164CC95B-B0A6-D872-9C59-288320F9D93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8:35.942" v="115189"/>
          <ac:graphicFrameMkLst>
            <pc:docMk/>
            <pc:sldMk cId="3677495233" sldId="287"/>
            <ac:graphicFrameMk id="55" creationId="{E0BDD9FA-AF74-6AB2-0D4F-F26B7A7521F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8:46.335" v="115279"/>
          <ac:graphicFrameMkLst>
            <pc:docMk/>
            <pc:sldMk cId="3677495233" sldId="287"/>
            <ac:graphicFrameMk id="57" creationId="{9137E141-C5C2-6468-A2C3-E904BA61789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9:42.470" v="117088"/>
          <ac:graphicFrameMkLst>
            <pc:docMk/>
            <pc:sldMk cId="3677495233" sldId="287"/>
            <ac:graphicFrameMk id="59" creationId="{92AC5436-72F9-8547-ADF7-0D3D00FBE26E}"/>
          </ac:graphicFrameMkLst>
        </pc:graphicFrameChg>
        <pc:graphicFrameChg chg="del">
          <ac:chgData name="Oğuz Öztekin" userId="33c0df0f-d5fe-4bda-8f43-141ad7af67e3" providerId="ADAL" clId="{48B824AD-1B2A-47A8-8D92-6FE6E622A650}" dt="2024-12-16T17:44:39.298" v="113078"/>
          <ac:graphicFrameMkLst>
            <pc:docMk/>
            <pc:sldMk cId="3677495233" sldId="287"/>
            <ac:graphicFrameMk id="101" creationId="{2305066C-E736-B181-151B-EBE0D75B99AB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7:49:31.466" v="116983"/>
          <ac:graphicFrameMkLst>
            <pc:docMk/>
            <pc:sldMk cId="3677495233" sldId="287"/>
            <ac:graphicFrameMk id="108" creationId="{A75D4DE2-2752-C1E0-5090-4B11F9DB730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9:56.219" v="117200"/>
          <ac:graphicFrameMkLst>
            <pc:docMk/>
            <pc:sldMk cId="3677495233" sldId="287"/>
            <ac:graphicFrameMk id="110" creationId="{36CCE23E-5472-6428-BD67-9CE8E260F2A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49:57.617" v="117300"/>
          <ac:graphicFrameMkLst>
            <pc:docMk/>
            <pc:sldMk cId="3677495233" sldId="287"/>
            <ac:graphicFrameMk id="112" creationId="{73D40732-3D62-5137-2CF8-3E7B88ED7D5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01.744" v="121130"/>
          <ac:graphicFrameMkLst>
            <pc:docMk/>
            <pc:sldMk cId="3677495233" sldId="287"/>
            <ac:graphicFrameMk id="114" creationId="{6D10C8E0-3566-66AB-04A7-1A906B3C1BF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11.189" v="121386"/>
          <ac:graphicFrameMkLst>
            <pc:docMk/>
            <pc:sldMk cId="3677495233" sldId="287"/>
            <ac:graphicFrameMk id="204" creationId="{CBEA70FC-E801-4114-14D6-6E709DD6E34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13.018" v="121690"/>
          <ac:graphicFrameMkLst>
            <pc:docMk/>
            <pc:sldMk cId="3677495233" sldId="287"/>
            <ac:graphicFrameMk id="206" creationId="{60A8349E-56E5-384A-944F-D318637C9FD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20.673" v="121768"/>
          <ac:graphicFrameMkLst>
            <pc:docMk/>
            <pc:sldMk cId="3677495233" sldId="287"/>
            <ac:graphicFrameMk id="208" creationId="{E9168872-9044-DEF8-A627-6AC5E1EDBB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29.361" v="121846"/>
          <ac:graphicFrameMkLst>
            <pc:docMk/>
            <pc:sldMk cId="3677495233" sldId="287"/>
            <ac:graphicFrameMk id="210" creationId="{BBACA366-55BE-1D4E-5C5F-422E3BE9CD9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35.506" v="121924"/>
          <ac:graphicFrameMkLst>
            <pc:docMk/>
            <pc:sldMk cId="3677495233" sldId="287"/>
            <ac:graphicFrameMk id="212" creationId="{305E2543-3DD1-3084-CFF4-889A40134D7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38.514" v="122002"/>
          <ac:graphicFrameMkLst>
            <pc:docMk/>
            <pc:sldMk cId="3677495233" sldId="287"/>
            <ac:graphicFrameMk id="214" creationId="{9D7C125E-C531-AD70-F3D4-17B31E57BCC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42.656" v="122080"/>
          <ac:graphicFrameMkLst>
            <pc:docMk/>
            <pc:sldMk cId="3677495233" sldId="287"/>
            <ac:graphicFrameMk id="216" creationId="{48A27152-0FFE-BE9A-C178-96B1CEBA80F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51.030" v="122158"/>
          <ac:graphicFrameMkLst>
            <pc:docMk/>
            <pc:sldMk cId="3677495233" sldId="287"/>
            <ac:graphicFrameMk id="218" creationId="{9F16B003-6715-88CA-91DB-72CED71E29F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0:55.178" v="122236"/>
          <ac:graphicFrameMkLst>
            <pc:docMk/>
            <pc:sldMk cId="3677495233" sldId="287"/>
            <ac:graphicFrameMk id="220" creationId="{DAAC227A-E298-182D-B5BF-868E152F788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1:04.715" v="122493"/>
          <ac:graphicFrameMkLst>
            <pc:docMk/>
            <pc:sldMk cId="3677495233" sldId="287"/>
            <ac:graphicFrameMk id="222" creationId="{A9C9A55F-4E7B-521F-AF4D-3BE48033CD7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1:08.203" v="122740"/>
          <ac:graphicFrameMkLst>
            <pc:docMk/>
            <pc:sldMk cId="3677495233" sldId="287"/>
            <ac:graphicFrameMk id="224" creationId="{1FD605AB-FB57-D0BD-60C4-EA1A271DEBB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29.666" v="124701"/>
          <ac:graphicFrameMkLst>
            <pc:docMk/>
            <pc:sldMk cId="3677495233" sldId="287"/>
            <ac:graphicFrameMk id="226" creationId="{67C51D98-10A6-40BF-CD3E-69B7EFAA12B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3:19.670" v="123627"/>
          <ac:graphicFrameMkLst>
            <pc:docMk/>
            <pc:sldMk cId="3677495233" sldId="287"/>
            <ac:graphicFrameMk id="233" creationId="{C46D23CD-AAFE-613F-4171-B08BE90759E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3:18.858" v="123477"/>
          <ac:graphicFrameMkLst>
            <pc:docMk/>
            <pc:sldMk cId="3677495233" sldId="287"/>
            <ac:graphicFrameMk id="235" creationId="{C73F4B01-A692-319D-F3E2-9CEF9B9250E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3:17.969" v="123435"/>
          <ac:graphicFrameMkLst>
            <pc:docMk/>
            <pc:sldMk cId="3677495233" sldId="287"/>
            <ac:graphicFrameMk id="237" creationId="{65BCE263-C63A-47D1-C511-12497507000E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7:53:17.539" v="123394"/>
          <ac:graphicFrameMkLst>
            <pc:docMk/>
            <pc:sldMk cId="3677495233" sldId="287"/>
            <ac:graphicFrameMk id="239" creationId="{8F13F782-E127-271C-2552-21A6A7F795E0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7:53:27.772" v="123883"/>
          <ac:graphicFrameMkLst>
            <pc:docMk/>
            <pc:sldMk cId="3677495233" sldId="287"/>
            <ac:graphicFrameMk id="241" creationId="{25571BA9-2608-27F7-8F15-D60F0977104F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7:53:44.799" v="124139"/>
          <ac:graphicFrameMkLst>
            <pc:docMk/>
            <pc:sldMk cId="3677495233" sldId="287"/>
            <ac:graphicFrameMk id="243" creationId="{BCFBAD4A-3642-50B8-B113-BC4537C7C3E6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7:54:53.486" v="124443"/>
          <ac:graphicFrameMkLst>
            <pc:docMk/>
            <pc:sldMk cId="3677495233" sldId="287"/>
            <ac:graphicFrameMk id="245" creationId="{1D203FC2-BB27-D892-0968-E0C4BDC6E3E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30.281" v="124785"/>
          <ac:graphicFrameMkLst>
            <pc:docMk/>
            <pc:sldMk cId="3677495233" sldId="287"/>
            <ac:graphicFrameMk id="249" creationId="{19922EBD-9D58-5542-CC18-075E61C60E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35.848" v="124871"/>
          <ac:graphicFrameMkLst>
            <pc:docMk/>
            <pc:sldMk cId="3677495233" sldId="287"/>
            <ac:graphicFrameMk id="251" creationId="{3A0B6292-1B22-3D52-FED9-221531EA5D9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37.390" v="124955"/>
          <ac:graphicFrameMkLst>
            <pc:docMk/>
            <pc:sldMk cId="3677495233" sldId="287"/>
            <ac:graphicFrameMk id="253" creationId="{AF3A9677-D0F2-6DB5-631A-14471638D7D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38.416" v="125038"/>
          <ac:graphicFrameMkLst>
            <pc:docMk/>
            <pc:sldMk cId="3677495233" sldId="287"/>
            <ac:graphicFrameMk id="255" creationId="{B9692AA0-78D5-8E0C-9EF6-72EFFBBF530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39.361" v="125120"/>
          <ac:graphicFrameMkLst>
            <pc:docMk/>
            <pc:sldMk cId="3677495233" sldId="287"/>
            <ac:graphicFrameMk id="257" creationId="{16D56D48-C157-D90E-8A6B-7C5242D4CA5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40.485" v="125203"/>
          <ac:graphicFrameMkLst>
            <pc:docMk/>
            <pc:sldMk cId="3677495233" sldId="287"/>
            <ac:graphicFrameMk id="259" creationId="{221749CC-A2D3-89EB-B26E-F329C43CA2B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42.771" v="125289"/>
          <ac:graphicFrameMkLst>
            <pc:docMk/>
            <pc:sldMk cId="3677495233" sldId="287"/>
            <ac:graphicFrameMk id="261" creationId="{D7EE8C28-6569-72E7-2339-C5E36BF12D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48.346" v="125380"/>
          <ac:graphicFrameMkLst>
            <pc:docMk/>
            <pc:sldMk cId="3677495233" sldId="287"/>
            <ac:graphicFrameMk id="263" creationId="{10851E8C-9289-4477-6C98-330D9B5A2DD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58.403" v="125462"/>
          <ac:graphicFrameMkLst>
            <pc:docMk/>
            <pc:sldMk cId="3677495233" sldId="287"/>
            <ac:graphicFrameMk id="265" creationId="{4149A5E7-3828-575F-FBE6-6F4FD23D3DE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59.071" v="125544"/>
          <ac:graphicFrameMkLst>
            <pc:docMk/>
            <pc:sldMk cId="3677495233" sldId="287"/>
            <ac:graphicFrameMk id="267" creationId="{2920202F-BF8B-6416-DA82-BD40AE9A3A8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6:59.754" v="125626"/>
          <ac:graphicFrameMkLst>
            <pc:docMk/>
            <pc:sldMk cId="3677495233" sldId="287"/>
            <ac:graphicFrameMk id="269" creationId="{55697680-D7E4-76F6-928B-A4E50E18D3B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00.923" v="125708"/>
          <ac:graphicFrameMkLst>
            <pc:docMk/>
            <pc:sldMk cId="3677495233" sldId="287"/>
            <ac:graphicFrameMk id="271" creationId="{F83159B6-CB27-E5A1-E043-4032F46E16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05.169" v="125834"/>
          <ac:graphicFrameMkLst>
            <pc:docMk/>
            <pc:sldMk cId="3677495233" sldId="287"/>
            <ac:graphicFrameMk id="273" creationId="{1DB0DDCF-F092-3F84-A623-40078A54E1F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09.737" v="125948"/>
          <ac:graphicFrameMkLst>
            <pc:docMk/>
            <pc:sldMk cId="3677495233" sldId="287"/>
            <ac:graphicFrameMk id="276" creationId="{947DFC76-692D-BA28-584C-6B9C395A628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12.892" v="126064"/>
          <ac:graphicFrameMkLst>
            <pc:docMk/>
            <pc:sldMk cId="3677495233" sldId="287"/>
            <ac:graphicFrameMk id="279" creationId="{3DD55E96-CA4F-FE8C-6515-628CFB4EB5E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15.049" v="126184"/>
          <ac:graphicFrameMkLst>
            <pc:docMk/>
            <pc:sldMk cId="3677495233" sldId="287"/>
            <ac:graphicFrameMk id="282" creationId="{E5A5F02F-6506-6B01-ABB8-8A02EF7F54C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23.045" v="126308"/>
          <ac:graphicFrameMkLst>
            <pc:docMk/>
            <pc:sldMk cId="3677495233" sldId="287"/>
            <ac:graphicFrameMk id="285" creationId="{A79A85C2-D02C-3530-96ED-35537BA79FC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48.530" v="126405"/>
          <ac:graphicFrameMkLst>
            <pc:docMk/>
            <pc:sldMk cId="3677495233" sldId="287"/>
            <ac:graphicFrameMk id="288" creationId="{95028906-6491-578F-7129-2B655885BC4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50.535" v="126545"/>
          <ac:graphicFrameMkLst>
            <pc:docMk/>
            <pc:sldMk cId="3677495233" sldId="287"/>
            <ac:graphicFrameMk id="290" creationId="{1564A598-C440-AB35-157F-158242816CA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53.057" v="126661"/>
          <ac:graphicFrameMkLst>
            <pc:docMk/>
            <pc:sldMk cId="3677495233" sldId="287"/>
            <ac:graphicFrameMk id="294" creationId="{E2F20617-8450-1987-9A21-F590BC4954A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54.904" v="126779"/>
          <ac:graphicFrameMkLst>
            <pc:docMk/>
            <pc:sldMk cId="3677495233" sldId="287"/>
            <ac:graphicFrameMk id="297" creationId="{F1F3B740-42AE-0BB0-9995-D9F690F4E81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7:56.505" v="126899"/>
          <ac:graphicFrameMkLst>
            <pc:docMk/>
            <pc:sldMk cId="3677495233" sldId="287"/>
            <ac:graphicFrameMk id="300" creationId="{DCD50804-5C0C-BC61-EB43-CAB1E0D0724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00.507" v="127035"/>
          <ac:graphicFrameMkLst>
            <pc:docMk/>
            <pc:sldMk cId="3677495233" sldId="287"/>
            <ac:graphicFrameMk id="303" creationId="{29289FDC-E647-5039-4733-0B2AB408DB1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14.848" v="127161"/>
          <ac:graphicFrameMkLst>
            <pc:docMk/>
            <pc:sldMk cId="3677495233" sldId="287"/>
            <ac:graphicFrameMk id="307" creationId="{6C7675E8-102B-E2A4-5DF7-920AB2348AA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17.419" v="127303"/>
          <ac:graphicFrameMkLst>
            <pc:docMk/>
            <pc:sldMk cId="3677495233" sldId="287"/>
            <ac:graphicFrameMk id="310" creationId="{8580AD77-CEF2-C623-3A11-F571E6807C0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20.555" v="127449"/>
          <ac:graphicFrameMkLst>
            <pc:docMk/>
            <pc:sldMk cId="3677495233" sldId="287"/>
            <ac:graphicFrameMk id="314" creationId="{2E762AE6-BE27-F55F-3EF1-A2BAD5B0AAF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22.214" v="127599"/>
          <ac:graphicFrameMkLst>
            <pc:docMk/>
            <pc:sldMk cId="3677495233" sldId="287"/>
            <ac:graphicFrameMk id="318" creationId="{27EF4751-DFF7-E175-40C0-724C77D2718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32.843" v="127739"/>
          <ac:graphicFrameMkLst>
            <pc:docMk/>
            <pc:sldMk cId="3677495233" sldId="287"/>
            <ac:graphicFrameMk id="322" creationId="{FA0C5C31-6AD2-0224-7F6B-CD96FFD22F6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37.347" v="127881"/>
          <ac:graphicFrameMkLst>
            <pc:docMk/>
            <pc:sldMk cId="3677495233" sldId="287"/>
            <ac:graphicFrameMk id="325" creationId="{EC1327C1-CEF0-7397-C231-F5B49B25E4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40.114" v="128025"/>
          <ac:graphicFrameMkLst>
            <pc:docMk/>
            <pc:sldMk cId="3677495233" sldId="287"/>
            <ac:graphicFrameMk id="328" creationId="{E6CDB035-5B44-3E56-CA58-094304A67CE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42.244" v="128173"/>
          <ac:graphicFrameMkLst>
            <pc:docMk/>
            <pc:sldMk cId="3677495233" sldId="287"/>
            <ac:graphicFrameMk id="331" creationId="{2C3C5EB2-78B3-D019-D66B-A04AD51753D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44.346" v="128321"/>
          <ac:graphicFrameMkLst>
            <pc:docMk/>
            <pc:sldMk cId="3677495233" sldId="287"/>
            <ac:graphicFrameMk id="334" creationId="{086A9586-8314-78B8-2BF5-C519378666E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51.230" v="128590"/>
          <ac:graphicFrameMkLst>
            <pc:docMk/>
            <pc:sldMk cId="3677495233" sldId="287"/>
            <ac:graphicFrameMk id="337" creationId="{A3620D48-2596-B088-2C6D-D745B5E5B86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53.164" v="128776"/>
          <ac:graphicFrameMkLst>
            <pc:docMk/>
            <pc:sldMk cId="3677495233" sldId="287"/>
            <ac:graphicFrameMk id="339" creationId="{DADF6204-EFB3-1186-F342-B2F8AE3FDC5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8:55.630" v="128962"/>
          <ac:graphicFrameMkLst>
            <pc:docMk/>
            <pc:sldMk cId="3677495233" sldId="287"/>
            <ac:graphicFrameMk id="341" creationId="{0182F741-8A21-77D9-74E3-D536D710979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7:59:37.503" v="129079"/>
          <ac:graphicFrameMkLst>
            <pc:docMk/>
            <pc:sldMk cId="3677495233" sldId="287"/>
            <ac:graphicFrameMk id="343" creationId="{8EDCC5F7-FC85-18C2-F7F5-99E25ED822D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0:08.973" v="129219"/>
          <ac:graphicFrameMkLst>
            <pc:docMk/>
            <pc:sldMk cId="3677495233" sldId="287"/>
            <ac:graphicFrameMk id="345" creationId="{8DFC7278-8CD3-73F0-C1AF-3D09894040A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0:11.569" v="129359"/>
          <ac:graphicFrameMkLst>
            <pc:docMk/>
            <pc:sldMk cId="3677495233" sldId="287"/>
            <ac:graphicFrameMk id="347" creationId="{E5542002-41D5-9411-C53C-4C63D87E9EA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0:15.037" v="129545"/>
          <ac:graphicFrameMkLst>
            <pc:docMk/>
            <pc:sldMk cId="3677495233" sldId="287"/>
            <ac:graphicFrameMk id="349" creationId="{F005929B-23DA-E36C-F65C-01A91289F9D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0:16.848" v="129731"/>
          <ac:graphicFrameMkLst>
            <pc:docMk/>
            <pc:sldMk cId="3677495233" sldId="287"/>
            <ac:graphicFrameMk id="351" creationId="{3295FB65-A40E-6581-C43C-5AA01687942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6:27.936" v="147433"/>
          <ac:graphicFrameMkLst>
            <pc:docMk/>
            <pc:sldMk cId="3677495233" sldId="287"/>
            <ac:graphicFrameMk id="353" creationId="{4E17F3AE-2133-D776-29E0-BEAE15D34A2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6:34.260" v="147617"/>
          <ac:graphicFrameMkLst>
            <pc:docMk/>
            <pc:sldMk cId="3677495233" sldId="287"/>
            <ac:graphicFrameMk id="362" creationId="{E105FDB3-08B9-FBD6-2A0B-E1ED9BAAF7B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6:41.269" v="147834"/>
          <ac:graphicFrameMkLst>
            <pc:docMk/>
            <pc:sldMk cId="3677495233" sldId="287"/>
            <ac:graphicFrameMk id="365" creationId="{749003E9-4CE5-B312-3B16-409208F8D27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1:26.175" v="178694"/>
          <ac:graphicFrameMkLst>
            <pc:docMk/>
            <pc:sldMk cId="3677495233" sldId="287"/>
            <ac:graphicFrameMk id="371" creationId="{2E6A9F21-9DDD-8279-0513-7BBC6CA5549E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21:26.192" v="178703"/>
          <ac:graphicFrameMkLst>
            <pc:docMk/>
            <pc:sldMk cId="3677495233" sldId="287"/>
            <ac:graphicFrameMk id="373" creationId="{41D3450D-6ACB-7580-BFA1-6E0B03CE4CC8}"/>
          </ac:graphicFrameMkLst>
        </pc:graphicFrameChg>
        <pc:cxnChg chg="del mod ord">
          <ac:chgData name="Oğuz Öztekin" userId="33c0df0f-d5fe-4bda-8f43-141ad7af67e3" providerId="ADAL" clId="{48B824AD-1B2A-47A8-8D92-6FE6E622A650}" dt="2024-12-16T17:49:56.156" v="117119"/>
          <ac:cxnSpMkLst>
            <pc:docMk/>
            <pc:sldMk cId="3677495233" sldId="287"/>
            <ac:cxnSpMk id="53" creationId="{D693FAAD-6541-7A34-0E61-F335004A4DA7}"/>
          </ac:cxnSpMkLst>
        </pc:cxnChg>
        <pc:cxnChg chg="del">
          <ac:chgData name="Oğuz Öztekin" userId="33c0df0f-d5fe-4bda-8f43-141ad7af67e3" providerId="ADAL" clId="{48B824AD-1B2A-47A8-8D92-6FE6E622A650}" dt="2024-12-16T17:44:39.221" v="112978"/>
          <ac:cxnSpMkLst>
            <pc:docMk/>
            <pc:sldMk cId="3677495233" sldId="287"/>
            <ac:cxnSpMk id="73" creationId="{9F3A2083-08C7-FA84-AD3F-45B07E77F5A2}"/>
          </ac:cxnSpMkLst>
        </pc:cxnChg>
        <pc:cxnChg chg="del">
          <ac:chgData name="Oğuz Öztekin" userId="33c0df0f-d5fe-4bda-8f43-141ad7af67e3" providerId="ADAL" clId="{48B824AD-1B2A-47A8-8D92-6FE6E622A650}" dt="2024-12-16T17:44:39.220" v="112976"/>
          <ac:cxnSpMkLst>
            <pc:docMk/>
            <pc:sldMk cId="3677495233" sldId="287"/>
            <ac:cxnSpMk id="74" creationId="{6D412D91-4CE0-B5EF-CC1E-77B50626ABA3}"/>
          </ac:cxnSpMkLst>
        </pc:cxnChg>
        <pc:cxnChg chg="del">
          <ac:chgData name="Oğuz Öztekin" userId="33c0df0f-d5fe-4bda-8f43-141ad7af67e3" providerId="ADAL" clId="{48B824AD-1B2A-47A8-8D92-6FE6E622A650}" dt="2024-12-16T17:44:39.220" v="112974"/>
          <ac:cxnSpMkLst>
            <pc:docMk/>
            <pc:sldMk cId="3677495233" sldId="287"/>
            <ac:cxnSpMk id="75" creationId="{D6B81551-4C12-B10A-690E-66FBB4C08349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84" creationId="{F74CCAAC-31FB-B6F8-B497-D04229D4202E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85" creationId="{12F8DF02-4D2B-553E-F395-289897DF0047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93" creationId="{3C17B7C3-A933-B320-424D-7E2D22CD0FA6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94" creationId="{C121AB2E-C03F-196A-FBBE-B3BC6E13B3BB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95" creationId="{FD613022-B93F-D632-3EBB-F68E8A3C9BF2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96" creationId="{D715E7EC-96A4-DD75-F33F-722C4600E877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97" creationId="{F869D6DB-8F7A-3AF7-C781-7FDB96C11E42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98" creationId="{C77FC447-9B00-C9BA-8279-14EDD0C28CCD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99" creationId="{893B34E1-3E6B-D8E4-1CA9-0A6FB8745332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100" creationId="{DBD39C6E-8DBB-3117-8126-CD25A8474940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102" creationId="{22F89B7B-8590-1967-151E-F72F93338869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103" creationId="{0DE54B81-D85A-AB23-FAA5-CBFEDA8D5A7F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104" creationId="{995E9777-1513-A4D6-A8BD-F31604870800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105" creationId="{6E76AD68-040D-43C2-D18F-F6EEC935BC24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106" creationId="{0ED01692-DE14-A671-C8CC-E359B455A8DB}"/>
          </ac:cxnSpMkLst>
        </pc:cxnChg>
        <pc:cxnChg chg="add mod ord">
          <ac:chgData name="Oğuz Öztekin" userId="33c0df0f-d5fe-4bda-8f43-141ad7af67e3" providerId="ADAL" clId="{48B824AD-1B2A-47A8-8D92-6FE6E622A650}" dt="2024-12-16T17:49:31.466" v="116983"/>
          <ac:cxnSpMkLst>
            <pc:docMk/>
            <pc:sldMk cId="3677495233" sldId="287"/>
            <ac:cxnSpMk id="107" creationId="{D92BDBAC-2C97-9820-2FD4-5CD82F9F2A4A}"/>
          </ac:cxnSpMkLst>
        </pc:cxnChg>
        <pc:cxnChg chg="add del mod ord">
          <ac:chgData name="Oğuz Öztekin" userId="33c0df0f-d5fe-4bda-8f43-141ad7af67e3" providerId="ADAL" clId="{48B824AD-1B2A-47A8-8D92-6FE6E622A650}" dt="2024-12-16T17:50:12.928" v="121524"/>
          <ac:cxnSpMkLst>
            <pc:docMk/>
            <pc:sldMk cId="3677495233" sldId="287"/>
            <ac:cxnSpMk id="197" creationId="{79DEC22B-3915-CDCD-AE15-C20646F367BC}"/>
          </ac:cxnSpMkLst>
        </pc:cxnChg>
        <pc:cxnChg chg="add del mod ord">
          <ac:chgData name="Oğuz Öztekin" userId="33c0df0f-d5fe-4bda-8f43-141ad7af67e3" providerId="ADAL" clId="{48B824AD-1B2A-47A8-8D92-6FE6E622A650}" dt="2024-12-16T17:50:12.931" v="121535"/>
          <ac:cxnSpMkLst>
            <pc:docMk/>
            <pc:sldMk cId="3677495233" sldId="287"/>
            <ac:cxnSpMk id="198" creationId="{F75170F1-B4FE-324D-0B8E-42C49328ADF4}"/>
          </ac:cxnSpMkLst>
        </pc:cxnChg>
        <pc:cxnChg chg="add del mod ord">
          <ac:chgData name="Oğuz Öztekin" userId="33c0df0f-d5fe-4bda-8f43-141ad7af67e3" providerId="ADAL" clId="{48B824AD-1B2A-47A8-8D92-6FE6E622A650}" dt="2024-12-16T17:50:12.934" v="121546"/>
          <ac:cxnSpMkLst>
            <pc:docMk/>
            <pc:sldMk cId="3677495233" sldId="287"/>
            <ac:cxnSpMk id="199" creationId="{A73849E5-7FB1-FB37-8919-3650294D3107}"/>
          </ac:cxnSpMkLst>
        </pc:cxnChg>
        <pc:cxnChg chg="add del mod ord">
          <ac:chgData name="Oğuz Öztekin" userId="33c0df0f-d5fe-4bda-8f43-141ad7af67e3" providerId="ADAL" clId="{48B824AD-1B2A-47A8-8D92-6FE6E622A650}" dt="2024-12-16T17:50:12.937" v="121555"/>
          <ac:cxnSpMkLst>
            <pc:docMk/>
            <pc:sldMk cId="3677495233" sldId="287"/>
            <ac:cxnSpMk id="200" creationId="{84BFB50B-2088-2309-350E-BF83D8610C8B}"/>
          </ac:cxnSpMkLst>
        </pc:cxnChg>
        <pc:cxnChg chg="add del mod ord">
          <ac:chgData name="Oğuz Öztekin" userId="33c0df0f-d5fe-4bda-8f43-141ad7af67e3" providerId="ADAL" clId="{48B824AD-1B2A-47A8-8D92-6FE6E622A650}" dt="2024-12-16T17:50:12.943" v="121573"/>
          <ac:cxnSpMkLst>
            <pc:docMk/>
            <pc:sldMk cId="3677495233" sldId="287"/>
            <ac:cxnSpMk id="201" creationId="{407ACBF3-B7D2-5D3D-936A-93A1A4810ACE}"/>
          </ac:cxnSpMkLst>
        </pc:cxnChg>
        <pc:cxnChg chg="add del mod ord">
          <ac:chgData name="Oğuz Öztekin" userId="33c0df0f-d5fe-4bda-8f43-141ad7af67e3" providerId="ADAL" clId="{48B824AD-1B2A-47A8-8D92-6FE6E622A650}" dt="2024-12-16T17:50:12.946" v="121584"/>
          <ac:cxnSpMkLst>
            <pc:docMk/>
            <pc:sldMk cId="3677495233" sldId="287"/>
            <ac:cxnSpMk id="202" creationId="{06A56103-65DE-F1AD-4270-97BAE8CC79AA}"/>
          </ac:cxnSpMkLst>
        </pc:cxnChg>
        <pc:cxnChg chg="add del mod ord">
          <ac:chgData name="Oğuz Öztekin" userId="33c0df0f-d5fe-4bda-8f43-141ad7af67e3" providerId="ADAL" clId="{48B824AD-1B2A-47A8-8D92-6FE6E622A650}" dt="2024-12-16T17:50:12.948" v="121594"/>
          <ac:cxnSpMkLst>
            <pc:docMk/>
            <pc:sldMk cId="3677495233" sldId="287"/>
            <ac:cxnSpMk id="203" creationId="{DF38FD6D-3317-1473-65FE-C9E64E23671D}"/>
          </ac:cxnSpMkLst>
        </pc:cxnChg>
        <pc:cxnChg chg="add mod ord">
          <ac:chgData name="Oğuz Öztekin" userId="33c0df0f-d5fe-4bda-8f43-141ad7af67e3" providerId="ADAL" clId="{48B824AD-1B2A-47A8-8D92-6FE6E622A650}" dt="2024-12-16T18:21:26.193" v="178711"/>
          <ac:cxnSpMkLst>
            <pc:docMk/>
            <pc:sldMk cId="3677495233" sldId="287"/>
            <ac:cxnSpMk id="293" creationId="{3FEB9096-8089-2F85-784E-203499630F97}"/>
          </ac:cxnSpMkLst>
        </pc:cxnChg>
        <pc:cxnChg chg="add mod ord">
          <ac:chgData name="Oğuz Öztekin" userId="33c0df0f-d5fe-4bda-8f43-141ad7af67e3" providerId="ADAL" clId="{48B824AD-1B2A-47A8-8D92-6FE6E622A650}" dt="2024-12-16T18:21:26.195" v="178721"/>
          <ac:cxnSpMkLst>
            <pc:docMk/>
            <pc:sldMk cId="3677495233" sldId="287"/>
            <ac:cxnSpMk id="306" creationId="{2E8DFB91-4F5B-35F8-AD63-D76BDE167914}"/>
          </ac:cxnSpMkLst>
        </pc:cxnChg>
        <pc:cxnChg chg="add mod ord">
          <ac:chgData name="Oğuz Öztekin" userId="33c0df0f-d5fe-4bda-8f43-141ad7af67e3" providerId="ADAL" clId="{48B824AD-1B2A-47A8-8D92-6FE6E622A650}" dt="2024-12-16T18:21:26.192" v="178705"/>
          <ac:cxnSpMkLst>
            <pc:docMk/>
            <pc:sldMk cId="3677495233" sldId="287"/>
            <ac:cxnSpMk id="313" creationId="{ED5FC44C-AFBB-2C72-219B-75EC710D555B}"/>
          </ac:cxnSpMkLst>
        </pc:cxnChg>
        <pc:cxnChg chg="add mod ord">
          <ac:chgData name="Oğuz Öztekin" userId="33c0df0f-d5fe-4bda-8f43-141ad7af67e3" providerId="ADAL" clId="{48B824AD-1B2A-47A8-8D92-6FE6E622A650}" dt="2024-12-16T18:21:26.192" v="178707"/>
          <ac:cxnSpMkLst>
            <pc:docMk/>
            <pc:sldMk cId="3677495233" sldId="287"/>
            <ac:cxnSpMk id="317" creationId="{F88814F5-7D88-480A-A590-A2BCED5974E0}"/>
          </ac:cxnSpMkLst>
        </pc:cxnChg>
        <pc:cxnChg chg="add mod ord">
          <ac:chgData name="Oğuz Öztekin" userId="33c0df0f-d5fe-4bda-8f43-141ad7af67e3" providerId="ADAL" clId="{48B824AD-1B2A-47A8-8D92-6FE6E622A650}" dt="2024-12-16T18:21:26.193" v="178709"/>
          <ac:cxnSpMkLst>
            <pc:docMk/>
            <pc:sldMk cId="3677495233" sldId="287"/>
            <ac:cxnSpMk id="321" creationId="{ACD1CA66-D716-CEB6-B52D-0C125ABECBB3}"/>
          </ac:cxnSpMkLst>
        </pc:cxnChg>
        <pc:cxnChg chg="add del mod ord">
          <ac:chgData name="Oğuz Öztekin" userId="33c0df0f-d5fe-4bda-8f43-141ad7af67e3" providerId="ADAL" clId="{48B824AD-1B2A-47A8-8D92-6FE6E622A650}" dt="2024-12-16T18:06:34.251" v="147581"/>
          <ac:cxnSpMkLst>
            <pc:docMk/>
            <pc:sldMk cId="3677495233" sldId="287"/>
            <ac:cxnSpMk id="360" creationId="{AAFD3448-D7D7-EA11-06A3-7E555F915DE0}"/>
          </ac:cxnSpMkLst>
        </pc:cxnChg>
        <pc:cxnChg chg="add del mod ord">
          <ac:chgData name="Oğuz Öztekin" userId="33c0df0f-d5fe-4bda-8f43-141ad7af67e3" providerId="ADAL" clId="{48B824AD-1B2A-47A8-8D92-6FE6E622A650}" dt="2024-12-16T18:06:34.251" v="147585"/>
          <ac:cxnSpMkLst>
            <pc:docMk/>
            <pc:sldMk cId="3677495233" sldId="287"/>
            <ac:cxnSpMk id="361" creationId="{BFE7F6C7-D9AD-DC4D-1E99-914E5C8CEA29}"/>
          </ac:cxnSpMkLst>
        </pc:cxnChg>
        <pc:cxnChg chg="add mod ord">
          <ac:chgData name="Oğuz Öztekin" userId="33c0df0f-d5fe-4bda-8f43-141ad7af67e3" providerId="ADAL" clId="{48B824AD-1B2A-47A8-8D92-6FE6E622A650}" dt="2024-12-16T18:21:26.193" v="178713"/>
          <ac:cxnSpMkLst>
            <pc:docMk/>
            <pc:sldMk cId="3677495233" sldId="287"/>
            <ac:cxnSpMk id="367" creationId="{7D10A39B-9BDE-EA87-C777-C0B9A25BFB9A}"/>
          </ac:cxnSpMkLst>
        </pc:cxnChg>
        <pc:cxnChg chg="add mod ord">
          <ac:chgData name="Oğuz Öztekin" userId="33c0df0f-d5fe-4bda-8f43-141ad7af67e3" providerId="ADAL" clId="{48B824AD-1B2A-47A8-8D92-6FE6E622A650}" dt="2024-12-16T18:21:26.194" v="178715"/>
          <ac:cxnSpMkLst>
            <pc:docMk/>
            <pc:sldMk cId="3677495233" sldId="287"/>
            <ac:cxnSpMk id="368" creationId="{BE95381E-C93B-5604-B3AC-2C6F97A1DCD5}"/>
          </ac:cxnSpMkLst>
        </pc:cxnChg>
        <pc:cxnChg chg="add mod ord">
          <ac:chgData name="Oğuz Öztekin" userId="33c0df0f-d5fe-4bda-8f43-141ad7af67e3" providerId="ADAL" clId="{48B824AD-1B2A-47A8-8D92-6FE6E622A650}" dt="2024-12-16T18:21:26.194" v="178717"/>
          <ac:cxnSpMkLst>
            <pc:docMk/>
            <pc:sldMk cId="3677495233" sldId="287"/>
            <ac:cxnSpMk id="369" creationId="{A906AC98-4CCC-DA8B-75FE-6661D039080E}"/>
          </ac:cxnSpMkLst>
        </pc:cxnChg>
        <pc:cxnChg chg="add mod ord">
          <ac:chgData name="Oğuz Öztekin" userId="33c0df0f-d5fe-4bda-8f43-141ad7af67e3" providerId="ADAL" clId="{48B824AD-1B2A-47A8-8D92-6FE6E622A650}" dt="2024-12-16T18:21:26.194" v="178719"/>
          <ac:cxnSpMkLst>
            <pc:docMk/>
            <pc:sldMk cId="3677495233" sldId="287"/>
            <ac:cxnSpMk id="370" creationId="{B5332CF5-21EF-9BCD-3494-8D0EDCD373A5}"/>
          </ac:cxnSpMkLst>
        </pc:cxnChg>
      </pc:sldChg>
      <pc:sldChg chg="del">
        <pc:chgData name="Oğuz Öztekin" userId="33c0df0f-d5fe-4bda-8f43-141ad7af67e3" providerId="ADAL" clId="{48B824AD-1B2A-47A8-8D92-6FE6E622A650}" dt="2024-12-16T09:07:32.966" v="19" actId="2696"/>
        <pc:sldMkLst>
          <pc:docMk/>
          <pc:sldMk cId="807331676" sldId="288"/>
        </pc:sldMkLst>
      </pc:sldChg>
      <pc:sldChg chg="addSp delSp modSp add mod">
        <pc:chgData name="Oğuz Öztekin" userId="33c0df0f-d5fe-4bda-8f43-141ad7af67e3" providerId="ADAL" clId="{48B824AD-1B2A-47A8-8D92-6FE6E622A650}" dt="2024-12-16T17:44:22.622" v="112972"/>
        <pc:sldMkLst>
          <pc:docMk/>
          <pc:sldMk cId="1933784636" sldId="288"/>
        </pc:sldMkLst>
        <pc:spChg chg="mod">
          <ac:chgData name="Oğuz Öztekin" userId="33c0df0f-d5fe-4bda-8f43-141ad7af67e3" providerId="ADAL" clId="{48B824AD-1B2A-47A8-8D92-6FE6E622A650}" dt="2024-12-16T17:44:22.604" v="112949" actId="948"/>
          <ac:spMkLst>
            <pc:docMk/>
            <pc:sldMk cId="1933784636" sldId="288"/>
            <ac:spMk id="2" creationId="{23251CAC-8A33-ABD3-815B-69C3C58EA205}"/>
          </ac:spMkLst>
        </pc:spChg>
        <pc:spChg chg="add del mod modVis">
          <ac:chgData name="Oğuz Öztekin" userId="33c0df0f-d5fe-4bda-8f43-141ad7af67e3" providerId="ADAL" clId="{48B824AD-1B2A-47A8-8D92-6FE6E622A650}" dt="2024-12-16T17:44:20.205" v="112945"/>
          <ac:spMkLst>
            <pc:docMk/>
            <pc:sldMk cId="1933784636" sldId="288"/>
            <ac:spMk id="4" creationId="{66173462-8660-6E52-8B3F-B8D905A1C10E}"/>
          </ac:spMkLst>
        </pc:spChg>
        <pc:spChg chg="add del mod modVis">
          <ac:chgData name="Oğuz Öztekin" userId="33c0df0f-d5fe-4bda-8f43-141ad7af67e3" providerId="ADAL" clId="{48B824AD-1B2A-47A8-8D92-6FE6E622A650}" dt="2024-12-16T17:44:22.622" v="112970"/>
          <ac:spMkLst>
            <pc:docMk/>
            <pc:sldMk cId="1933784636" sldId="288"/>
            <ac:spMk id="10" creationId="{131B27C6-A079-43FB-AAF4-17B8991CE5AD}"/>
          </ac:spMkLst>
        </pc:spChg>
        <pc:graphicFrameChg chg="mod">
          <ac:chgData name="Oğuz Öztekin" userId="33c0df0f-d5fe-4bda-8f43-141ad7af67e3" providerId="ADAL" clId="{48B824AD-1B2A-47A8-8D92-6FE6E622A650}" dt="2024-12-16T17:44:22.622" v="112972"/>
          <ac:graphicFrameMkLst>
            <pc:docMk/>
            <pc:sldMk cId="1933784636" sldId="288"/>
            <ac:graphicFrameMk id="3" creationId="{96C11A8C-A238-E3BC-BC7A-22223A5EC5C0}"/>
          </ac:graphicFrameMkLst>
        </pc:graphicFrameChg>
      </pc:sldChg>
      <pc:sldChg chg="add del">
        <pc:chgData name="Oğuz Öztekin" userId="33c0df0f-d5fe-4bda-8f43-141ad7af67e3" providerId="ADAL" clId="{48B824AD-1B2A-47A8-8D92-6FE6E622A650}" dt="2024-12-16T18:00:30.995" v="129782" actId="47"/>
        <pc:sldMkLst>
          <pc:docMk/>
          <pc:sldMk cId="86895788" sldId="289"/>
        </pc:sldMkLst>
      </pc:sldChg>
      <pc:sldChg chg="del">
        <pc:chgData name="Oğuz Öztekin" userId="33c0df0f-d5fe-4bda-8f43-141ad7af67e3" providerId="ADAL" clId="{48B824AD-1B2A-47A8-8D92-6FE6E622A650}" dt="2024-12-16T09:07:33.205" v="20" actId="2696"/>
        <pc:sldMkLst>
          <pc:docMk/>
          <pc:sldMk cId="1381465311" sldId="289"/>
        </pc:sldMkLst>
      </pc:sldChg>
      <pc:sldChg chg="addSp delSp modSp add del mod">
        <pc:chgData name="Oğuz Öztekin" userId="33c0df0f-d5fe-4bda-8f43-141ad7af67e3" providerId="ADAL" clId="{48B824AD-1B2A-47A8-8D92-6FE6E622A650}" dt="2024-12-16T18:30:04.151" v="202497"/>
        <pc:sldMkLst>
          <pc:docMk/>
          <pc:sldMk cId="2155983508" sldId="290"/>
        </pc:sldMkLst>
        <pc:spChg chg="mod ord">
          <ac:chgData name="Oğuz Öztekin" userId="33c0df0f-d5fe-4bda-8f43-141ad7af67e3" providerId="ADAL" clId="{48B824AD-1B2A-47A8-8D92-6FE6E622A650}" dt="2024-12-16T18:30:04.136" v="202427"/>
          <ac:spMkLst>
            <pc:docMk/>
            <pc:sldMk cId="2155983508" sldId="290"/>
            <ac:spMk id="2" creationId="{C2A1D67E-E2D9-17F3-1BF6-572FA67B5BAE}"/>
          </ac:spMkLst>
        </pc:spChg>
        <pc:spChg chg="add del mod modVis">
          <ac:chgData name="Oğuz Öztekin" userId="33c0df0f-d5fe-4bda-8f43-141ad7af67e3" providerId="ADAL" clId="{48B824AD-1B2A-47A8-8D92-6FE6E622A650}" dt="2024-12-16T18:01:20.079" v="129948"/>
          <ac:spMkLst>
            <pc:docMk/>
            <pc:sldMk cId="2155983508" sldId="290"/>
            <ac:spMk id="4" creationId="{51E7B938-7A8F-DE3C-0043-FC4CE006D165}"/>
          </ac:spMkLst>
        </pc:spChg>
        <pc:spChg chg="add del mod modVis">
          <ac:chgData name="Oğuz Öztekin" userId="33c0df0f-d5fe-4bda-8f43-141ad7af67e3" providerId="ADAL" clId="{48B824AD-1B2A-47A8-8D92-6FE6E622A650}" dt="2024-12-16T18:01:24.454" v="129984"/>
          <ac:spMkLst>
            <pc:docMk/>
            <pc:sldMk cId="2155983508" sldId="290"/>
            <ac:spMk id="5" creationId="{54C103E7-B48C-08FD-EFF1-7FDF946C6BB1}"/>
          </ac:spMkLst>
        </pc:spChg>
        <pc:spChg chg="add del mod modVis">
          <ac:chgData name="Oğuz Öztekin" userId="33c0df0f-d5fe-4bda-8f43-141ad7af67e3" providerId="ADAL" clId="{48B824AD-1B2A-47A8-8D92-6FE6E622A650}" dt="2024-12-16T18:01:36.527" v="130214"/>
          <ac:spMkLst>
            <pc:docMk/>
            <pc:sldMk cId="2155983508" sldId="290"/>
            <ac:spMk id="6" creationId="{3A4704F2-F79D-3F00-8807-A8B83BAD6292}"/>
          </ac:spMkLst>
        </pc:spChg>
        <pc:spChg chg="add del mod">
          <ac:chgData name="Oğuz Öztekin" userId="33c0df0f-d5fe-4bda-8f43-141ad7af67e3" providerId="ADAL" clId="{48B824AD-1B2A-47A8-8D92-6FE6E622A650}" dt="2024-12-16T18:04:52.618" v="146884"/>
          <ac:spMkLst>
            <pc:docMk/>
            <pc:sldMk cId="2155983508" sldId="290"/>
            <ac:spMk id="8" creationId="{2441906D-3F65-03FA-7588-C9E16AA6CFB5}"/>
          </ac:spMkLst>
        </pc:spChg>
        <pc:spChg chg="add del mod">
          <ac:chgData name="Oğuz Öztekin" userId="33c0df0f-d5fe-4bda-8f43-141ad7af67e3" providerId="ADAL" clId="{48B824AD-1B2A-47A8-8D92-6FE6E622A650}" dt="2024-12-16T18:04:52.618" v="146887"/>
          <ac:spMkLst>
            <pc:docMk/>
            <pc:sldMk cId="2155983508" sldId="290"/>
            <ac:spMk id="9" creationId="{C7A92D2C-A98E-58B2-ECD4-37128E85F166}"/>
          </ac:spMkLst>
        </pc:spChg>
        <pc:spChg chg="add del mod">
          <ac:chgData name="Oğuz Öztekin" userId="33c0df0f-d5fe-4bda-8f43-141ad7af67e3" providerId="ADAL" clId="{48B824AD-1B2A-47A8-8D92-6FE6E622A650}" dt="2024-12-16T18:04:52.618" v="146890"/>
          <ac:spMkLst>
            <pc:docMk/>
            <pc:sldMk cId="2155983508" sldId="290"/>
            <ac:spMk id="10" creationId="{597AA7DF-2FBE-E6F5-472D-E6B9DC68D312}"/>
          </ac:spMkLst>
        </pc:spChg>
        <pc:spChg chg="add del mod">
          <ac:chgData name="Oğuz Öztekin" userId="33c0df0f-d5fe-4bda-8f43-141ad7af67e3" providerId="ADAL" clId="{48B824AD-1B2A-47A8-8D92-6FE6E622A650}" dt="2024-12-16T18:04:52.618" v="146893"/>
          <ac:spMkLst>
            <pc:docMk/>
            <pc:sldMk cId="2155983508" sldId="290"/>
            <ac:spMk id="11" creationId="{04B236A4-A45A-F1FA-FC6E-0378462AED31}"/>
          </ac:spMkLst>
        </pc:spChg>
        <pc:spChg chg="add del mod">
          <ac:chgData name="Oğuz Öztekin" userId="33c0df0f-d5fe-4bda-8f43-141ad7af67e3" providerId="ADAL" clId="{48B824AD-1B2A-47A8-8D92-6FE6E622A650}" dt="2024-12-16T18:04:52.618" v="146896"/>
          <ac:spMkLst>
            <pc:docMk/>
            <pc:sldMk cId="2155983508" sldId="290"/>
            <ac:spMk id="12" creationId="{022BB420-4751-A9BC-0852-D584EF732A88}"/>
          </ac:spMkLst>
        </pc:spChg>
        <pc:spChg chg="add del mod">
          <ac:chgData name="Oğuz Öztekin" userId="33c0df0f-d5fe-4bda-8f43-141ad7af67e3" providerId="ADAL" clId="{48B824AD-1B2A-47A8-8D92-6FE6E622A650}" dt="2024-12-16T18:04:52.622" v="146899"/>
          <ac:spMkLst>
            <pc:docMk/>
            <pc:sldMk cId="2155983508" sldId="290"/>
            <ac:spMk id="13" creationId="{0C07AE0C-9970-4AC1-D4F3-80B499908636}"/>
          </ac:spMkLst>
        </pc:spChg>
        <pc:spChg chg="add del mod">
          <ac:chgData name="Oğuz Öztekin" userId="33c0df0f-d5fe-4bda-8f43-141ad7af67e3" providerId="ADAL" clId="{48B824AD-1B2A-47A8-8D92-6FE6E622A650}" dt="2024-12-16T18:04:52.622" v="146902"/>
          <ac:spMkLst>
            <pc:docMk/>
            <pc:sldMk cId="2155983508" sldId="290"/>
            <ac:spMk id="14" creationId="{02C4CAD6-AC66-6F89-46F4-A7B3E024C0D6}"/>
          </ac:spMkLst>
        </pc:spChg>
        <pc:spChg chg="add del mod">
          <ac:chgData name="Oğuz Öztekin" userId="33c0df0f-d5fe-4bda-8f43-141ad7af67e3" providerId="ADAL" clId="{48B824AD-1B2A-47A8-8D92-6FE6E622A650}" dt="2024-12-16T18:04:52.622" v="146905"/>
          <ac:spMkLst>
            <pc:docMk/>
            <pc:sldMk cId="2155983508" sldId="290"/>
            <ac:spMk id="15" creationId="{0EAD92C1-468E-3437-8DAC-AF2C00E00D1D}"/>
          </ac:spMkLst>
        </pc:spChg>
        <pc:spChg chg="add del mod">
          <ac:chgData name="Oğuz Öztekin" userId="33c0df0f-d5fe-4bda-8f43-141ad7af67e3" providerId="ADAL" clId="{48B824AD-1B2A-47A8-8D92-6FE6E622A650}" dt="2024-12-16T18:04:52.622" v="146908"/>
          <ac:spMkLst>
            <pc:docMk/>
            <pc:sldMk cId="2155983508" sldId="290"/>
            <ac:spMk id="16" creationId="{1AF05C03-19FD-54A1-D0C8-9D9C0216E4C6}"/>
          </ac:spMkLst>
        </pc:spChg>
        <pc:spChg chg="add del mod">
          <ac:chgData name="Oğuz Öztekin" userId="33c0df0f-d5fe-4bda-8f43-141ad7af67e3" providerId="ADAL" clId="{48B824AD-1B2A-47A8-8D92-6FE6E622A650}" dt="2024-12-16T18:04:52.622" v="146911"/>
          <ac:spMkLst>
            <pc:docMk/>
            <pc:sldMk cId="2155983508" sldId="290"/>
            <ac:spMk id="17" creationId="{564CC16E-543E-717C-A17D-34E54347D735}"/>
          </ac:spMkLst>
        </pc:spChg>
        <pc:spChg chg="add del mod">
          <ac:chgData name="Oğuz Öztekin" userId="33c0df0f-d5fe-4bda-8f43-141ad7af67e3" providerId="ADAL" clId="{48B824AD-1B2A-47A8-8D92-6FE6E622A650}" dt="2024-12-16T18:04:52.622" v="146914"/>
          <ac:spMkLst>
            <pc:docMk/>
            <pc:sldMk cId="2155983508" sldId="290"/>
            <ac:spMk id="18" creationId="{1B3E2B4C-E62B-29C6-E2A3-C9824FFBA120}"/>
          </ac:spMkLst>
        </pc:spChg>
        <pc:spChg chg="add del mod">
          <ac:chgData name="Oğuz Öztekin" userId="33c0df0f-d5fe-4bda-8f43-141ad7af67e3" providerId="ADAL" clId="{48B824AD-1B2A-47A8-8D92-6FE6E622A650}" dt="2024-12-16T18:04:52.622" v="146917"/>
          <ac:spMkLst>
            <pc:docMk/>
            <pc:sldMk cId="2155983508" sldId="290"/>
            <ac:spMk id="19" creationId="{64EEC98B-54B8-06E9-F0DF-65F645624985}"/>
          </ac:spMkLst>
        </pc:spChg>
        <pc:spChg chg="mod">
          <ac:chgData name="Oğuz Öztekin" userId="33c0df0f-d5fe-4bda-8f43-141ad7af67e3" providerId="ADAL" clId="{48B824AD-1B2A-47A8-8D92-6FE6E622A650}" dt="2024-12-16T18:30:04.146" v="202476"/>
          <ac:spMkLst>
            <pc:docMk/>
            <pc:sldMk cId="2155983508" sldId="290"/>
            <ac:spMk id="20" creationId="{EFD0062E-EA07-CC8F-F3B5-008411C3F6B3}"/>
          </ac:spMkLst>
        </pc:spChg>
        <pc:spChg chg="add del mod">
          <ac:chgData name="Oğuz Öztekin" userId="33c0df0f-d5fe-4bda-8f43-141ad7af67e3" providerId="ADAL" clId="{48B824AD-1B2A-47A8-8D92-6FE6E622A650}" dt="2024-12-16T18:04:52.622" v="146920"/>
          <ac:spMkLst>
            <pc:docMk/>
            <pc:sldMk cId="2155983508" sldId="290"/>
            <ac:spMk id="21" creationId="{36CA916B-8106-E4C1-3B8F-3D46BFE7C6CD}"/>
          </ac:spMkLst>
        </pc:spChg>
        <pc:spChg chg="add del mod">
          <ac:chgData name="Oğuz Öztekin" userId="33c0df0f-d5fe-4bda-8f43-141ad7af67e3" providerId="ADAL" clId="{48B824AD-1B2A-47A8-8D92-6FE6E622A650}" dt="2024-12-16T18:04:52.629" v="146923"/>
          <ac:spMkLst>
            <pc:docMk/>
            <pc:sldMk cId="2155983508" sldId="290"/>
            <ac:spMk id="22" creationId="{290378C8-5502-E17D-5D36-BF04E77D27DA}"/>
          </ac:spMkLst>
        </pc:spChg>
        <pc:spChg chg="add del mod">
          <ac:chgData name="Oğuz Öztekin" userId="33c0df0f-d5fe-4bda-8f43-141ad7af67e3" providerId="ADAL" clId="{48B824AD-1B2A-47A8-8D92-6FE6E622A650}" dt="2024-12-16T18:04:52.629" v="146926"/>
          <ac:spMkLst>
            <pc:docMk/>
            <pc:sldMk cId="2155983508" sldId="290"/>
            <ac:spMk id="23" creationId="{BE033AFE-B23F-108B-A722-454301C6B773}"/>
          </ac:spMkLst>
        </pc:spChg>
        <pc:spChg chg="add del mod">
          <ac:chgData name="Oğuz Öztekin" userId="33c0df0f-d5fe-4bda-8f43-141ad7af67e3" providerId="ADAL" clId="{48B824AD-1B2A-47A8-8D92-6FE6E622A650}" dt="2024-12-16T18:04:52.631" v="146929"/>
          <ac:spMkLst>
            <pc:docMk/>
            <pc:sldMk cId="2155983508" sldId="290"/>
            <ac:spMk id="24" creationId="{D2905262-66AD-A5F1-A179-1CF625119F4F}"/>
          </ac:spMkLst>
        </pc:spChg>
        <pc:spChg chg="add del mod">
          <ac:chgData name="Oğuz Öztekin" userId="33c0df0f-d5fe-4bda-8f43-141ad7af67e3" providerId="ADAL" clId="{48B824AD-1B2A-47A8-8D92-6FE6E622A650}" dt="2024-12-16T18:04:52.631" v="146932"/>
          <ac:spMkLst>
            <pc:docMk/>
            <pc:sldMk cId="2155983508" sldId="290"/>
            <ac:spMk id="25" creationId="{425480FC-39EF-B50B-D057-7E432EFF726D}"/>
          </ac:spMkLst>
        </pc:spChg>
        <pc:spChg chg="add del mod">
          <ac:chgData name="Oğuz Öztekin" userId="33c0df0f-d5fe-4bda-8f43-141ad7af67e3" providerId="ADAL" clId="{48B824AD-1B2A-47A8-8D92-6FE6E622A650}" dt="2024-12-16T18:04:52.631" v="146935"/>
          <ac:spMkLst>
            <pc:docMk/>
            <pc:sldMk cId="2155983508" sldId="290"/>
            <ac:spMk id="26" creationId="{DF55C288-E961-9309-20AB-A08462F794DB}"/>
          </ac:spMkLst>
        </pc:spChg>
        <pc:spChg chg="add del mod">
          <ac:chgData name="Oğuz Öztekin" userId="33c0df0f-d5fe-4bda-8f43-141ad7af67e3" providerId="ADAL" clId="{48B824AD-1B2A-47A8-8D92-6FE6E622A650}" dt="2024-12-16T18:04:52.631" v="146938"/>
          <ac:spMkLst>
            <pc:docMk/>
            <pc:sldMk cId="2155983508" sldId="290"/>
            <ac:spMk id="27" creationId="{3D45C78C-EAB8-8637-A16F-ED27ED7C8778}"/>
          </ac:spMkLst>
        </pc:spChg>
        <pc:spChg chg="add del mod">
          <ac:chgData name="Oğuz Öztekin" userId="33c0df0f-d5fe-4bda-8f43-141ad7af67e3" providerId="ADAL" clId="{48B824AD-1B2A-47A8-8D92-6FE6E622A650}" dt="2024-12-16T18:04:52.631" v="146941"/>
          <ac:spMkLst>
            <pc:docMk/>
            <pc:sldMk cId="2155983508" sldId="290"/>
            <ac:spMk id="28" creationId="{F40372D2-88FA-19B1-7553-5659F5FC30C3}"/>
          </ac:spMkLst>
        </pc:spChg>
        <pc:spChg chg="mod">
          <ac:chgData name="Oğuz Öztekin" userId="33c0df0f-d5fe-4bda-8f43-141ad7af67e3" providerId="ADAL" clId="{48B824AD-1B2A-47A8-8D92-6FE6E622A650}" dt="2024-12-16T18:30:04.146" v="202478"/>
          <ac:spMkLst>
            <pc:docMk/>
            <pc:sldMk cId="2155983508" sldId="290"/>
            <ac:spMk id="29" creationId="{E88D7217-9BDC-F43F-7FEE-14BB8A5238CA}"/>
          </ac:spMkLst>
        </pc:spChg>
        <pc:spChg chg="add del mod">
          <ac:chgData name="Oğuz Öztekin" userId="33c0df0f-d5fe-4bda-8f43-141ad7af67e3" providerId="ADAL" clId="{48B824AD-1B2A-47A8-8D92-6FE6E622A650}" dt="2024-12-16T18:04:46.698" v="146373"/>
          <ac:spMkLst>
            <pc:docMk/>
            <pc:sldMk cId="2155983508" sldId="290"/>
            <ac:spMk id="30" creationId="{947A57C9-7155-B45F-A907-7C662FA67A42}"/>
          </ac:spMkLst>
        </pc:spChg>
        <pc:spChg chg="add del mod">
          <ac:chgData name="Oğuz Öztekin" userId="33c0df0f-d5fe-4bda-8f43-141ad7af67e3" providerId="ADAL" clId="{48B824AD-1B2A-47A8-8D92-6FE6E622A650}" dt="2024-12-16T18:04:46.699" v="146376"/>
          <ac:spMkLst>
            <pc:docMk/>
            <pc:sldMk cId="2155983508" sldId="290"/>
            <ac:spMk id="31" creationId="{E2307398-081A-6B36-FC9C-DB2D3A756BEE}"/>
          </ac:spMkLst>
        </pc:spChg>
        <pc:spChg chg="add del mod">
          <ac:chgData name="Oğuz Öztekin" userId="33c0df0f-d5fe-4bda-8f43-141ad7af67e3" providerId="ADAL" clId="{48B824AD-1B2A-47A8-8D92-6FE6E622A650}" dt="2024-12-16T18:04:46.699" v="146379"/>
          <ac:spMkLst>
            <pc:docMk/>
            <pc:sldMk cId="2155983508" sldId="290"/>
            <ac:spMk id="32" creationId="{37E1DFC7-EED8-6698-D2F4-F1365017CA66}"/>
          </ac:spMkLst>
        </pc:spChg>
        <pc:spChg chg="add del mod">
          <ac:chgData name="Oğuz Öztekin" userId="33c0df0f-d5fe-4bda-8f43-141ad7af67e3" providerId="ADAL" clId="{48B824AD-1B2A-47A8-8D92-6FE6E622A650}" dt="2024-12-16T18:04:46.700" v="146382"/>
          <ac:spMkLst>
            <pc:docMk/>
            <pc:sldMk cId="2155983508" sldId="290"/>
            <ac:spMk id="33" creationId="{E6BCDA85-B441-98C0-F388-454B01F063BC}"/>
          </ac:spMkLst>
        </pc:spChg>
        <pc:spChg chg="add del mod">
          <ac:chgData name="Oğuz Öztekin" userId="33c0df0f-d5fe-4bda-8f43-141ad7af67e3" providerId="ADAL" clId="{48B824AD-1B2A-47A8-8D92-6FE6E622A650}" dt="2024-12-16T18:04:46.701" v="146385"/>
          <ac:spMkLst>
            <pc:docMk/>
            <pc:sldMk cId="2155983508" sldId="290"/>
            <ac:spMk id="34" creationId="{DC20879F-8639-B13C-BBF3-4E2592012B2C}"/>
          </ac:spMkLst>
        </pc:spChg>
        <pc:spChg chg="mod">
          <ac:chgData name="Oğuz Öztekin" userId="33c0df0f-d5fe-4bda-8f43-141ad7af67e3" providerId="ADAL" clId="{48B824AD-1B2A-47A8-8D92-6FE6E622A650}" dt="2024-12-16T18:30:04.146" v="202479"/>
          <ac:spMkLst>
            <pc:docMk/>
            <pc:sldMk cId="2155983508" sldId="290"/>
            <ac:spMk id="35" creationId="{5A3A3FDA-0630-05C0-0696-013764A5D2F3}"/>
          </ac:spMkLst>
        </pc:spChg>
        <pc:spChg chg="mod">
          <ac:chgData name="Oğuz Öztekin" userId="33c0df0f-d5fe-4bda-8f43-141ad7af67e3" providerId="ADAL" clId="{48B824AD-1B2A-47A8-8D92-6FE6E622A650}" dt="2024-12-16T18:30:04.146" v="202481"/>
          <ac:spMkLst>
            <pc:docMk/>
            <pc:sldMk cId="2155983508" sldId="290"/>
            <ac:spMk id="36" creationId="{DE272824-AD00-DD0A-CB14-FE5E0D6708AA}"/>
          </ac:spMkLst>
        </pc:spChg>
        <pc:spChg chg="mod">
          <ac:chgData name="Oğuz Öztekin" userId="33c0df0f-d5fe-4bda-8f43-141ad7af67e3" providerId="ADAL" clId="{48B824AD-1B2A-47A8-8D92-6FE6E622A650}" dt="2024-12-16T18:30:04.146" v="202482"/>
          <ac:spMkLst>
            <pc:docMk/>
            <pc:sldMk cId="2155983508" sldId="290"/>
            <ac:spMk id="37" creationId="{2971D93C-134F-7BF0-B986-25D263DC133A}"/>
          </ac:spMkLst>
        </pc:spChg>
        <pc:spChg chg="add del mod">
          <ac:chgData name="Oğuz Öztekin" userId="33c0df0f-d5fe-4bda-8f43-141ad7af67e3" providerId="ADAL" clId="{48B824AD-1B2A-47A8-8D92-6FE6E622A650}" dt="2024-12-16T18:04:46.701" v="146388"/>
          <ac:spMkLst>
            <pc:docMk/>
            <pc:sldMk cId="2155983508" sldId="290"/>
            <ac:spMk id="38" creationId="{A0E2200C-C69F-5F42-CDAB-EA29BF2B90ED}"/>
          </ac:spMkLst>
        </pc:spChg>
        <pc:spChg chg="add del mod">
          <ac:chgData name="Oğuz Öztekin" userId="33c0df0f-d5fe-4bda-8f43-141ad7af67e3" providerId="ADAL" clId="{48B824AD-1B2A-47A8-8D92-6FE6E622A650}" dt="2024-12-16T18:04:46.703" v="146391"/>
          <ac:spMkLst>
            <pc:docMk/>
            <pc:sldMk cId="2155983508" sldId="290"/>
            <ac:spMk id="39" creationId="{B68B6ED6-99A3-D2D8-C96C-AFBA829E9AB0}"/>
          </ac:spMkLst>
        </pc:spChg>
        <pc:spChg chg="add del mod">
          <ac:chgData name="Oğuz Öztekin" userId="33c0df0f-d5fe-4bda-8f43-141ad7af67e3" providerId="ADAL" clId="{48B824AD-1B2A-47A8-8D92-6FE6E622A650}" dt="2024-12-16T18:04:46.704" v="146394"/>
          <ac:spMkLst>
            <pc:docMk/>
            <pc:sldMk cId="2155983508" sldId="290"/>
            <ac:spMk id="40" creationId="{0EE7D462-B336-ACC7-4378-3FA36DC8231B}"/>
          </ac:spMkLst>
        </pc:spChg>
        <pc:spChg chg="add del mod">
          <ac:chgData name="Oğuz Öztekin" userId="33c0df0f-d5fe-4bda-8f43-141ad7af67e3" providerId="ADAL" clId="{48B824AD-1B2A-47A8-8D92-6FE6E622A650}" dt="2024-12-16T18:04:46.705" v="146397"/>
          <ac:spMkLst>
            <pc:docMk/>
            <pc:sldMk cId="2155983508" sldId="290"/>
            <ac:spMk id="41" creationId="{78B2AA23-1E6E-9B2A-AB10-4D9F19317CF0}"/>
          </ac:spMkLst>
        </pc:spChg>
        <pc:spChg chg="add del mod">
          <ac:chgData name="Oğuz Öztekin" userId="33c0df0f-d5fe-4bda-8f43-141ad7af67e3" providerId="ADAL" clId="{48B824AD-1B2A-47A8-8D92-6FE6E622A650}" dt="2024-12-16T18:04:46.706" v="146400"/>
          <ac:spMkLst>
            <pc:docMk/>
            <pc:sldMk cId="2155983508" sldId="290"/>
            <ac:spMk id="42" creationId="{8671301F-8A8B-B93D-C9B6-5FBAD4922CCC}"/>
          </ac:spMkLst>
        </pc:spChg>
        <pc:spChg chg="add del mod">
          <ac:chgData name="Oğuz Öztekin" userId="33c0df0f-d5fe-4bda-8f43-141ad7af67e3" providerId="ADAL" clId="{48B824AD-1B2A-47A8-8D92-6FE6E622A650}" dt="2024-12-16T18:04:46.707" v="146403"/>
          <ac:spMkLst>
            <pc:docMk/>
            <pc:sldMk cId="2155983508" sldId="290"/>
            <ac:spMk id="43" creationId="{BD3A6BF5-6401-B803-94AF-3BA56224C540}"/>
          </ac:spMkLst>
        </pc:spChg>
        <pc:spChg chg="add del mod">
          <ac:chgData name="Oğuz Öztekin" userId="33c0df0f-d5fe-4bda-8f43-141ad7af67e3" providerId="ADAL" clId="{48B824AD-1B2A-47A8-8D92-6FE6E622A650}" dt="2024-12-16T18:04:46.708" v="146406"/>
          <ac:spMkLst>
            <pc:docMk/>
            <pc:sldMk cId="2155983508" sldId="290"/>
            <ac:spMk id="44" creationId="{D4114B47-0280-4AD8-9091-58DC3BF44EDB}"/>
          </ac:spMkLst>
        </pc:spChg>
        <pc:spChg chg="add del mod">
          <ac:chgData name="Oğuz Öztekin" userId="33c0df0f-d5fe-4bda-8f43-141ad7af67e3" providerId="ADAL" clId="{48B824AD-1B2A-47A8-8D92-6FE6E622A650}" dt="2024-12-16T18:04:46.709" v="146409"/>
          <ac:spMkLst>
            <pc:docMk/>
            <pc:sldMk cId="2155983508" sldId="290"/>
            <ac:spMk id="45" creationId="{947ADC28-4CD5-51AD-1D2D-7C0BDEA31EBB}"/>
          </ac:spMkLst>
        </pc:spChg>
        <pc:spChg chg="add del mod">
          <ac:chgData name="Oğuz Öztekin" userId="33c0df0f-d5fe-4bda-8f43-141ad7af67e3" providerId="ADAL" clId="{48B824AD-1B2A-47A8-8D92-6FE6E622A650}" dt="2024-12-16T18:04:46.710" v="146412"/>
          <ac:spMkLst>
            <pc:docMk/>
            <pc:sldMk cId="2155983508" sldId="290"/>
            <ac:spMk id="46" creationId="{A69BA5AA-1D82-E920-B0EE-A65D160354E7}"/>
          </ac:spMkLst>
        </pc:spChg>
        <pc:spChg chg="add del mod">
          <ac:chgData name="Oğuz Öztekin" userId="33c0df0f-d5fe-4bda-8f43-141ad7af67e3" providerId="ADAL" clId="{48B824AD-1B2A-47A8-8D92-6FE6E622A650}" dt="2024-12-16T18:04:46.710" v="146415"/>
          <ac:spMkLst>
            <pc:docMk/>
            <pc:sldMk cId="2155983508" sldId="290"/>
            <ac:spMk id="47" creationId="{D23EC2CF-D8E3-B8CB-A65B-60FCF4361701}"/>
          </ac:spMkLst>
        </pc:spChg>
        <pc:spChg chg="add del mod">
          <ac:chgData name="Oğuz Öztekin" userId="33c0df0f-d5fe-4bda-8f43-141ad7af67e3" providerId="ADAL" clId="{48B824AD-1B2A-47A8-8D92-6FE6E622A650}" dt="2024-12-16T18:04:46.711" v="146418"/>
          <ac:spMkLst>
            <pc:docMk/>
            <pc:sldMk cId="2155983508" sldId="290"/>
            <ac:spMk id="48" creationId="{F7DDFD7F-B00B-8280-0459-C1CBB450E7CB}"/>
          </ac:spMkLst>
        </pc:spChg>
        <pc:spChg chg="add del mod">
          <ac:chgData name="Oğuz Öztekin" userId="33c0df0f-d5fe-4bda-8f43-141ad7af67e3" providerId="ADAL" clId="{48B824AD-1B2A-47A8-8D92-6FE6E622A650}" dt="2024-12-16T18:04:46.712" v="146421"/>
          <ac:spMkLst>
            <pc:docMk/>
            <pc:sldMk cId="2155983508" sldId="290"/>
            <ac:spMk id="49" creationId="{40AB9240-3E40-23DD-62F4-A04AD84007CF}"/>
          </ac:spMkLst>
        </pc:spChg>
        <pc:spChg chg="add del mod">
          <ac:chgData name="Oğuz Öztekin" userId="33c0df0f-d5fe-4bda-8f43-141ad7af67e3" providerId="ADAL" clId="{48B824AD-1B2A-47A8-8D92-6FE6E622A650}" dt="2024-12-16T18:04:46.713" v="146424"/>
          <ac:spMkLst>
            <pc:docMk/>
            <pc:sldMk cId="2155983508" sldId="290"/>
            <ac:spMk id="50" creationId="{2F29F720-816E-A150-E902-8E3511E47464}"/>
          </ac:spMkLst>
        </pc:spChg>
        <pc:spChg chg="add del mod">
          <ac:chgData name="Oğuz Öztekin" userId="33c0df0f-d5fe-4bda-8f43-141ad7af67e3" providerId="ADAL" clId="{48B824AD-1B2A-47A8-8D92-6FE6E622A650}" dt="2024-12-16T18:04:46.713" v="146427"/>
          <ac:spMkLst>
            <pc:docMk/>
            <pc:sldMk cId="2155983508" sldId="290"/>
            <ac:spMk id="51" creationId="{65543B9E-94C8-B996-E26A-5166D5ED68DD}"/>
          </ac:spMkLst>
        </pc:spChg>
        <pc:spChg chg="add del mod">
          <ac:chgData name="Oğuz Öztekin" userId="33c0df0f-d5fe-4bda-8f43-141ad7af67e3" providerId="ADAL" clId="{48B824AD-1B2A-47A8-8D92-6FE6E622A650}" dt="2024-12-16T18:04:46.714" v="146430"/>
          <ac:spMkLst>
            <pc:docMk/>
            <pc:sldMk cId="2155983508" sldId="290"/>
            <ac:spMk id="52" creationId="{1A8BEE0D-D4B5-C6C7-76A8-66F33AA31B88}"/>
          </ac:spMkLst>
        </pc:spChg>
        <pc:spChg chg="add del mod">
          <ac:chgData name="Oğuz Öztekin" userId="33c0df0f-d5fe-4bda-8f43-141ad7af67e3" providerId="ADAL" clId="{48B824AD-1B2A-47A8-8D92-6FE6E622A650}" dt="2024-12-16T18:04:39.631" v="145698"/>
          <ac:spMkLst>
            <pc:docMk/>
            <pc:sldMk cId="2155983508" sldId="290"/>
            <ac:spMk id="53" creationId="{67117B62-86E3-A1CC-3C5A-E2D05D97CAD9}"/>
          </ac:spMkLst>
        </pc:spChg>
        <pc:spChg chg="add del mod">
          <ac:chgData name="Oğuz Öztekin" userId="33c0df0f-d5fe-4bda-8f43-141ad7af67e3" providerId="ADAL" clId="{48B824AD-1B2A-47A8-8D92-6FE6E622A650}" dt="2024-12-16T18:04:39.635" v="145701"/>
          <ac:spMkLst>
            <pc:docMk/>
            <pc:sldMk cId="2155983508" sldId="290"/>
            <ac:spMk id="54" creationId="{04B2BDB8-11A0-3666-7D1E-98901FF8055E}"/>
          </ac:spMkLst>
        </pc:spChg>
        <pc:spChg chg="add del mod">
          <ac:chgData name="Oğuz Öztekin" userId="33c0df0f-d5fe-4bda-8f43-141ad7af67e3" providerId="ADAL" clId="{48B824AD-1B2A-47A8-8D92-6FE6E622A650}" dt="2024-12-16T18:04:39.637" v="145704"/>
          <ac:spMkLst>
            <pc:docMk/>
            <pc:sldMk cId="2155983508" sldId="290"/>
            <ac:spMk id="55" creationId="{12E0E940-9209-3E55-3612-4DE2EBB96F0E}"/>
          </ac:spMkLst>
        </pc:spChg>
        <pc:spChg chg="add del mod">
          <ac:chgData name="Oğuz Öztekin" userId="33c0df0f-d5fe-4bda-8f43-141ad7af67e3" providerId="ADAL" clId="{48B824AD-1B2A-47A8-8D92-6FE6E622A650}" dt="2024-12-16T18:04:39.637" v="145707"/>
          <ac:spMkLst>
            <pc:docMk/>
            <pc:sldMk cId="2155983508" sldId="290"/>
            <ac:spMk id="56" creationId="{B4F0BE3E-0EB1-1D51-5DDD-F776F167B2E7}"/>
          </ac:spMkLst>
        </pc:spChg>
        <pc:spChg chg="add del mod">
          <ac:chgData name="Oğuz Öztekin" userId="33c0df0f-d5fe-4bda-8f43-141ad7af67e3" providerId="ADAL" clId="{48B824AD-1B2A-47A8-8D92-6FE6E622A650}" dt="2024-12-16T18:04:39.637" v="145710"/>
          <ac:spMkLst>
            <pc:docMk/>
            <pc:sldMk cId="2155983508" sldId="290"/>
            <ac:spMk id="57" creationId="{E4092308-32B8-62EF-780F-D3D530AD9DC7}"/>
          </ac:spMkLst>
        </pc:spChg>
        <pc:spChg chg="add del mod">
          <ac:chgData name="Oğuz Öztekin" userId="33c0df0f-d5fe-4bda-8f43-141ad7af67e3" providerId="ADAL" clId="{48B824AD-1B2A-47A8-8D92-6FE6E622A650}" dt="2024-12-16T18:04:39.637" v="145713"/>
          <ac:spMkLst>
            <pc:docMk/>
            <pc:sldMk cId="2155983508" sldId="290"/>
            <ac:spMk id="58" creationId="{546EF9F2-EE6D-A666-9138-D51C6E3B6414}"/>
          </ac:spMkLst>
        </pc:spChg>
        <pc:spChg chg="add del mod">
          <ac:chgData name="Oğuz Öztekin" userId="33c0df0f-d5fe-4bda-8f43-141ad7af67e3" providerId="ADAL" clId="{48B824AD-1B2A-47A8-8D92-6FE6E622A650}" dt="2024-12-16T18:04:39.637" v="145716"/>
          <ac:spMkLst>
            <pc:docMk/>
            <pc:sldMk cId="2155983508" sldId="290"/>
            <ac:spMk id="59" creationId="{796E480F-AFF3-6794-4843-65C29479B0A7}"/>
          </ac:spMkLst>
        </pc:spChg>
        <pc:spChg chg="add del mod">
          <ac:chgData name="Oğuz Öztekin" userId="33c0df0f-d5fe-4bda-8f43-141ad7af67e3" providerId="ADAL" clId="{48B824AD-1B2A-47A8-8D92-6FE6E622A650}" dt="2024-12-16T18:04:39.637" v="145719"/>
          <ac:spMkLst>
            <pc:docMk/>
            <pc:sldMk cId="2155983508" sldId="290"/>
            <ac:spMk id="60" creationId="{20F723A6-379E-A895-3B16-6B394AC06AB2}"/>
          </ac:spMkLst>
        </pc:spChg>
        <pc:spChg chg="add del mod">
          <ac:chgData name="Oğuz Öztekin" userId="33c0df0f-d5fe-4bda-8f43-141ad7af67e3" providerId="ADAL" clId="{48B824AD-1B2A-47A8-8D92-6FE6E622A650}" dt="2024-12-16T18:04:39.637" v="145722"/>
          <ac:spMkLst>
            <pc:docMk/>
            <pc:sldMk cId="2155983508" sldId="290"/>
            <ac:spMk id="61" creationId="{9C19471D-E6B7-423B-1BBC-7467E56ECF4C}"/>
          </ac:spMkLst>
        </pc:spChg>
        <pc:spChg chg="add del mod">
          <ac:chgData name="Oğuz Öztekin" userId="33c0df0f-d5fe-4bda-8f43-141ad7af67e3" providerId="ADAL" clId="{48B824AD-1B2A-47A8-8D92-6FE6E622A650}" dt="2024-12-16T18:04:39.642" v="145725"/>
          <ac:spMkLst>
            <pc:docMk/>
            <pc:sldMk cId="2155983508" sldId="290"/>
            <ac:spMk id="62" creationId="{62C059FF-7D5A-99E1-2A4B-FAF992028D69}"/>
          </ac:spMkLst>
        </pc:spChg>
        <pc:spChg chg="add del mod">
          <ac:chgData name="Oğuz Öztekin" userId="33c0df0f-d5fe-4bda-8f43-141ad7af67e3" providerId="ADAL" clId="{48B824AD-1B2A-47A8-8D92-6FE6E622A650}" dt="2024-12-16T18:04:39.642" v="145728"/>
          <ac:spMkLst>
            <pc:docMk/>
            <pc:sldMk cId="2155983508" sldId="290"/>
            <ac:spMk id="63" creationId="{57DE3860-C009-86BF-7A6F-5A7B80DA90AD}"/>
          </ac:spMkLst>
        </pc:spChg>
        <pc:spChg chg="add del mod">
          <ac:chgData name="Oğuz Öztekin" userId="33c0df0f-d5fe-4bda-8f43-141ad7af67e3" providerId="ADAL" clId="{48B824AD-1B2A-47A8-8D92-6FE6E622A650}" dt="2024-12-16T18:04:32.116" v="144853"/>
          <ac:spMkLst>
            <pc:docMk/>
            <pc:sldMk cId="2155983508" sldId="290"/>
            <ac:spMk id="64" creationId="{F688866F-1429-D737-E473-37C27DF758E7}"/>
          </ac:spMkLst>
        </pc:spChg>
        <pc:spChg chg="add del mod">
          <ac:chgData name="Oğuz Öztekin" userId="33c0df0f-d5fe-4bda-8f43-141ad7af67e3" providerId="ADAL" clId="{48B824AD-1B2A-47A8-8D92-6FE6E622A650}" dt="2024-12-16T18:04:32.117" v="144856"/>
          <ac:spMkLst>
            <pc:docMk/>
            <pc:sldMk cId="2155983508" sldId="290"/>
            <ac:spMk id="65" creationId="{62EFD3EF-4448-1025-AB0C-F8EFF3BBBC2F}"/>
          </ac:spMkLst>
        </pc:spChg>
        <pc:spChg chg="add del mod">
          <ac:chgData name="Oğuz Öztekin" userId="33c0df0f-d5fe-4bda-8f43-141ad7af67e3" providerId="ADAL" clId="{48B824AD-1B2A-47A8-8D92-6FE6E622A650}" dt="2024-12-16T18:04:32.118" v="144859"/>
          <ac:spMkLst>
            <pc:docMk/>
            <pc:sldMk cId="2155983508" sldId="290"/>
            <ac:spMk id="66" creationId="{3492D799-792C-DF1C-9EE2-23D2E56B0549}"/>
          </ac:spMkLst>
        </pc:spChg>
        <pc:spChg chg="add del mod">
          <ac:chgData name="Oğuz Öztekin" userId="33c0df0f-d5fe-4bda-8f43-141ad7af67e3" providerId="ADAL" clId="{48B824AD-1B2A-47A8-8D92-6FE6E622A650}" dt="2024-12-16T18:04:32.119" v="144862"/>
          <ac:spMkLst>
            <pc:docMk/>
            <pc:sldMk cId="2155983508" sldId="290"/>
            <ac:spMk id="67" creationId="{C7606F55-AB16-4164-0C2C-8E95A87C6C24}"/>
          </ac:spMkLst>
        </pc:spChg>
        <pc:spChg chg="add del mod">
          <ac:chgData name="Oğuz Öztekin" userId="33c0df0f-d5fe-4bda-8f43-141ad7af67e3" providerId="ADAL" clId="{48B824AD-1B2A-47A8-8D92-6FE6E622A650}" dt="2024-12-16T18:04:32.120" v="144865"/>
          <ac:spMkLst>
            <pc:docMk/>
            <pc:sldMk cId="2155983508" sldId="290"/>
            <ac:spMk id="68" creationId="{87507E93-C462-D923-9A3E-AFD7522809D5}"/>
          </ac:spMkLst>
        </pc:spChg>
        <pc:spChg chg="add del mod">
          <ac:chgData name="Oğuz Öztekin" userId="33c0df0f-d5fe-4bda-8f43-141ad7af67e3" providerId="ADAL" clId="{48B824AD-1B2A-47A8-8D92-6FE6E622A650}" dt="2024-12-16T18:04:32.120" v="144868"/>
          <ac:spMkLst>
            <pc:docMk/>
            <pc:sldMk cId="2155983508" sldId="290"/>
            <ac:spMk id="69" creationId="{EA879AE5-66EF-06E9-7E1F-0E04D71B3243}"/>
          </ac:spMkLst>
        </pc:spChg>
        <pc:spChg chg="add del mod">
          <ac:chgData name="Oğuz Öztekin" userId="33c0df0f-d5fe-4bda-8f43-141ad7af67e3" providerId="ADAL" clId="{48B824AD-1B2A-47A8-8D92-6FE6E622A650}" dt="2024-12-16T18:04:32.121" v="144871"/>
          <ac:spMkLst>
            <pc:docMk/>
            <pc:sldMk cId="2155983508" sldId="290"/>
            <ac:spMk id="70" creationId="{0CEA04E0-083F-191C-392A-115BDBF3742F}"/>
          </ac:spMkLst>
        </pc:spChg>
        <pc:spChg chg="add del mod">
          <ac:chgData name="Oğuz Öztekin" userId="33c0df0f-d5fe-4bda-8f43-141ad7af67e3" providerId="ADAL" clId="{48B824AD-1B2A-47A8-8D92-6FE6E622A650}" dt="2024-12-16T18:04:32.122" v="144874"/>
          <ac:spMkLst>
            <pc:docMk/>
            <pc:sldMk cId="2155983508" sldId="290"/>
            <ac:spMk id="71" creationId="{9B9EC746-C9DD-B962-511B-BD7E9ED6099C}"/>
          </ac:spMkLst>
        </pc:spChg>
        <pc:spChg chg="add del mod">
          <ac:chgData name="Oğuz Öztekin" userId="33c0df0f-d5fe-4bda-8f43-141ad7af67e3" providerId="ADAL" clId="{48B824AD-1B2A-47A8-8D92-6FE6E622A650}" dt="2024-12-16T18:04:32.123" v="144877"/>
          <ac:spMkLst>
            <pc:docMk/>
            <pc:sldMk cId="2155983508" sldId="290"/>
            <ac:spMk id="72" creationId="{606ECDBC-C6C9-57DA-6395-EE488771BC6F}"/>
          </ac:spMkLst>
        </pc:spChg>
        <pc:spChg chg="add del mod">
          <ac:chgData name="Oğuz Öztekin" userId="33c0df0f-d5fe-4bda-8f43-141ad7af67e3" providerId="ADAL" clId="{48B824AD-1B2A-47A8-8D92-6FE6E622A650}" dt="2024-12-16T18:04:32.124" v="144880"/>
          <ac:spMkLst>
            <pc:docMk/>
            <pc:sldMk cId="2155983508" sldId="290"/>
            <ac:spMk id="73" creationId="{1CD81ED2-DF79-FD96-056E-B0352A260CB4}"/>
          </ac:spMkLst>
        </pc:spChg>
        <pc:spChg chg="add del mod">
          <ac:chgData name="Oğuz Öztekin" userId="33c0df0f-d5fe-4bda-8f43-141ad7af67e3" providerId="ADAL" clId="{48B824AD-1B2A-47A8-8D92-6FE6E622A650}" dt="2024-12-16T18:04:25.177" v="143748"/>
          <ac:spMkLst>
            <pc:docMk/>
            <pc:sldMk cId="2155983508" sldId="290"/>
            <ac:spMk id="74" creationId="{FC1E5567-9494-EB28-DF25-AD43752C0BD6}"/>
          </ac:spMkLst>
        </pc:spChg>
        <pc:spChg chg="add del mod">
          <ac:chgData name="Oğuz Öztekin" userId="33c0df0f-d5fe-4bda-8f43-141ad7af67e3" providerId="ADAL" clId="{48B824AD-1B2A-47A8-8D92-6FE6E622A650}" dt="2024-12-16T18:04:25.177" v="143751"/>
          <ac:spMkLst>
            <pc:docMk/>
            <pc:sldMk cId="2155983508" sldId="290"/>
            <ac:spMk id="75" creationId="{8D427598-E511-3E75-BC28-F29C2B0757DA}"/>
          </ac:spMkLst>
        </pc:spChg>
        <pc:spChg chg="add del mod">
          <ac:chgData name="Oğuz Öztekin" userId="33c0df0f-d5fe-4bda-8f43-141ad7af67e3" providerId="ADAL" clId="{48B824AD-1B2A-47A8-8D92-6FE6E622A650}" dt="2024-12-16T18:04:25.184" v="143754"/>
          <ac:spMkLst>
            <pc:docMk/>
            <pc:sldMk cId="2155983508" sldId="290"/>
            <ac:spMk id="76" creationId="{3ED8219B-171E-D6C5-F834-B4460EC0C239}"/>
          </ac:spMkLst>
        </pc:spChg>
        <pc:spChg chg="add del mod">
          <ac:chgData name="Oğuz Öztekin" userId="33c0df0f-d5fe-4bda-8f43-141ad7af67e3" providerId="ADAL" clId="{48B824AD-1B2A-47A8-8D92-6FE6E622A650}" dt="2024-12-16T18:04:25.184" v="143757"/>
          <ac:spMkLst>
            <pc:docMk/>
            <pc:sldMk cId="2155983508" sldId="290"/>
            <ac:spMk id="77" creationId="{8E0FF4F7-9168-AC60-B721-8688C1E41538}"/>
          </ac:spMkLst>
        </pc:spChg>
        <pc:spChg chg="add del mod">
          <ac:chgData name="Oğuz Öztekin" userId="33c0df0f-d5fe-4bda-8f43-141ad7af67e3" providerId="ADAL" clId="{48B824AD-1B2A-47A8-8D92-6FE6E622A650}" dt="2024-12-16T18:04:25.186" v="143760"/>
          <ac:spMkLst>
            <pc:docMk/>
            <pc:sldMk cId="2155983508" sldId="290"/>
            <ac:spMk id="78" creationId="{5672D314-7625-1D86-BCAD-3E8BB1D2C3B0}"/>
          </ac:spMkLst>
        </pc:spChg>
        <pc:spChg chg="add del mod">
          <ac:chgData name="Oğuz Öztekin" userId="33c0df0f-d5fe-4bda-8f43-141ad7af67e3" providerId="ADAL" clId="{48B824AD-1B2A-47A8-8D92-6FE6E622A650}" dt="2024-12-16T18:04:25.186" v="143763"/>
          <ac:spMkLst>
            <pc:docMk/>
            <pc:sldMk cId="2155983508" sldId="290"/>
            <ac:spMk id="79" creationId="{7F966C6F-350E-7C9F-2E38-FACF1424F456}"/>
          </ac:spMkLst>
        </pc:spChg>
        <pc:spChg chg="add del mod">
          <ac:chgData name="Oğuz Öztekin" userId="33c0df0f-d5fe-4bda-8f43-141ad7af67e3" providerId="ADAL" clId="{48B824AD-1B2A-47A8-8D92-6FE6E622A650}" dt="2024-12-16T18:04:25.186" v="143766"/>
          <ac:spMkLst>
            <pc:docMk/>
            <pc:sldMk cId="2155983508" sldId="290"/>
            <ac:spMk id="80" creationId="{7B81A3C7-BE67-B5A5-67ED-E8304E5FA3EA}"/>
          </ac:spMkLst>
        </pc:spChg>
        <pc:spChg chg="add del mod">
          <ac:chgData name="Oğuz Öztekin" userId="33c0df0f-d5fe-4bda-8f43-141ad7af67e3" providerId="ADAL" clId="{48B824AD-1B2A-47A8-8D92-6FE6E622A650}" dt="2024-12-16T18:04:25.186" v="143769"/>
          <ac:spMkLst>
            <pc:docMk/>
            <pc:sldMk cId="2155983508" sldId="290"/>
            <ac:spMk id="81" creationId="{331107D0-45EB-7DF4-4FDD-8E52F74BFE40}"/>
          </ac:spMkLst>
        </pc:spChg>
        <pc:spChg chg="add del mod">
          <ac:chgData name="Oğuz Öztekin" userId="33c0df0f-d5fe-4bda-8f43-141ad7af67e3" providerId="ADAL" clId="{48B824AD-1B2A-47A8-8D92-6FE6E622A650}" dt="2024-12-16T18:04:25.186" v="143772"/>
          <ac:spMkLst>
            <pc:docMk/>
            <pc:sldMk cId="2155983508" sldId="290"/>
            <ac:spMk id="82" creationId="{B0478A72-29CC-65DD-9B56-C9EA2D4D8620}"/>
          </ac:spMkLst>
        </pc:spChg>
        <pc:spChg chg="add del mod">
          <ac:chgData name="Oğuz Öztekin" userId="33c0df0f-d5fe-4bda-8f43-141ad7af67e3" providerId="ADAL" clId="{48B824AD-1B2A-47A8-8D92-6FE6E622A650}" dt="2024-12-16T18:04:25.186" v="143775"/>
          <ac:spMkLst>
            <pc:docMk/>
            <pc:sldMk cId="2155983508" sldId="290"/>
            <ac:spMk id="83" creationId="{3B8E7000-54FE-FD45-5BDE-94BFB8AB328C}"/>
          </ac:spMkLst>
        </pc:spChg>
        <pc:spChg chg="add del mod">
          <ac:chgData name="Oğuz Öztekin" userId="33c0df0f-d5fe-4bda-8f43-141ad7af67e3" providerId="ADAL" clId="{48B824AD-1B2A-47A8-8D92-6FE6E622A650}" dt="2024-12-16T18:04:25.186" v="143778"/>
          <ac:spMkLst>
            <pc:docMk/>
            <pc:sldMk cId="2155983508" sldId="290"/>
            <ac:spMk id="84" creationId="{1B9A595A-94B0-9AD9-12BA-BCE0FC2CA12F}"/>
          </ac:spMkLst>
        </pc:spChg>
        <pc:spChg chg="add del mod">
          <ac:chgData name="Oğuz Öztekin" userId="33c0df0f-d5fe-4bda-8f43-141ad7af67e3" providerId="ADAL" clId="{48B824AD-1B2A-47A8-8D92-6FE6E622A650}" dt="2024-12-16T18:04:25.186" v="143781"/>
          <ac:spMkLst>
            <pc:docMk/>
            <pc:sldMk cId="2155983508" sldId="290"/>
            <ac:spMk id="85" creationId="{3DF55B38-450D-DD2C-CC2E-0C67149BFF13}"/>
          </ac:spMkLst>
        </pc:spChg>
        <pc:spChg chg="mod">
          <ac:chgData name="Oğuz Öztekin" userId="33c0df0f-d5fe-4bda-8f43-141ad7af67e3" providerId="ADAL" clId="{48B824AD-1B2A-47A8-8D92-6FE6E622A650}" dt="2024-12-16T18:30:04.146" v="202483"/>
          <ac:spMkLst>
            <pc:docMk/>
            <pc:sldMk cId="2155983508" sldId="290"/>
            <ac:spMk id="86" creationId="{ACB47CB6-4B23-6E38-C126-11CF10B942C4}"/>
          </ac:spMkLst>
        </pc:spChg>
        <pc:spChg chg="mod">
          <ac:chgData name="Oğuz Öztekin" userId="33c0df0f-d5fe-4bda-8f43-141ad7af67e3" providerId="ADAL" clId="{48B824AD-1B2A-47A8-8D92-6FE6E622A650}" dt="2024-12-16T18:30:04.144" v="202469"/>
          <ac:spMkLst>
            <pc:docMk/>
            <pc:sldMk cId="2155983508" sldId="290"/>
            <ac:spMk id="87" creationId="{E3ABBF0D-148C-F3F6-9DBD-BF76C4F76E17}"/>
          </ac:spMkLst>
        </pc:spChg>
        <pc:spChg chg="mod">
          <ac:chgData name="Oğuz Öztekin" userId="33c0df0f-d5fe-4bda-8f43-141ad7af67e3" providerId="ADAL" clId="{48B824AD-1B2A-47A8-8D92-6FE6E622A650}" dt="2024-12-16T18:30:04.146" v="202485"/>
          <ac:spMkLst>
            <pc:docMk/>
            <pc:sldMk cId="2155983508" sldId="290"/>
            <ac:spMk id="88" creationId="{24D5376B-FA1A-990A-B683-937ADA32D787}"/>
          </ac:spMkLst>
        </pc:spChg>
        <pc:spChg chg="mod">
          <ac:chgData name="Oğuz Öztekin" userId="33c0df0f-d5fe-4bda-8f43-141ad7af67e3" providerId="ADAL" clId="{48B824AD-1B2A-47A8-8D92-6FE6E622A650}" dt="2024-12-16T18:30:04.146" v="202486"/>
          <ac:spMkLst>
            <pc:docMk/>
            <pc:sldMk cId="2155983508" sldId="290"/>
            <ac:spMk id="89" creationId="{A1FFBD1D-00E8-7667-EF4F-C62B13556C68}"/>
          </ac:spMkLst>
        </pc:spChg>
        <pc:spChg chg="mod">
          <ac:chgData name="Oğuz Öztekin" userId="33c0df0f-d5fe-4bda-8f43-141ad7af67e3" providerId="ADAL" clId="{48B824AD-1B2A-47A8-8D92-6FE6E622A650}" dt="2024-12-16T18:30:04.146" v="202488"/>
          <ac:spMkLst>
            <pc:docMk/>
            <pc:sldMk cId="2155983508" sldId="290"/>
            <ac:spMk id="90" creationId="{E95410A0-0679-8CC2-C240-56578201458D}"/>
          </ac:spMkLst>
        </pc:spChg>
        <pc:spChg chg="mod">
          <ac:chgData name="Oğuz Öztekin" userId="33c0df0f-d5fe-4bda-8f43-141ad7af67e3" providerId="ADAL" clId="{48B824AD-1B2A-47A8-8D92-6FE6E622A650}" dt="2024-12-16T18:30:04.146" v="202489"/>
          <ac:spMkLst>
            <pc:docMk/>
            <pc:sldMk cId="2155983508" sldId="290"/>
            <ac:spMk id="91" creationId="{8B03BEF0-BE14-E16C-5E1D-CCDD0E54C1BB}"/>
          </ac:spMkLst>
        </pc:spChg>
        <pc:spChg chg="mod">
          <ac:chgData name="Oğuz Öztekin" userId="33c0df0f-d5fe-4bda-8f43-141ad7af67e3" providerId="ADAL" clId="{48B824AD-1B2A-47A8-8D92-6FE6E622A650}" dt="2024-12-16T18:30:04.151" v="202491"/>
          <ac:spMkLst>
            <pc:docMk/>
            <pc:sldMk cId="2155983508" sldId="290"/>
            <ac:spMk id="92" creationId="{921996D2-8418-919D-765E-E01349052E92}"/>
          </ac:spMkLst>
        </pc:spChg>
        <pc:spChg chg="add del mod">
          <ac:chgData name="Oğuz Öztekin" userId="33c0df0f-d5fe-4bda-8f43-141ad7af67e3" providerId="ADAL" clId="{48B824AD-1B2A-47A8-8D92-6FE6E622A650}" dt="2024-12-16T18:04:25.186" v="143784"/>
          <ac:spMkLst>
            <pc:docMk/>
            <pc:sldMk cId="2155983508" sldId="290"/>
            <ac:spMk id="93" creationId="{DC126543-3314-1234-14FA-570A472A0EC6}"/>
          </ac:spMkLst>
        </pc:spChg>
        <pc:spChg chg="add del mod">
          <ac:chgData name="Oğuz Öztekin" userId="33c0df0f-d5fe-4bda-8f43-141ad7af67e3" providerId="ADAL" clId="{48B824AD-1B2A-47A8-8D92-6FE6E622A650}" dt="2024-12-16T18:04:25.186" v="143787"/>
          <ac:spMkLst>
            <pc:docMk/>
            <pc:sldMk cId="2155983508" sldId="290"/>
            <ac:spMk id="94" creationId="{9113545D-062D-2B55-4F33-32041CA96852}"/>
          </ac:spMkLst>
        </pc:spChg>
        <pc:spChg chg="add del mod">
          <ac:chgData name="Oğuz Öztekin" userId="33c0df0f-d5fe-4bda-8f43-141ad7af67e3" providerId="ADAL" clId="{48B824AD-1B2A-47A8-8D92-6FE6E622A650}" dt="2024-12-16T18:04:25.193" v="143790"/>
          <ac:spMkLst>
            <pc:docMk/>
            <pc:sldMk cId="2155983508" sldId="290"/>
            <ac:spMk id="95" creationId="{7C860E5E-D88B-C6B0-587A-4EB1769CBBF2}"/>
          </ac:spMkLst>
        </pc:spChg>
        <pc:spChg chg="add del mod">
          <ac:chgData name="Oğuz Öztekin" userId="33c0df0f-d5fe-4bda-8f43-141ad7af67e3" providerId="ADAL" clId="{48B824AD-1B2A-47A8-8D92-6FE6E622A650}" dt="2024-12-16T18:04:39.642" v="145731"/>
          <ac:spMkLst>
            <pc:docMk/>
            <pc:sldMk cId="2155983508" sldId="290"/>
            <ac:spMk id="288" creationId="{2345A010-5C6A-D63B-8A89-44B11F82F0D6}"/>
          </ac:spMkLst>
        </pc:spChg>
        <pc:spChg chg="add del mod">
          <ac:chgData name="Oğuz Öztekin" userId="33c0df0f-d5fe-4bda-8f43-141ad7af67e3" providerId="ADAL" clId="{48B824AD-1B2A-47A8-8D92-6FE6E622A650}" dt="2024-12-16T18:04:39.645" v="145734"/>
          <ac:spMkLst>
            <pc:docMk/>
            <pc:sldMk cId="2155983508" sldId="290"/>
            <ac:spMk id="289" creationId="{6050B4F3-8256-8C0D-B0D7-911341807522}"/>
          </ac:spMkLst>
        </pc:spChg>
        <pc:spChg chg="add del mod">
          <ac:chgData name="Oğuz Öztekin" userId="33c0df0f-d5fe-4bda-8f43-141ad7af67e3" providerId="ADAL" clId="{48B824AD-1B2A-47A8-8D92-6FE6E622A650}" dt="2024-12-16T18:04:39.645" v="145737"/>
          <ac:spMkLst>
            <pc:docMk/>
            <pc:sldMk cId="2155983508" sldId="290"/>
            <ac:spMk id="290" creationId="{5F47FDFC-FBFB-C50E-095B-2B7E10A5B97B}"/>
          </ac:spMkLst>
        </pc:spChg>
        <pc:spChg chg="add del mod">
          <ac:chgData name="Oğuz Öztekin" userId="33c0df0f-d5fe-4bda-8f43-141ad7af67e3" providerId="ADAL" clId="{48B824AD-1B2A-47A8-8D92-6FE6E622A650}" dt="2024-12-16T18:04:39.645" v="145740"/>
          <ac:spMkLst>
            <pc:docMk/>
            <pc:sldMk cId="2155983508" sldId="290"/>
            <ac:spMk id="291" creationId="{8926DB57-8B22-41FF-8F9A-480EC04E4813}"/>
          </ac:spMkLst>
        </pc:spChg>
        <pc:spChg chg="mod">
          <ac:chgData name="Oğuz Öztekin" userId="33c0df0f-d5fe-4bda-8f43-141ad7af67e3" providerId="ADAL" clId="{48B824AD-1B2A-47A8-8D92-6FE6E622A650}" dt="2024-12-16T18:30:04.151" v="202492"/>
          <ac:spMkLst>
            <pc:docMk/>
            <pc:sldMk cId="2155983508" sldId="290"/>
            <ac:spMk id="292" creationId="{C6C6562E-67B8-F5D9-FAFF-074ED976AD4D}"/>
          </ac:spMkLst>
        </pc:spChg>
        <pc:spChg chg="add del mod">
          <ac:chgData name="Oğuz Öztekin" userId="33c0df0f-d5fe-4bda-8f43-141ad7af67e3" providerId="ADAL" clId="{48B824AD-1B2A-47A8-8D92-6FE6E622A650}" dt="2024-12-16T18:04:39.645" v="145743"/>
          <ac:spMkLst>
            <pc:docMk/>
            <pc:sldMk cId="2155983508" sldId="290"/>
            <ac:spMk id="294" creationId="{F336E5D9-8212-78B1-9ED9-33B065F44E71}"/>
          </ac:spMkLst>
        </pc:spChg>
        <pc:spChg chg="mod">
          <ac:chgData name="Oğuz Öztekin" userId="33c0df0f-d5fe-4bda-8f43-141ad7af67e3" providerId="ADAL" clId="{48B824AD-1B2A-47A8-8D92-6FE6E622A650}" dt="2024-12-16T18:30:04.151" v="202493"/>
          <ac:spMkLst>
            <pc:docMk/>
            <pc:sldMk cId="2155983508" sldId="290"/>
            <ac:spMk id="295" creationId="{F6FDAF56-2EBB-6D48-BB55-190BFA9F3998}"/>
          </ac:spMkLst>
        </pc:spChg>
        <pc:spChg chg="add del mod">
          <ac:chgData name="Oğuz Öztekin" userId="33c0df0f-d5fe-4bda-8f43-141ad7af67e3" providerId="ADAL" clId="{48B824AD-1B2A-47A8-8D92-6FE6E622A650}" dt="2024-12-16T18:04:39.647" v="145746"/>
          <ac:spMkLst>
            <pc:docMk/>
            <pc:sldMk cId="2155983508" sldId="290"/>
            <ac:spMk id="296" creationId="{2AEB6547-7091-86BE-04AF-269DC359C63A}"/>
          </ac:spMkLst>
        </pc:spChg>
        <pc:spChg chg="add del mod">
          <ac:chgData name="Oğuz Öztekin" userId="33c0df0f-d5fe-4bda-8f43-141ad7af67e3" providerId="ADAL" clId="{48B824AD-1B2A-47A8-8D92-6FE6E622A650}" dt="2024-12-16T18:04:39.649" v="145749"/>
          <ac:spMkLst>
            <pc:docMk/>
            <pc:sldMk cId="2155983508" sldId="290"/>
            <ac:spMk id="297" creationId="{450442AF-162A-8F52-4151-0B4FA32E0AD1}"/>
          </ac:spMkLst>
        </pc:spChg>
        <pc:spChg chg="mod">
          <ac:chgData name="Oğuz Öztekin" userId="33c0df0f-d5fe-4bda-8f43-141ad7af67e3" providerId="ADAL" clId="{48B824AD-1B2A-47A8-8D92-6FE6E622A650}" dt="2024-12-16T18:30:04.144" v="202463"/>
          <ac:spMkLst>
            <pc:docMk/>
            <pc:sldMk cId="2155983508" sldId="290"/>
            <ac:spMk id="298" creationId="{94BC3950-172C-5493-8678-7ABE3B351327}"/>
          </ac:spMkLst>
        </pc:spChg>
        <pc:spChg chg="add del mod">
          <ac:chgData name="Oğuz Öztekin" userId="33c0df0f-d5fe-4bda-8f43-141ad7af67e3" providerId="ADAL" clId="{48B824AD-1B2A-47A8-8D92-6FE6E622A650}" dt="2024-12-16T18:04:39.649" v="145752"/>
          <ac:spMkLst>
            <pc:docMk/>
            <pc:sldMk cId="2155983508" sldId="290"/>
            <ac:spMk id="299" creationId="{382016A4-3FA6-B6AE-1187-1EF86895B9B0}"/>
          </ac:spMkLst>
        </pc:spChg>
        <pc:spChg chg="add del mod">
          <ac:chgData name="Oğuz Öztekin" userId="33c0df0f-d5fe-4bda-8f43-141ad7af67e3" providerId="ADAL" clId="{48B824AD-1B2A-47A8-8D92-6FE6E622A650}" dt="2024-12-16T18:04:39.650" v="145755"/>
          <ac:spMkLst>
            <pc:docMk/>
            <pc:sldMk cId="2155983508" sldId="290"/>
            <ac:spMk id="300" creationId="{A1DA6DC6-8362-43FC-CB5C-4F0181758AB9}"/>
          </ac:spMkLst>
        </pc:spChg>
        <pc:spChg chg="mod">
          <ac:chgData name="Oğuz Öztekin" userId="33c0df0f-d5fe-4bda-8f43-141ad7af67e3" providerId="ADAL" clId="{48B824AD-1B2A-47A8-8D92-6FE6E622A650}" dt="2024-12-16T18:30:04.144" v="202464"/>
          <ac:spMkLst>
            <pc:docMk/>
            <pc:sldMk cId="2155983508" sldId="290"/>
            <ac:spMk id="301" creationId="{D5A5EA5F-87BC-59D0-BFC7-1C50354F687B}"/>
          </ac:spMkLst>
        </pc:spChg>
        <pc:spChg chg="add del mod">
          <ac:chgData name="Oğuz Öztekin" userId="33c0df0f-d5fe-4bda-8f43-141ad7af67e3" providerId="ADAL" clId="{48B824AD-1B2A-47A8-8D92-6FE6E622A650}" dt="2024-12-16T18:04:32.109" v="144823"/>
          <ac:spMkLst>
            <pc:docMk/>
            <pc:sldMk cId="2155983508" sldId="290"/>
            <ac:spMk id="302" creationId="{B8407AED-A93C-FBF3-3D28-3E3F5E63ACFD}"/>
          </ac:spMkLst>
        </pc:spChg>
        <pc:spChg chg="add del mod">
          <ac:chgData name="Oğuz Öztekin" userId="33c0df0f-d5fe-4bda-8f43-141ad7af67e3" providerId="ADAL" clId="{48B824AD-1B2A-47A8-8D92-6FE6E622A650}" dt="2024-12-16T18:04:32.110" v="144826"/>
          <ac:spMkLst>
            <pc:docMk/>
            <pc:sldMk cId="2155983508" sldId="290"/>
            <ac:spMk id="303" creationId="{25FDBAE8-3958-B1FF-00B4-DDEFBE544F63}"/>
          </ac:spMkLst>
        </pc:spChg>
        <pc:spChg chg="mod">
          <ac:chgData name="Oğuz Öztekin" userId="33c0df0f-d5fe-4bda-8f43-141ad7af67e3" providerId="ADAL" clId="{48B824AD-1B2A-47A8-8D92-6FE6E622A650}" dt="2024-12-16T18:30:04.144" v="202465"/>
          <ac:spMkLst>
            <pc:docMk/>
            <pc:sldMk cId="2155983508" sldId="290"/>
            <ac:spMk id="304" creationId="{CDEB298A-369D-E762-7CDA-621E17EC9F6A}"/>
          </ac:spMkLst>
        </pc:spChg>
        <pc:spChg chg="add del mod">
          <ac:chgData name="Oğuz Öztekin" userId="33c0df0f-d5fe-4bda-8f43-141ad7af67e3" providerId="ADAL" clId="{48B824AD-1B2A-47A8-8D92-6FE6E622A650}" dt="2024-12-16T18:04:32.111" v="144829"/>
          <ac:spMkLst>
            <pc:docMk/>
            <pc:sldMk cId="2155983508" sldId="290"/>
            <ac:spMk id="305" creationId="{D6BBD4A6-C552-32C8-A9B2-FE1FA6E1A96D}"/>
          </ac:spMkLst>
        </pc:spChg>
        <pc:spChg chg="add del mod">
          <ac:chgData name="Oğuz Öztekin" userId="33c0df0f-d5fe-4bda-8f43-141ad7af67e3" providerId="ADAL" clId="{48B824AD-1B2A-47A8-8D92-6FE6E622A650}" dt="2024-12-16T18:04:32.112" v="144832"/>
          <ac:spMkLst>
            <pc:docMk/>
            <pc:sldMk cId="2155983508" sldId="290"/>
            <ac:spMk id="307" creationId="{2602E9A1-CCB1-6632-1EC4-F5A8D658C99E}"/>
          </ac:spMkLst>
        </pc:spChg>
        <pc:spChg chg="mod">
          <ac:chgData name="Oğuz Öztekin" userId="33c0df0f-d5fe-4bda-8f43-141ad7af67e3" providerId="ADAL" clId="{48B824AD-1B2A-47A8-8D92-6FE6E622A650}" dt="2024-12-16T18:30:04.144" v="202466"/>
          <ac:spMkLst>
            <pc:docMk/>
            <pc:sldMk cId="2155983508" sldId="290"/>
            <ac:spMk id="308" creationId="{6865F647-9843-449E-3FA5-A9BF4B6DD6E9}"/>
          </ac:spMkLst>
        </pc:spChg>
        <pc:spChg chg="add del mod">
          <ac:chgData name="Oğuz Öztekin" userId="33c0df0f-d5fe-4bda-8f43-141ad7af67e3" providerId="ADAL" clId="{48B824AD-1B2A-47A8-8D92-6FE6E622A650}" dt="2024-12-16T18:04:32.112" v="144835"/>
          <ac:spMkLst>
            <pc:docMk/>
            <pc:sldMk cId="2155983508" sldId="290"/>
            <ac:spMk id="309" creationId="{0C15E656-7D30-0E7D-F3BE-2BFE68752667}"/>
          </ac:spMkLst>
        </pc:spChg>
        <pc:spChg chg="add del mod">
          <ac:chgData name="Oğuz Öztekin" userId="33c0df0f-d5fe-4bda-8f43-141ad7af67e3" providerId="ADAL" clId="{48B824AD-1B2A-47A8-8D92-6FE6E622A650}" dt="2024-12-16T18:04:32.113" v="144838"/>
          <ac:spMkLst>
            <pc:docMk/>
            <pc:sldMk cId="2155983508" sldId="290"/>
            <ac:spMk id="310" creationId="{217980C8-821F-ED3B-489D-52126EC25EBA}"/>
          </ac:spMkLst>
        </pc:spChg>
        <pc:spChg chg="mod">
          <ac:chgData name="Oğuz Öztekin" userId="33c0df0f-d5fe-4bda-8f43-141ad7af67e3" providerId="ADAL" clId="{48B824AD-1B2A-47A8-8D92-6FE6E622A650}" dt="2024-12-16T18:30:04.144" v="202467"/>
          <ac:spMkLst>
            <pc:docMk/>
            <pc:sldMk cId="2155983508" sldId="290"/>
            <ac:spMk id="311" creationId="{90F28279-94AC-B559-8434-10E9361BB405}"/>
          </ac:spMkLst>
        </pc:spChg>
        <pc:spChg chg="add del mod">
          <ac:chgData name="Oğuz Öztekin" userId="33c0df0f-d5fe-4bda-8f43-141ad7af67e3" providerId="ADAL" clId="{48B824AD-1B2A-47A8-8D92-6FE6E622A650}" dt="2024-12-16T18:04:32.114" v="144841"/>
          <ac:spMkLst>
            <pc:docMk/>
            <pc:sldMk cId="2155983508" sldId="290"/>
            <ac:spMk id="312" creationId="{646BAEC1-FE2C-120A-2ED3-B3C7D126CD54}"/>
          </ac:spMkLst>
        </pc:spChg>
        <pc:spChg chg="add del mod">
          <ac:chgData name="Oğuz Öztekin" userId="33c0df0f-d5fe-4bda-8f43-141ad7af67e3" providerId="ADAL" clId="{48B824AD-1B2A-47A8-8D92-6FE6E622A650}" dt="2024-12-16T18:04:32.115" v="144844"/>
          <ac:spMkLst>
            <pc:docMk/>
            <pc:sldMk cId="2155983508" sldId="290"/>
            <ac:spMk id="314" creationId="{4A6599B6-7E47-8EE1-1AFE-E63FB0E47E16}"/>
          </ac:spMkLst>
        </pc:spChg>
        <pc:spChg chg="mod">
          <ac:chgData name="Oğuz Öztekin" userId="33c0df0f-d5fe-4bda-8f43-141ad7af67e3" providerId="ADAL" clId="{48B824AD-1B2A-47A8-8D92-6FE6E622A650}" dt="2024-12-16T18:30:04.144" v="202468"/>
          <ac:spMkLst>
            <pc:docMk/>
            <pc:sldMk cId="2155983508" sldId="290"/>
            <ac:spMk id="315" creationId="{86724DEB-974E-E9F5-7908-E667C781B50C}"/>
          </ac:spMkLst>
        </pc:spChg>
        <pc:spChg chg="add del mod">
          <ac:chgData name="Oğuz Öztekin" userId="33c0df0f-d5fe-4bda-8f43-141ad7af67e3" providerId="ADAL" clId="{48B824AD-1B2A-47A8-8D92-6FE6E622A650}" dt="2024-12-16T18:04:32.115" v="144847"/>
          <ac:spMkLst>
            <pc:docMk/>
            <pc:sldMk cId="2155983508" sldId="290"/>
            <ac:spMk id="316" creationId="{6F10411D-E7E3-5D3E-6C10-3C36E19E36C2}"/>
          </ac:spMkLst>
        </pc:spChg>
        <pc:spChg chg="add del mod">
          <ac:chgData name="Oğuz Öztekin" userId="33c0df0f-d5fe-4bda-8f43-141ad7af67e3" providerId="ADAL" clId="{48B824AD-1B2A-47A8-8D92-6FE6E622A650}" dt="2024-12-16T18:04:32.116" v="144850"/>
          <ac:spMkLst>
            <pc:docMk/>
            <pc:sldMk cId="2155983508" sldId="290"/>
            <ac:spMk id="318" creationId="{36079CB8-B500-F823-A01F-BF493E077954}"/>
          </ac:spMkLst>
        </pc:spChg>
        <pc:spChg chg="mod">
          <ac:chgData name="Oğuz Öztekin" userId="33c0df0f-d5fe-4bda-8f43-141ad7af67e3" providerId="ADAL" clId="{48B824AD-1B2A-47A8-8D92-6FE6E622A650}" dt="2024-12-16T18:30:04.146" v="202487"/>
          <ac:spMkLst>
            <pc:docMk/>
            <pc:sldMk cId="2155983508" sldId="290"/>
            <ac:spMk id="319" creationId="{74AC8180-4EE8-303B-4188-A4D879B3F4F1}"/>
          </ac:spMkLst>
        </pc:spChg>
        <pc:spChg chg="add del mod">
          <ac:chgData name="Oğuz Öztekin" userId="33c0df0f-d5fe-4bda-8f43-141ad7af67e3" providerId="ADAL" clId="{48B824AD-1B2A-47A8-8D92-6FE6E622A650}" dt="2024-12-16T18:04:25.193" v="143793"/>
          <ac:spMkLst>
            <pc:docMk/>
            <pc:sldMk cId="2155983508" sldId="290"/>
            <ac:spMk id="320" creationId="{92F7C354-9532-23C7-6E4B-88654B9EE29B}"/>
          </ac:spMkLst>
        </pc:spChg>
        <pc:spChg chg="add del mod">
          <ac:chgData name="Oğuz Öztekin" userId="33c0df0f-d5fe-4bda-8f43-141ad7af67e3" providerId="ADAL" clId="{48B824AD-1B2A-47A8-8D92-6FE6E622A650}" dt="2024-12-16T18:04:25.193" v="143796"/>
          <ac:spMkLst>
            <pc:docMk/>
            <pc:sldMk cId="2155983508" sldId="290"/>
            <ac:spMk id="322" creationId="{0E873224-0CDB-1FEA-20A1-3FB972CA5EFA}"/>
          </ac:spMkLst>
        </pc:spChg>
        <pc:spChg chg="mod">
          <ac:chgData name="Oğuz Öztekin" userId="33c0df0f-d5fe-4bda-8f43-141ad7af67e3" providerId="ADAL" clId="{48B824AD-1B2A-47A8-8D92-6FE6E622A650}" dt="2024-12-16T18:30:04.144" v="202470"/>
          <ac:spMkLst>
            <pc:docMk/>
            <pc:sldMk cId="2155983508" sldId="290"/>
            <ac:spMk id="323" creationId="{7122C031-AF33-ACDA-81BC-E186AD55530A}"/>
          </ac:spMkLst>
        </pc:spChg>
        <pc:spChg chg="add del mod">
          <ac:chgData name="Oğuz Öztekin" userId="33c0df0f-d5fe-4bda-8f43-141ad7af67e3" providerId="ADAL" clId="{48B824AD-1B2A-47A8-8D92-6FE6E622A650}" dt="2024-12-16T18:04:25.196" v="143799"/>
          <ac:spMkLst>
            <pc:docMk/>
            <pc:sldMk cId="2155983508" sldId="290"/>
            <ac:spMk id="324" creationId="{15ED6C53-2F34-FFAF-C161-1FDBF0268C08}"/>
          </ac:spMkLst>
        </pc:spChg>
        <pc:spChg chg="add del mod">
          <ac:chgData name="Oğuz Öztekin" userId="33c0df0f-d5fe-4bda-8f43-141ad7af67e3" providerId="ADAL" clId="{48B824AD-1B2A-47A8-8D92-6FE6E622A650}" dt="2024-12-16T18:04:25.196" v="143802"/>
          <ac:spMkLst>
            <pc:docMk/>
            <pc:sldMk cId="2155983508" sldId="290"/>
            <ac:spMk id="325" creationId="{9EBAB92B-6B23-28A1-F106-38CB11BE4D5D}"/>
          </ac:spMkLst>
        </pc:spChg>
        <pc:spChg chg="mod">
          <ac:chgData name="Oğuz Öztekin" userId="33c0df0f-d5fe-4bda-8f43-141ad7af67e3" providerId="ADAL" clId="{48B824AD-1B2A-47A8-8D92-6FE6E622A650}" dt="2024-12-16T18:30:04.146" v="202471"/>
          <ac:spMkLst>
            <pc:docMk/>
            <pc:sldMk cId="2155983508" sldId="290"/>
            <ac:spMk id="326" creationId="{07845289-C7DD-7204-24E5-A8D9E471BE30}"/>
          </ac:spMkLst>
        </pc:spChg>
        <pc:spChg chg="add del mod">
          <ac:chgData name="Oğuz Öztekin" userId="33c0df0f-d5fe-4bda-8f43-141ad7af67e3" providerId="ADAL" clId="{48B824AD-1B2A-47A8-8D92-6FE6E622A650}" dt="2024-12-16T18:04:25.196" v="143805"/>
          <ac:spMkLst>
            <pc:docMk/>
            <pc:sldMk cId="2155983508" sldId="290"/>
            <ac:spMk id="327" creationId="{CE01E5DE-BD35-53DF-8100-234E666A14B4}"/>
          </ac:spMkLst>
        </pc:spChg>
        <pc:spChg chg="add del mod">
          <ac:chgData name="Oğuz Öztekin" userId="33c0df0f-d5fe-4bda-8f43-141ad7af67e3" providerId="ADAL" clId="{48B824AD-1B2A-47A8-8D92-6FE6E622A650}" dt="2024-12-16T18:04:17.795" v="142473"/>
          <ac:spMkLst>
            <pc:docMk/>
            <pc:sldMk cId="2155983508" sldId="290"/>
            <ac:spMk id="328" creationId="{3FF1F1BC-5936-9356-56A6-A6981B0A9A60}"/>
          </ac:spMkLst>
        </pc:spChg>
        <pc:spChg chg="mod">
          <ac:chgData name="Oğuz Öztekin" userId="33c0df0f-d5fe-4bda-8f43-141ad7af67e3" providerId="ADAL" clId="{48B824AD-1B2A-47A8-8D92-6FE6E622A650}" dt="2024-12-16T18:30:04.146" v="202472"/>
          <ac:spMkLst>
            <pc:docMk/>
            <pc:sldMk cId="2155983508" sldId="290"/>
            <ac:spMk id="329" creationId="{633DCB23-C7C2-F113-FEBE-BE48EAA08355}"/>
          </ac:spMkLst>
        </pc:spChg>
        <pc:spChg chg="add del mod">
          <ac:chgData name="Oğuz Öztekin" userId="33c0df0f-d5fe-4bda-8f43-141ad7af67e3" providerId="ADAL" clId="{48B824AD-1B2A-47A8-8D92-6FE6E622A650}" dt="2024-12-16T18:04:17.795" v="142476"/>
          <ac:spMkLst>
            <pc:docMk/>
            <pc:sldMk cId="2155983508" sldId="290"/>
            <ac:spMk id="330" creationId="{EF893D9B-EE75-9421-585D-D9ECE4EC5881}"/>
          </ac:spMkLst>
        </pc:spChg>
        <pc:spChg chg="add del mod">
          <ac:chgData name="Oğuz Öztekin" userId="33c0df0f-d5fe-4bda-8f43-141ad7af67e3" providerId="ADAL" clId="{48B824AD-1B2A-47A8-8D92-6FE6E622A650}" dt="2024-12-16T18:04:17.801" v="142479"/>
          <ac:spMkLst>
            <pc:docMk/>
            <pc:sldMk cId="2155983508" sldId="290"/>
            <ac:spMk id="331" creationId="{41EC8302-27E0-43ED-8AE2-916F56CA14A8}"/>
          </ac:spMkLst>
        </pc:spChg>
        <pc:spChg chg="mod">
          <ac:chgData name="Oğuz Öztekin" userId="33c0df0f-d5fe-4bda-8f43-141ad7af67e3" providerId="ADAL" clId="{48B824AD-1B2A-47A8-8D92-6FE6E622A650}" dt="2024-12-16T18:30:04.146" v="202473"/>
          <ac:spMkLst>
            <pc:docMk/>
            <pc:sldMk cId="2155983508" sldId="290"/>
            <ac:spMk id="332" creationId="{5E785367-2E39-C4F7-9866-215CAE64AE7B}"/>
          </ac:spMkLst>
        </pc:spChg>
        <pc:spChg chg="add del mod">
          <ac:chgData name="Oğuz Öztekin" userId="33c0df0f-d5fe-4bda-8f43-141ad7af67e3" providerId="ADAL" clId="{48B824AD-1B2A-47A8-8D92-6FE6E622A650}" dt="2024-12-16T18:04:17.802" v="142482"/>
          <ac:spMkLst>
            <pc:docMk/>
            <pc:sldMk cId="2155983508" sldId="290"/>
            <ac:spMk id="333" creationId="{D4958730-F3AB-F93B-4DF6-E92796BA7A96}"/>
          </ac:spMkLst>
        </pc:spChg>
        <pc:spChg chg="add del mod">
          <ac:chgData name="Oğuz Öztekin" userId="33c0df0f-d5fe-4bda-8f43-141ad7af67e3" providerId="ADAL" clId="{48B824AD-1B2A-47A8-8D92-6FE6E622A650}" dt="2024-12-16T18:04:17.802" v="142485"/>
          <ac:spMkLst>
            <pc:docMk/>
            <pc:sldMk cId="2155983508" sldId="290"/>
            <ac:spMk id="334" creationId="{C3F06C00-03B6-F59D-8C9A-923DF2A5404A}"/>
          </ac:spMkLst>
        </pc:spChg>
        <pc:spChg chg="mod">
          <ac:chgData name="Oğuz Öztekin" userId="33c0df0f-d5fe-4bda-8f43-141ad7af67e3" providerId="ADAL" clId="{48B824AD-1B2A-47A8-8D92-6FE6E622A650}" dt="2024-12-16T18:30:04.146" v="202474"/>
          <ac:spMkLst>
            <pc:docMk/>
            <pc:sldMk cId="2155983508" sldId="290"/>
            <ac:spMk id="335" creationId="{2C4463CD-CE12-6C5C-9C21-2909658BF27C}"/>
          </ac:spMkLst>
        </pc:spChg>
        <pc:spChg chg="add del mod">
          <ac:chgData name="Oğuz Öztekin" userId="33c0df0f-d5fe-4bda-8f43-141ad7af67e3" providerId="ADAL" clId="{48B824AD-1B2A-47A8-8D92-6FE6E622A650}" dt="2024-12-16T18:04:17.804" v="142488"/>
          <ac:spMkLst>
            <pc:docMk/>
            <pc:sldMk cId="2155983508" sldId="290"/>
            <ac:spMk id="336" creationId="{CCF427F8-2197-C2C9-A413-BBFC07E52E8F}"/>
          </ac:spMkLst>
        </pc:spChg>
        <pc:spChg chg="add del mod">
          <ac:chgData name="Oğuz Öztekin" userId="33c0df0f-d5fe-4bda-8f43-141ad7af67e3" providerId="ADAL" clId="{48B824AD-1B2A-47A8-8D92-6FE6E622A650}" dt="2024-12-16T18:04:17.804" v="142491"/>
          <ac:spMkLst>
            <pc:docMk/>
            <pc:sldMk cId="2155983508" sldId="290"/>
            <ac:spMk id="337" creationId="{BD6151AB-301C-B907-17FD-E0F7FB34F020}"/>
          </ac:spMkLst>
        </pc:spChg>
        <pc:spChg chg="add del mod">
          <ac:chgData name="Oğuz Öztekin" userId="33c0df0f-d5fe-4bda-8f43-141ad7af67e3" providerId="ADAL" clId="{48B824AD-1B2A-47A8-8D92-6FE6E622A650}" dt="2024-12-16T18:04:17.804" v="142494"/>
          <ac:spMkLst>
            <pc:docMk/>
            <pc:sldMk cId="2155983508" sldId="290"/>
            <ac:spMk id="338" creationId="{238389EB-E14D-3517-1B4D-EB516486646B}"/>
          </ac:spMkLst>
        </pc:spChg>
        <pc:spChg chg="add del mod">
          <ac:chgData name="Oğuz Öztekin" userId="33c0df0f-d5fe-4bda-8f43-141ad7af67e3" providerId="ADAL" clId="{48B824AD-1B2A-47A8-8D92-6FE6E622A650}" dt="2024-12-16T18:04:17.804" v="142497"/>
          <ac:spMkLst>
            <pc:docMk/>
            <pc:sldMk cId="2155983508" sldId="290"/>
            <ac:spMk id="339" creationId="{7CD2F338-39C0-72C6-94D7-E6C94C637D38}"/>
          </ac:spMkLst>
        </pc:spChg>
        <pc:spChg chg="add del mod">
          <ac:chgData name="Oğuz Öztekin" userId="33c0df0f-d5fe-4bda-8f43-141ad7af67e3" providerId="ADAL" clId="{48B824AD-1B2A-47A8-8D92-6FE6E622A650}" dt="2024-12-16T18:04:17.804" v="142500"/>
          <ac:spMkLst>
            <pc:docMk/>
            <pc:sldMk cId="2155983508" sldId="290"/>
            <ac:spMk id="340" creationId="{79D29FD2-6C71-CABD-FD80-D65144D17963}"/>
          </ac:spMkLst>
        </pc:spChg>
        <pc:spChg chg="add del mod">
          <ac:chgData name="Oğuz Öztekin" userId="33c0df0f-d5fe-4bda-8f43-141ad7af67e3" providerId="ADAL" clId="{48B824AD-1B2A-47A8-8D92-6FE6E622A650}" dt="2024-12-16T18:04:17.804" v="142503"/>
          <ac:spMkLst>
            <pc:docMk/>
            <pc:sldMk cId="2155983508" sldId="290"/>
            <ac:spMk id="341" creationId="{892447CB-E675-A583-75C8-286386F8BD2C}"/>
          </ac:spMkLst>
        </pc:spChg>
        <pc:spChg chg="add del mod">
          <ac:chgData name="Oğuz Öztekin" userId="33c0df0f-d5fe-4bda-8f43-141ad7af67e3" providerId="ADAL" clId="{48B824AD-1B2A-47A8-8D92-6FE6E622A650}" dt="2024-12-16T18:04:17.804" v="142506"/>
          <ac:spMkLst>
            <pc:docMk/>
            <pc:sldMk cId="2155983508" sldId="290"/>
            <ac:spMk id="342" creationId="{C995B5F9-0FF1-2BAF-1E90-A6A0CF098069}"/>
          </ac:spMkLst>
        </pc:spChg>
        <pc:spChg chg="add del mod">
          <ac:chgData name="Oğuz Öztekin" userId="33c0df0f-d5fe-4bda-8f43-141ad7af67e3" providerId="ADAL" clId="{48B824AD-1B2A-47A8-8D92-6FE6E622A650}" dt="2024-12-16T18:04:17.810" v="142509"/>
          <ac:spMkLst>
            <pc:docMk/>
            <pc:sldMk cId="2155983508" sldId="290"/>
            <ac:spMk id="343" creationId="{97311A6F-5619-E101-D967-9EC274B9A0B4}"/>
          </ac:spMkLst>
        </pc:spChg>
        <pc:spChg chg="add del mod">
          <ac:chgData name="Oğuz Öztekin" userId="33c0df0f-d5fe-4bda-8f43-141ad7af67e3" providerId="ADAL" clId="{48B824AD-1B2A-47A8-8D92-6FE6E622A650}" dt="2024-12-16T18:04:17.810" v="142512"/>
          <ac:spMkLst>
            <pc:docMk/>
            <pc:sldMk cId="2155983508" sldId="290"/>
            <ac:spMk id="344" creationId="{DFC63C53-DED4-6C97-7796-F71CD981160E}"/>
          </ac:spMkLst>
        </pc:spChg>
        <pc:spChg chg="add del mod">
          <ac:chgData name="Oğuz Öztekin" userId="33c0df0f-d5fe-4bda-8f43-141ad7af67e3" providerId="ADAL" clId="{48B824AD-1B2A-47A8-8D92-6FE6E622A650}" dt="2024-12-16T18:04:17.812" v="142515"/>
          <ac:spMkLst>
            <pc:docMk/>
            <pc:sldMk cId="2155983508" sldId="290"/>
            <ac:spMk id="345" creationId="{1801D1AA-A752-81BE-D754-78B8CD277F8D}"/>
          </ac:spMkLst>
        </pc:spChg>
        <pc:spChg chg="add del mod">
          <ac:chgData name="Oğuz Öztekin" userId="33c0df0f-d5fe-4bda-8f43-141ad7af67e3" providerId="ADAL" clId="{48B824AD-1B2A-47A8-8D92-6FE6E622A650}" dt="2024-12-16T18:04:17.812" v="142518"/>
          <ac:spMkLst>
            <pc:docMk/>
            <pc:sldMk cId="2155983508" sldId="290"/>
            <ac:spMk id="346" creationId="{45E90A3A-A4D8-53A9-6B4D-8578B97A547A}"/>
          </ac:spMkLst>
        </pc:spChg>
        <pc:spChg chg="add del mod">
          <ac:chgData name="Oğuz Öztekin" userId="33c0df0f-d5fe-4bda-8f43-141ad7af67e3" providerId="ADAL" clId="{48B824AD-1B2A-47A8-8D92-6FE6E622A650}" dt="2024-12-16T18:04:17.812" v="142521"/>
          <ac:spMkLst>
            <pc:docMk/>
            <pc:sldMk cId="2155983508" sldId="290"/>
            <ac:spMk id="347" creationId="{9BFE51E1-4599-F3E8-6AA2-B01E33A88774}"/>
          </ac:spMkLst>
        </pc:spChg>
        <pc:spChg chg="add del mod">
          <ac:chgData name="Oğuz Öztekin" userId="33c0df0f-d5fe-4bda-8f43-141ad7af67e3" providerId="ADAL" clId="{48B824AD-1B2A-47A8-8D92-6FE6E622A650}" dt="2024-12-16T18:04:17.812" v="142524"/>
          <ac:spMkLst>
            <pc:docMk/>
            <pc:sldMk cId="2155983508" sldId="290"/>
            <ac:spMk id="348" creationId="{3DAFB208-9A6E-BDE5-A279-232E4599036C}"/>
          </ac:spMkLst>
        </pc:spChg>
        <pc:spChg chg="add del mod">
          <ac:chgData name="Oğuz Öztekin" userId="33c0df0f-d5fe-4bda-8f43-141ad7af67e3" providerId="ADAL" clId="{48B824AD-1B2A-47A8-8D92-6FE6E622A650}" dt="2024-12-16T18:04:17.812" v="142527"/>
          <ac:spMkLst>
            <pc:docMk/>
            <pc:sldMk cId="2155983508" sldId="290"/>
            <ac:spMk id="349" creationId="{00AF6B7A-D7E3-7F79-4B36-1BF75FAE6130}"/>
          </ac:spMkLst>
        </pc:spChg>
        <pc:spChg chg="add del mod">
          <ac:chgData name="Oğuz Öztekin" userId="33c0df0f-d5fe-4bda-8f43-141ad7af67e3" providerId="ADAL" clId="{48B824AD-1B2A-47A8-8D92-6FE6E622A650}" dt="2024-12-16T18:04:17.812" v="142530"/>
          <ac:spMkLst>
            <pc:docMk/>
            <pc:sldMk cId="2155983508" sldId="290"/>
            <ac:spMk id="350" creationId="{41D28CB3-015D-A03F-7DF4-91BF40F9A958}"/>
          </ac:spMkLst>
        </pc:spChg>
        <pc:spChg chg="add del mod">
          <ac:chgData name="Oğuz Öztekin" userId="33c0df0f-d5fe-4bda-8f43-141ad7af67e3" providerId="ADAL" clId="{48B824AD-1B2A-47A8-8D92-6FE6E622A650}" dt="2024-12-16T18:04:10.260" v="140994"/>
          <ac:spMkLst>
            <pc:docMk/>
            <pc:sldMk cId="2155983508" sldId="290"/>
            <ac:spMk id="351" creationId="{734F4C44-73C4-1BDE-DC81-E0F126933A35}"/>
          </ac:spMkLst>
        </pc:spChg>
        <pc:spChg chg="add del mod">
          <ac:chgData name="Oğuz Öztekin" userId="33c0df0f-d5fe-4bda-8f43-141ad7af67e3" providerId="ADAL" clId="{48B824AD-1B2A-47A8-8D92-6FE6E622A650}" dt="2024-12-16T18:04:10.260" v="140997"/>
          <ac:spMkLst>
            <pc:docMk/>
            <pc:sldMk cId="2155983508" sldId="290"/>
            <ac:spMk id="352" creationId="{ECE0A253-7FD2-ED7E-0DC5-8614B4A0B419}"/>
          </ac:spMkLst>
        </pc:spChg>
        <pc:spChg chg="add del mod">
          <ac:chgData name="Oğuz Öztekin" userId="33c0df0f-d5fe-4bda-8f43-141ad7af67e3" providerId="ADAL" clId="{48B824AD-1B2A-47A8-8D92-6FE6E622A650}" dt="2024-12-16T18:04:10.263" v="141000"/>
          <ac:spMkLst>
            <pc:docMk/>
            <pc:sldMk cId="2155983508" sldId="290"/>
            <ac:spMk id="354" creationId="{BA95D106-0176-F086-763D-8DB8960351E7}"/>
          </ac:spMkLst>
        </pc:spChg>
        <pc:spChg chg="add del mod">
          <ac:chgData name="Oğuz Öztekin" userId="33c0df0f-d5fe-4bda-8f43-141ad7af67e3" providerId="ADAL" clId="{48B824AD-1B2A-47A8-8D92-6FE6E622A650}" dt="2024-12-16T18:04:10.263" v="141003"/>
          <ac:spMkLst>
            <pc:docMk/>
            <pc:sldMk cId="2155983508" sldId="290"/>
            <ac:spMk id="355" creationId="{65E289FA-5634-FAEE-E469-44A517DD1C10}"/>
          </ac:spMkLst>
        </pc:spChg>
        <pc:spChg chg="add del mod">
          <ac:chgData name="Oğuz Öztekin" userId="33c0df0f-d5fe-4bda-8f43-141ad7af67e3" providerId="ADAL" clId="{48B824AD-1B2A-47A8-8D92-6FE6E622A650}" dt="2024-12-16T18:04:10.263" v="141006"/>
          <ac:spMkLst>
            <pc:docMk/>
            <pc:sldMk cId="2155983508" sldId="290"/>
            <ac:spMk id="356" creationId="{71039D05-528C-FD84-F09E-F8F8D2D3911D}"/>
          </ac:spMkLst>
        </pc:spChg>
        <pc:spChg chg="add del mod">
          <ac:chgData name="Oğuz Öztekin" userId="33c0df0f-d5fe-4bda-8f43-141ad7af67e3" providerId="ADAL" clId="{48B824AD-1B2A-47A8-8D92-6FE6E622A650}" dt="2024-12-16T18:04:10.263" v="141009"/>
          <ac:spMkLst>
            <pc:docMk/>
            <pc:sldMk cId="2155983508" sldId="290"/>
            <ac:spMk id="357" creationId="{D78D85DD-250D-AFA4-0F34-6062A6360921}"/>
          </ac:spMkLst>
        </pc:spChg>
        <pc:spChg chg="add del mod">
          <ac:chgData name="Oğuz Öztekin" userId="33c0df0f-d5fe-4bda-8f43-141ad7af67e3" providerId="ADAL" clId="{48B824AD-1B2A-47A8-8D92-6FE6E622A650}" dt="2024-12-16T18:04:10.263" v="141012"/>
          <ac:spMkLst>
            <pc:docMk/>
            <pc:sldMk cId="2155983508" sldId="290"/>
            <ac:spMk id="358" creationId="{8AA25BE1-E6AD-E889-961D-ED703C132B5C}"/>
          </ac:spMkLst>
        </pc:spChg>
        <pc:spChg chg="add del mod">
          <ac:chgData name="Oğuz Öztekin" userId="33c0df0f-d5fe-4bda-8f43-141ad7af67e3" providerId="ADAL" clId="{48B824AD-1B2A-47A8-8D92-6FE6E622A650}" dt="2024-12-16T18:04:10.263" v="141015"/>
          <ac:spMkLst>
            <pc:docMk/>
            <pc:sldMk cId="2155983508" sldId="290"/>
            <ac:spMk id="359" creationId="{A2AA1030-3302-E056-4C03-DB29126B6CF2}"/>
          </ac:spMkLst>
        </pc:spChg>
        <pc:spChg chg="add del mod">
          <ac:chgData name="Oğuz Öztekin" userId="33c0df0f-d5fe-4bda-8f43-141ad7af67e3" providerId="ADAL" clId="{48B824AD-1B2A-47A8-8D92-6FE6E622A650}" dt="2024-12-16T18:04:10.269" v="141018"/>
          <ac:spMkLst>
            <pc:docMk/>
            <pc:sldMk cId="2155983508" sldId="290"/>
            <ac:spMk id="360" creationId="{A80B0504-EE1F-50F4-1AD5-A8C934992300}"/>
          </ac:spMkLst>
        </pc:spChg>
        <pc:spChg chg="add del mod">
          <ac:chgData name="Oğuz Öztekin" userId="33c0df0f-d5fe-4bda-8f43-141ad7af67e3" providerId="ADAL" clId="{48B824AD-1B2A-47A8-8D92-6FE6E622A650}" dt="2024-12-16T18:04:10.269" v="141021"/>
          <ac:spMkLst>
            <pc:docMk/>
            <pc:sldMk cId="2155983508" sldId="290"/>
            <ac:spMk id="361" creationId="{D1F8BD31-107B-E7E9-1CE9-31E0E12595C0}"/>
          </ac:spMkLst>
        </pc:spChg>
        <pc:spChg chg="add del mod">
          <ac:chgData name="Oğuz Öztekin" userId="33c0df0f-d5fe-4bda-8f43-141ad7af67e3" providerId="ADAL" clId="{48B824AD-1B2A-47A8-8D92-6FE6E622A650}" dt="2024-12-16T18:04:10.270" v="141024"/>
          <ac:spMkLst>
            <pc:docMk/>
            <pc:sldMk cId="2155983508" sldId="290"/>
            <ac:spMk id="362" creationId="{3DC80435-7A8A-0BB5-917F-6422355C1E8C}"/>
          </ac:spMkLst>
        </pc:spChg>
        <pc:spChg chg="add del mod">
          <ac:chgData name="Oğuz Öztekin" userId="33c0df0f-d5fe-4bda-8f43-141ad7af67e3" providerId="ADAL" clId="{48B824AD-1B2A-47A8-8D92-6FE6E622A650}" dt="2024-12-16T18:04:10.272" v="141027"/>
          <ac:spMkLst>
            <pc:docMk/>
            <pc:sldMk cId="2155983508" sldId="290"/>
            <ac:spMk id="363" creationId="{46B10CCB-FCAB-CEC5-95CC-D87DC919240A}"/>
          </ac:spMkLst>
        </pc:spChg>
        <pc:spChg chg="add del mod">
          <ac:chgData name="Oğuz Öztekin" userId="33c0df0f-d5fe-4bda-8f43-141ad7af67e3" providerId="ADAL" clId="{48B824AD-1B2A-47A8-8D92-6FE6E622A650}" dt="2024-12-16T18:04:10.273" v="141030"/>
          <ac:spMkLst>
            <pc:docMk/>
            <pc:sldMk cId="2155983508" sldId="290"/>
            <ac:spMk id="364" creationId="{E420E670-F6F8-8CCB-63B7-07F211583FFF}"/>
          </ac:spMkLst>
        </pc:spChg>
        <pc:spChg chg="add del mod">
          <ac:chgData name="Oğuz Öztekin" userId="33c0df0f-d5fe-4bda-8f43-141ad7af67e3" providerId="ADAL" clId="{48B824AD-1B2A-47A8-8D92-6FE6E622A650}" dt="2024-12-16T18:04:10.274" v="141033"/>
          <ac:spMkLst>
            <pc:docMk/>
            <pc:sldMk cId="2155983508" sldId="290"/>
            <ac:spMk id="365" creationId="{024920CA-2BD7-147A-65E9-C6269DCF69FF}"/>
          </ac:spMkLst>
        </pc:spChg>
        <pc:spChg chg="add del mod">
          <ac:chgData name="Oğuz Öztekin" userId="33c0df0f-d5fe-4bda-8f43-141ad7af67e3" providerId="ADAL" clId="{48B824AD-1B2A-47A8-8D92-6FE6E622A650}" dt="2024-12-16T18:04:10.274" v="141036"/>
          <ac:spMkLst>
            <pc:docMk/>
            <pc:sldMk cId="2155983508" sldId="290"/>
            <ac:spMk id="366" creationId="{835CD203-51E9-A87C-5356-1A19BF218308}"/>
          </ac:spMkLst>
        </pc:spChg>
        <pc:spChg chg="add del mod">
          <ac:chgData name="Oğuz Öztekin" userId="33c0df0f-d5fe-4bda-8f43-141ad7af67e3" providerId="ADAL" clId="{48B824AD-1B2A-47A8-8D92-6FE6E622A650}" dt="2024-12-16T18:04:10.274" v="141039"/>
          <ac:spMkLst>
            <pc:docMk/>
            <pc:sldMk cId="2155983508" sldId="290"/>
            <ac:spMk id="367" creationId="{35A4EB13-404C-6625-E41A-CD0D9C2D90FE}"/>
          </ac:spMkLst>
        </pc:spChg>
        <pc:spChg chg="add del mod">
          <ac:chgData name="Oğuz Öztekin" userId="33c0df0f-d5fe-4bda-8f43-141ad7af67e3" providerId="ADAL" clId="{48B824AD-1B2A-47A8-8D92-6FE6E622A650}" dt="2024-12-16T18:04:10.274" v="141042"/>
          <ac:spMkLst>
            <pc:docMk/>
            <pc:sldMk cId="2155983508" sldId="290"/>
            <ac:spMk id="368" creationId="{C78DF31D-23C5-C9F1-79EC-7373D1B60538}"/>
          </ac:spMkLst>
        </pc:spChg>
        <pc:spChg chg="add del mod">
          <ac:chgData name="Oğuz Öztekin" userId="33c0df0f-d5fe-4bda-8f43-141ad7af67e3" providerId="ADAL" clId="{48B824AD-1B2A-47A8-8D92-6FE6E622A650}" dt="2024-12-16T18:04:10.274" v="141045"/>
          <ac:spMkLst>
            <pc:docMk/>
            <pc:sldMk cId="2155983508" sldId="290"/>
            <ac:spMk id="369" creationId="{64F6EFE9-2A33-2F2D-5874-156EE6EB5E0D}"/>
          </ac:spMkLst>
        </pc:spChg>
        <pc:spChg chg="add del mod">
          <ac:chgData name="Oğuz Öztekin" userId="33c0df0f-d5fe-4bda-8f43-141ad7af67e3" providerId="ADAL" clId="{48B824AD-1B2A-47A8-8D92-6FE6E622A650}" dt="2024-12-16T18:04:10.274" v="141048"/>
          <ac:spMkLst>
            <pc:docMk/>
            <pc:sldMk cId="2155983508" sldId="290"/>
            <ac:spMk id="370" creationId="{E3A56C95-159C-947F-FF5F-362E53810C59}"/>
          </ac:spMkLst>
        </pc:spChg>
        <pc:spChg chg="add del mod">
          <ac:chgData name="Oğuz Öztekin" userId="33c0df0f-d5fe-4bda-8f43-141ad7af67e3" providerId="ADAL" clId="{48B824AD-1B2A-47A8-8D92-6FE6E622A650}" dt="2024-12-16T18:04:10.279" v="141051"/>
          <ac:spMkLst>
            <pc:docMk/>
            <pc:sldMk cId="2155983508" sldId="290"/>
            <ac:spMk id="371" creationId="{9DE96B29-5986-3485-9E1A-551095AA3E35}"/>
          </ac:spMkLst>
        </pc:spChg>
        <pc:spChg chg="add del mod">
          <ac:chgData name="Oğuz Öztekin" userId="33c0df0f-d5fe-4bda-8f43-141ad7af67e3" providerId="ADAL" clId="{48B824AD-1B2A-47A8-8D92-6FE6E622A650}" dt="2024-12-16T18:03:59.625" v="139315"/>
          <ac:spMkLst>
            <pc:docMk/>
            <pc:sldMk cId="2155983508" sldId="290"/>
            <ac:spMk id="372" creationId="{4F1D83C4-33A2-4B9D-A07B-BE3B228888D6}"/>
          </ac:spMkLst>
        </pc:spChg>
        <pc:spChg chg="add del mod">
          <ac:chgData name="Oğuz Öztekin" userId="33c0df0f-d5fe-4bda-8f43-141ad7af67e3" providerId="ADAL" clId="{48B824AD-1B2A-47A8-8D92-6FE6E622A650}" dt="2024-12-16T18:03:59.625" v="139318"/>
          <ac:spMkLst>
            <pc:docMk/>
            <pc:sldMk cId="2155983508" sldId="290"/>
            <ac:spMk id="373" creationId="{40E02409-9C7A-52ED-55E1-E0DFBDEC8D84}"/>
          </ac:spMkLst>
        </pc:spChg>
        <pc:spChg chg="add del mod">
          <ac:chgData name="Oğuz Öztekin" userId="33c0df0f-d5fe-4bda-8f43-141ad7af67e3" providerId="ADAL" clId="{48B824AD-1B2A-47A8-8D92-6FE6E622A650}" dt="2024-12-16T18:03:59.625" v="139321"/>
          <ac:spMkLst>
            <pc:docMk/>
            <pc:sldMk cId="2155983508" sldId="290"/>
            <ac:spMk id="374" creationId="{1E6B2C51-7576-61B1-CDA9-FA0A28E395B2}"/>
          </ac:spMkLst>
        </pc:spChg>
        <pc:spChg chg="add del mod">
          <ac:chgData name="Oğuz Öztekin" userId="33c0df0f-d5fe-4bda-8f43-141ad7af67e3" providerId="ADAL" clId="{48B824AD-1B2A-47A8-8D92-6FE6E622A650}" dt="2024-12-16T18:03:59.625" v="139324"/>
          <ac:spMkLst>
            <pc:docMk/>
            <pc:sldMk cId="2155983508" sldId="290"/>
            <ac:spMk id="375" creationId="{0A644A5B-B7FD-DF2A-83E7-E799133280C5}"/>
          </ac:spMkLst>
        </pc:spChg>
        <pc:spChg chg="add del mod">
          <ac:chgData name="Oğuz Öztekin" userId="33c0df0f-d5fe-4bda-8f43-141ad7af67e3" providerId="ADAL" clId="{48B824AD-1B2A-47A8-8D92-6FE6E622A650}" dt="2024-12-16T18:03:59.625" v="139327"/>
          <ac:spMkLst>
            <pc:docMk/>
            <pc:sldMk cId="2155983508" sldId="290"/>
            <ac:spMk id="376" creationId="{CED33E3D-347E-1A0D-77DB-2A66F84EB3A8}"/>
          </ac:spMkLst>
        </pc:spChg>
        <pc:spChg chg="add del mod">
          <ac:chgData name="Oğuz Öztekin" userId="33c0df0f-d5fe-4bda-8f43-141ad7af67e3" providerId="ADAL" clId="{48B824AD-1B2A-47A8-8D92-6FE6E622A650}" dt="2024-12-16T18:03:59.635" v="139330"/>
          <ac:spMkLst>
            <pc:docMk/>
            <pc:sldMk cId="2155983508" sldId="290"/>
            <ac:spMk id="377" creationId="{4E03F587-1937-D8BD-4D12-0E8C1EADDE26}"/>
          </ac:spMkLst>
        </pc:spChg>
        <pc:spChg chg="add del mod">
          <ac:chgData name="Oğuz Öztekin" userId="33c0df0f-d5fe-4bda-8f43-141ad7af67e3" providerId="ADAL" clId="{48B824AD-1B2A-47A8-8D92-6FE6E622A650}" dt="2024-12-16T18:03:59.635" v="139333"/>
          <ac:spMkLst>
            <pc:docMk/>
            <pc:sldMk cId="2155983508" sldId="290"/>
            <ac:spMk id="378" creationId="{65A31AED-D959-AB74-EE80-E7D4FC9E71A9}"/>
          </ac:spMkLst>
        </pc:spChg>
        <pc:spChg chg="add del mod">
          <ac:chgData name="Oğuz Öztekin" userId="33c0df0f-d5fe-4bda-8f43-141ad7af67e3" providerId="ADAL" clId="{48B824AD-1B2A-47A8-8D92-6FE6E622A650}" dt="2024-12-16T18:03:59.635" v="139336"/>
          <ac:spMkLst>
            <pc:docMk/>
            <pc:sldMk cId="2155983508" sldId="290"/>
            <ac:spMk id="379" creationId="{0CF0096A-AA8C-61E9-D66C-D3743306BC66}"/>
          </ac:spMkLst>
        </pc:spChg>
        <pc:spChg chg="add del mod">
          <ac:chgData name="Oğuz Öztekin" userId="33c0df0f-d5fe-4bda-8f43-141ad7af67e3" providerId="ADAL" clId="{48B824AD-1B2A-47A8-8D92-6FE6E622A650}" dt="2024-12-16T18:03:59.635" v="139339"/>
          <ac:spMkLst>
            <pc:docMk/>
            <pc:sldMk cId="2155983508" sldId="290"/>
            <ac:spMk id="380" creationId="{D92A925C-46A1-36AC-DA64-A5CEAF46D250}"/>
          </ac:spMkLst>
        </pc:spChg>
        <pc:spChg chg="add del mod">
          <ac:chgData name="Oğuz Öztekin" userId="33c0df0f-d5fe-4bda-8f43-141ad7af67e3" providerId="ADAL" clId="{48B824AD-1B2A-47A8-8D92-6FE6E622A650}" dt="2024-12-16T18:03:59.635" v="139342"/>
          <ac:spMkLst>
            <pc:docMk/>
            <pc:sldMk cId="2155983508" sldId="290"/>
            <ac:spMk id="381" creationId="{4BA12B7E-F006-AE8F-909B-849193A457BB}"/>
          </ac:spMkLst>
        </pc:spChg>
        <pc:spChg chg="add del mod">
          <ac:chgData name="Oğuz Öztekin" userId="33c0df0f-d5fe-4bda-8f43-141ad7af67e3" providerId="ADAL" clId="{48B824AD-1B2A-47A8-8D92-6FE6E622A650}" dt="2024-12-16T18:03:59.635" v="139345"/>
          <ac:spMkLst>
            <pc:docMk/>
            <pc:sldMk cId="2155983508" sldId="290"/>
            <ac:spMk id="382" creationId="{CF1AF43D-AECC-2010-AF5F-CE0254E2AA76}"/>
          </ac:spMkLst>
        </pc:spChg>
        <pc:spChg chg="add del mod">
          <ac:chgData name="Oğuz Öztekin" userId="33c0df0f-d5fe-4bda-8f43-141ad7af67e3" providerId="ADAL" clId="{48B824AD-1B2A-47A8-8D92-6FE6E622A650}" dt="2024-12-16T18:03:59.635" v="139348"/>
          <ac:spMkLst>
            <pc:docMk/>
            <pc:sldMk cId="2155983508" sldId="290"/>
            <ac:spMk id="383" creationId="{9F568683-6399-10FB-3E3F-61D2BB358CA8}"/>
          </ac:spMkLst>
        </pc:spChg>
        <pc:spChg chg="add del mod">
          <ac:chgData name="Oğuz Öztekin" userId="33c0df0f-d5fe-4bda-8f43-141ad7af67e3" providerId="ADAL" clId="{48B824AD-1B2A-47A8-8D92-6FE6E622A650}" dt="2024-12-16T18:03:59.641" v="139351"/>
          <ac:spMkLst>
            <pc:docMk/>
            <pc:sldMk cId="2155983508" sldId="290"/>
            <ac:spMk id="384" creationId="{3E739A3C-0DE1-930E-22AF-98A7FAF67429}"/>
          </ac:spMkLst>
        </pc:spChg>
        <pc:spChg chg="add del mod">
          <ac:chgData name="Oğuz Öztekin" userId="33c0df0f-d5fe-4bda-8f43-141ad7af67e3" providerId="ADAL" clId="{48B824AD-1B2A-47A8-8D92-6FE6E622A650}" dt="2024-12-16T18:03:59.641" v="139354"/>
          <ac:spMkLst>
            <pc:docMk/>
            <pc:sldMk cId="2155983508" sldId="290"/>
            <ac:spMk id="385" creationId="{183D46D0-4EFC-6DE9-01DB-AB2598B75A52}"/>
          </ac:spMkLst>
        </pc:spChg>
        <pc:spChg chg="add del mod">
          <ac:chgData name="Oğuz Öztekin" userId="33c0df0f-d5fe-4bda-8f43-141ad7af67e3" providerId="ADAL" clId="{48B824AD-1B2A-47A8-8D92-6FE6E622A650}" dt="2024-12-16T18:03:59.641" v="139357"/>
          <ac:spMkLst>
            <pc:docMk/>
            <pc:sldMk cId="2155983508" sldId="290"/>
            <ac:spMk id="386" creationId="{178601EE-253E-FE90-963C-E0CE9657647B}"/>
          </ac:spMkLst>
        </pc:spChg>
        <pc:spChg chg="add del mod">
          <ac:chgData name="Oğuz Öztekin" userId="33c0df0f-d5fe-4bda-8f43-141ad7af67e3" providerId="ADAL" clId="{48B824AD-1B2A-47A8-8D92-6FE6E622A650}" dt="2024-12-16T18:03:59.641" v="139360"/>
          <ac:spMkLst>
            <pc:docMk/>
            <pc:sldMk cId="2155983508" sldId="290"/>
            <ac:spMk id="387" creationId="{76C1862F-3ABC-5A23-A939-6F22E2CFFFC8}"/>
          </ac:spMkLst>
        </pc:spChg>
        <pc:spChg chg="add del mod">
          <ac:chgData name="Oğuz Öztekin" userId="33c0df0f-d5fe-4bda-8f43-141ad7af67e3" providerId="ADAL" clId="{48B824AD-1B2A-47A8-8D92-6FE6E622A650}" dt="2024-12-16T18:03:59.641" v="139363"/>
          <ac:spMkLst>
            <pc:docMk/>
            <pc:sldMk cId="2155983508" sldId="290"/>
            <ac:spMk id="388" creationId="{C16B286A-F36C-B588-447F-86C35D08BBA4}"/>
          </ac:spMkLst>
        </pc:spChg>
        <pc:spChg chg="add del mod">
          <ac:chgData name="Oğuz Öztekin" userId="33c0df0f-d5fe-4bda-8f43-141ad7af67e3" providerId="ADAL" clId="{48B824AD-1B2A-47A8-8D92-6FE6E622A650}" dt="2024-12-16T18:03:59.641" v="139366"/>
          <ac:spMkLst>
            <pc:docMk/>
            <pc:sldMk cId="2155983508" sldId="290"/>
            <ac:spMk id="389" creationId="{4F4A71A9-1410-4D18-708D-A460525FFB55}"/>
          </ac:spMkLst>
        </pc:spChg>
        <pc:spChg chg="add del mod">
          <ac:chgData name="Oğuz Öztekin" userId="33c0df0f-d5fe-4bda-8f43-141ad7af67e3" providerId="ADAL" clId="{48B824AD-1B2A-47A8-8D92-6FE6E622A650}" dt="2024-12-16T18:03:59.646" v="139369"/>
          <ac:spMkLst>
            <pc:docMk/>
            <pc:sldMk cId="2155983508" sldId="290"/>
            <ac:spMk id="390" creationId="{95BB268B-352E-5D0C-A1D3-ECF51F1D5F91}"/>
          </ac:spMkLst>
        </pc:spChg>
        <pc:spChg chg="add del mod">
          <ac:chgData name="Oğuz Öztekin" userId="33c0df0f-d5fe-4bda-8f43-141ad7af67e3" providerId="ADAL" clId="{48B824AD-1B2A-47A8-8D92-6FE6E622A650}" dt="2024-12-16T18:03:59.646" v="139372"/>
          <ac:spMkLst>
            <pc:docMk/>
            <pc:sldMk cId="2155983508" sldId="290"/>
            <ac:spMk id="391" creationId="{6D1D1683-F1E5-EB19-1333-4E2BC8496A7F}"/>
          </ac:spMkLst>
        </pc:spChg>
        <pc:spChg chg="add del mod">
          <ac:chgData name="Oğuz Öztekin" userId="33c0df0f-d5fe-4bda-8f43-141ad7af67e3" providerId="ADAL" clId="{48B824AD-1B2A-47A8-8D92-6FE6E622A650}" dt="2024-12-16T18:03:46.820" v="137432"/>
          <ac:spMkLst>
            <pc:docMk/>
            <pc:sldMk cId="2155983508" sldId="290"/>
            <ac:spMk id="392" creationId="{B22AC686-E4FF-A0A7-B1A4-D31A8FE70A8A}"/>
          </ac:spMkLst>
        </pc:spChg>
        <pc:spChg chg="add del mod">
          <ac:chgData name="Oğuz Öztekin" userId="33c0df0f-d5fe-4bda-8f43-141ad7af67e3" providerId="ADAL" clId="{48B824AD-1B2A-47A8-8D92-6FE6E622A650}" dt="2024-12-16T18:03:46.820" v="137435"/>
          <ac:spMkLst>
            <pc:docMk/>
            <pc:sldMk cId="2155983508" sldId="290"/>
            <ac:spMk id="393" creationId="{52E2564B-CF6D-4B40-C007-4A0565669254}"/>
          </ac:spMkLst>
        </pc:spChg>
        <pc:spChg chg="add del mod">
          <ac:chgData name="Oğuz Öztekin" userId="33c0df0f-d5fe-4bda-8f43-141ad7af67e3" providerId="ADAL" clId="{48B824AD-1B2A-47A8-8D92-6FE6E622A650}" dt="2024-12-16T18:03:46.821" v="137438"/>
          <ac:spMkLst>
            <pc:docMk/>
            <pc:sldMk cId="2155983508" sldId="290"/>
            <ac:spMk id="394" creationId="{40EC0071-3777-F776-452A-EEF331C413DB}"/>
          </ac:spMkLst>
        </pc:spChg>
        <pc:spChg chg="add del mod">
          <ac:chgData name="Oğuz Öztekin" userId="33c0df0f-d5fe-4bda-8f43-141ad7af67e3" providerId="ADAL" clId="{48B824AD-1B2A-47A8-8D92-6FE6E622A650}" dt="2024-12-16T18:03:46.822" v="137441"/>
          <ac:spMkLst>
            <pc:docMk/>
            <pc:sldMk cId="2155983508" sldId="290"/>
            <ac:spMk id="395" creationId="{71CE559A-E55E-622C-338E-2AB676D8A2F4}"/>
          </ac:spMkLst>
        </pc:spChg>
        <pc:spChg chg="add del mod">
          <ac:chgData name="Oğuz Öztekin" userId="33c0df0f-d5fe-4bda-8f43-141ad7af67e3" providerId="ADAL" clId="{48B824AD-1B2A-47A8-8D92-6FE6E622A650}" dt="2024-12-16T18:03:46.823" v="137444"/>
          <ac:spMkLst>
            <pc:docMk/>
            <pc:sldMk cId="2155983508" sldId="290"/>
            <ac:spMk id="396" creationId="{5DBA465E-F6EC-88B9-5EC5-528E7430CF75}"/>
          </ac:spMkLst>
        </pc:spChg>
        <pc:spChg chg="add del mod">
          <ac:chgData name="Oğuz Öztekin" userId="33c0df0f-d5fe-4bda-8f43-141ad7af67e3" providerId="ADAL" clId="{48B824AD-1B2A-47A8-8D92-6FE6E622A650}" dt="2024-12-16T18:03:46.825" v="137447"/>
          <ac:spMkLst>
            <pc:docMk/>
            <pc:sldMk cId="2155983508" sldId="290"/>
            <ac:spMk id="397" creationId="{668CB48D-5A0D-583D-1F7B-E5B7F50AB8FB}"/>
          </ac:spMkLst>
        </pc:spChg>
        <pc:spChg chg="add del mod">
          <ac:chgData name="Oğuz Öztekin" userId="33c0df0f-d5fe-4bda-8f43-141ad7af67e3" providerId="ADAL" clId="{48B824AD-1B2A-47A8-8D92-6FE6E622A650}" dt="2024-12-16T18:03:46.826" v="137450"/>
          <ac:spMkLst>
            <pc:docMk/>
            <pc:sldMk cId="2155983508" sldId="290"/>
            <ac:spMk id="398" creationId="{DB6A3671-C1DC-170C-CC5C-6BE7557AF454}"/>
          </ac:spMkLst>
        </pc:spChg>
        <pc:spChg chg="add del mod">
          <ac:chgData name="Oğuz Öztekin" userId="33c0df0f-d5fe-4bda-8f43-141ad7af67e3" providerId="ADAL" clId="{48B824AD-1B2A-47A8-8D92-6FE6E622A650}" dt="2024-12-16T18:03:46.826" v="137453"/>
          <ac:spMkLst>
            <pc:docMk/>
            <pc:sldMk cId="2155983508" sldId="290"/>
            <ac:spMk id="399" creationId="{91D63B24-418F-B301-91FE-59961EFD4163}"/>
          </ac:spMkLst>
        </pc:spChg>
        <pc:spChg chg="add del mod">
          <ac:chgData name="Oğuz Öztekin" userId="33c0df0f-d5fe-4bda-8f43-141ad7af67e3" providerId="ADAL" clId="{48B824AD-1B2A-47A8-8D92-6FE6E622A650}" dt="2024-12-16T18:03:46.827" v="137456"/>
          <ac:spMkLst>
            <pc:docMk/>
            <pc:sldMk cId="2155983508" sldId="290"/>
            <ac:spMk id="400" creationId="{E677CADA-F8E1-3547-695D-F70C87ADC049}"/>
          </ac:spMkLst>
        </pc:spChg>
        <pc:spChg chg="add del mod">
          <ac:chgData name="Oğuz Öztekin" userId="33c0df0f-d5fe-4bda-8f43-141ad7af67e3" providerId="ADAL" clId="{48B824AD-1B2A-47A8-8D92-6FE6E622A650}" dt="2024-12-16T18:03:46.828" v="137459"/>
          <ac:spMkLst>
            <pc:docMk/>
            <pc:sldMk cId="2155983508" sldId="290"/>
            <ac:spMk id="401" creationId="{9E90F484-C74B-36E5-0889-D467F2DAE055}"/>
          </ac:spMkLst>
        </pc:spChg>
        <pc:spChg chg="add del mod">
          <ac:chgData name="Oğuz Öztekin" userId="33c0df0f-d5fe-4bda-8f43-141ad7af67e3" providerId="ADAL" clId="{48B824AD-1B2A-47A8-8D92-6FE6E622A650}" dt="2024-12-16T18:03:46.829" v="137462"/>
          <ac:spMkLst>
            <pc:docMk/>
            <pc:sldMk cId="2155983508" sldId="290"/>
            <ac:spMk id="402" creationId="{B5A0A808-9238-C09E-994E-85EB18D85AC1}"/>
          </ac:spMkLst>
        </pc:spChg>
        <pc:spChg chg="add del mod">
          <ac:chgData name="Oğuz Öztekin" userId="33c0df0f-d5fe-4bda-8f43-141ad7af67e3" providerId="ADAL" clId="{48B824AD-1B2A-47A8-8D92-6FE6E622A650}" dt="2024-12-16T18:03:46.831" v="137465"/>
          <ac:spMkLst>
            <pc:docMk/>
            <pc:sldMk cId="2155983508" sldId="290"/>
            <ac:spMk id="403" creationId="{2CE2F764-0305-CA43-FF21-7EB987B6A108}"/>
          </ac:spMkLst>
        </pc:spChg>
        <pc:spChg chg="add del mod">
          <ac:chgData name="Oğuz Öztekin" userId="33c0df0f-d5fe-4bda-8f43-141ad7af67e3" providerId="ADAL" clId="{48B824AD-1B2A-47A8-8D92-6FE6E622A650}" dt="2024-12-16T18:03:46.831" v="137468"/>
          <ac:spMkLst>
            <pc:docMk/>
            <pc:sldMk cId="2155983508" sldId="290"/>
            <ac:spMk id="404" creationId="{B50C29C0-78A8-F12F-B053-5043834398CA}"/>
          </ac:spMkLst>
        </pc:spChg>
        <pc:spChg chg="add del mod">
          <ac:chgData name="Oğuz Öztekin" userId="33c0df0f-d5fe-4bda-8f43-141ad7af67e3" providerId="ADAL" clId="{48B824AD-1B2A-47A8-8D92-6FE6E622A650}" dt="2024-12-16T18:03:46.832" v="137471"/>
          <ac:spMkLst>
            <pc:docMk/>
            <pc:sldMk cId="2155983508" sldId="290"/>
            <ac:spMk id="405" creationId="{7F77C0F2-D348-D514-B534-08D66A3B2135}"/>
          </ac:spMkLst>
        </pc:spChg>
        <pc:spChg chg="add del mod">
          <ac:chgData name="Oğuz Öztekin" userId="33c0df0f-d5fe-4bda-8f43-141ad7af67e3" providerId="ADAL" clId="{48B824AD-1B2A-47A8-8D92-6FE6E622A650}" dt="2024-12-16T18:03:46.833" v="137474"/>
          <ac:spMkLst>
            <pc:docMk/>
            <pc:sldMk cId="2155983508" sldId="290"/>
            <ac:spMk id="406" creationId="{4FEAC8B1-0E83-5DFB-BEB5-62AB02A1DBA7}"/>
          </ac:spMkLst>
        </pc:spChg>
        <pc:spChg chg="add del mod">
          <ac:chgData name="Oğuz Öztekin" userId="33c0df0f-d5fe-4bda-8f43-141ad7af67e3" providerId="ADAL" clId="{48B824AD-1B2A-47A8-8D92-6FE6E622A650}" dt="2024-12-16T18:03:46.834" v="137477"/>
          <ac:spMkLst>
            <pc:docMk/>
            <pc:sldMk cId="2155983508" sldId="290"/>
            <ac:spMk id="407" creationId="{E5A72A6D-5688-E6C2-1FA6-E6338D518B51}"/>
          </ac:spMkLst>
        </pc:spChg>
        <pc:spChg chg="add del mod">
          <ac:chgData name="Oğuz Öztekin" userId="33c0df0f-d5fe-4bda-8f43-141ad7af67e3" providerId="ADAL" clId="{48B824AD-1B2A-47A8-8D92-6FE6E622A650}" dt="2024-12-16T18:03:46.835" v="137480"/>
          <ac:spMkLst>
            <pc:docMk/>
            <pc:sldMk cId="2155983508" sldId="290"/>
            <ac:spMk id="408" creationId="{1A978B27-1D9E-7C13-E16F-6E8B59623FF5}"/>
          </ac:spMkLst>
        </pc:spChg>
        <pc:spChg chg="add del mod">
          <ac:chgData name="Oğuz Öztekin" userId="33c0df0f-d5fe-4bda-8f43-141ad7af67e3" providerId="ADAL" clId="{48B824AD-1B2A-47A8-8D92-6FE6E622A650}" dt="2024-12-16T18:03:46.835" v="137483"/>
          <ac:spMkLst>
            <pc:docMk/>
            <pc:sldMk cId="2155983508" sldId="290"/>
            <ac:spMk id="409" creationId="{3500AFE0-15B6-0643-B42A-BE8CE6748331}"/>
          </ac:spMkLst>
        </pc:spChg>
        <pc:spChg chg="add del mod">
          <ac:chgData name="Oğuz Öztekin" userId="33c0df0f-d5fe-4bda-8f43-141ad7af67e3" providerId="ADAL" clId="{48B824AD-1B2A-47A8-8D92-6FE6E622A650}" dt="2024-12-16T18:03:46.836" v="137486"/>
          <ac:spMkLst>
            <pc:docMk/>
            <pc:sldMk cId="2155983508" sldId="290"/>
            <ac:spMk id="410" creationId="{8745E697-B0BA-BC8C-A2CC-EFE0427B67CE}"/>
          </ac:spMkLst>
        </pc:spChg>
        <pc:spChg chg="add del mod">
          <ac:chgData name="Oğuz Öztekin" userId="33c0df0f-d5fe-4bda-8f43-141ad7af67e3" providerId="ADAL" clId="{48B824AD-1B2A-47A8-8D92-6FE6E622A650}" dt="2024-12-16T18:03:46.837" v="137489"/>
          <ac:spMkLst>
            <pc:docMk/>
            <pc:sldMk cId="2155983508" sldId="290"/>
            <ac:spMk id="411" creationId="{49BB862E-A72A-15DD-DB0F-879CE9532CD9}"/>
          </ac:spMkLst>
        </pc:spChg>
        <pc:spChg chg="add del mod modVis">
          <ac:chgData name="Oğuz Öztekin" userId="33c0df0f-d5fe-4bda-8f43-141ad7af67e3" providerId="ADAL" clId="{48B824AD-1B2A-47A8-8D92-6FE6E622A650}" dt="2024-12-16T18:03:42.728" v="137427"/>
          <ac:spMkLst>
            <pc:docMk/>
            <pc:sldMk cId="2155983508" sldId="290"/>
            <ac:spMk id="412" creationId="{2BAB65F5-B9A1-D211-BF4C-CB1396D5506E}"/>
          </ac:spMkLst>
        </pc:spChg>
        <pc:spChg chg="add del mod modVis">
          <ac:chgData name="Oğuz Öztekin" userId="33c0df0f-d5fe-4bda-8f43-141ad7af67e3" providerId="ADAL" clId="{48B824AD-1B2A-47A8-8D92-6FE6E622A650}" dt="2024-12-16T18:03:47.551" v="139310"/>
          <ac:spMkLst>
            <pc:docMk/>
            <pc:sldMk cId="2155983508" sldId="290"/>
            <ac:spMk id="603" creationId="{B5D60794-86E0-5C04-CCF5-E63ECBCCC8AE}"/>
          </ac:spMkLst>
        </pc:spChg>
        <pc:spChg chg="add del mod modVis">
          <ac:chgData name="Oğuz Öztekin" userId="33c0df0f-d5fe-4bda-8f43-141ad7af67e3" providerId="ADAL" clId="{48B824AD-1B2A-47A8-8D92-6FE6E622A650}" dt="2024-12-16T18:04:00.275" v="140989"/>
          <ac:spMkLst>
            <pc:docMk/>
            <pc:sldMk cId="2155983508" sldId="290"/>
            <ac:spMk id="605" creationId="{12939913-EAAA-D9CF-54B5-E24C9CDAA2A9}"/>
          </ac:spMkLst>
        </pc:spChg>
        <pc:spChg chg="add del mod modVis">
          <ac:chgData name="Oğuz Öztekin" userId="33c0df0f-d5fe-4bda-8f43-141ad7af67e3" providerId="ADAL" clId="{48B824AD-1B2A-47A8-8D92-6FE6E622A650}" dt="2024-12-16T18:04:10.831" v="142468"/>
          <ac:spMkLst>
            <pc:docMk/>
            <pc:sldMk cId="2155983508" sldId="290"/>
            <ac:spMk id="607" creationId="{0A680184-FBA3-BB09-D6E0-FD616AC9ACDA}"/>
          </ac:spMkLst>
        </pc:spChg>
        <pc:spChg chg="add del mod modVis">
          <ac:chgData name="Oğuz Öztekin" userId="33c0df0f-d5fe-4bda-8f43-141ad7af67e3" providerId="ADAL" clId="{48B824AD-1B2A-47A8-8D92-6FE6E622A650}" dt="2024-12-16T18:04:18.283" v="143743"/>
          <ac:spMkLst>
            <pc:docMk/>
            <pc:sldMk cId="2155983508" sldId="290"/>
            <ac:spMk id="609" creationId="{8F004C7D-92A3-502E-300B-85FE3E131BE6}"/>
          </ac:spMkLst>
        </pc:spChg>
        <pc:spChg chg="add del mod modVis">
          <ac:chgData name="Oğuz Öztekin" userId="33c0df0f-d5fe-4bda-8f43-141ad7af67e3" providerId="ADAL" clId="{48B824AD-1B2A-47A8-8D92-6FE6E622A650}" dt="2024-12-16T18:04:25.566" v="144818"/>
          <ac:spMkLst>
            <pc:docMk/>
            <pc:sldMk cId="2155983508" sldId="290"/>
            <ac:spMk id="611" creationId="{98B662D5-6D84-DED2-8505-4F39F085BCB6}"/>
          </ac:spMkLst>
        </pc:spChg>
        <pc:spChg chg="add del mod modVis">
          <ac:chgData name="Oğuz Öztekin" userId="33c0df0f-d5fe-4bda-8f43-141ad7af67e3" providerId="ADAL" clId="{48B824AD-1B2A-47A8-8D92-6FE6E622A650}" dt="2024-12-16T18:04:32.418" v="145693"/>
          <ac:spMkLst>
            <pc:docMk/>
            <pc:sldMk cId="2155983508" sldId="290"/>
            <ac:spMk id="613" creationId="{DA6936CA-995A-10F4-A6EE-D6E406B2B055}"/>
          </ac:spMkLst>
        </pc:spChg>
        <pc:spChg chg="add del mod modVis">
          <ac:chgData name="Oğuz Öztekin" userId="33c0df0f-d5fe-4bda-8f43-141ad7af67e3" providerId="ADAL" clId="{48B824AD-1B2A-47A8-8D92-6FE6E622A650}" dt="2024-12-16T18:04:39.884" v="146368"/>
          <ac:spMkLst>
            <pc:docMk/>
            <pc:sldMk cId="2155983508" sldId="290"/>
            <ac:spMk id="615" creationId="{689FCBD2-DDF5-5A76-2FC2-97A50856BB9D}"/>
          </ac:spMkLst>
        </pc:spChg>
        <pc:spChg chg="add del mod modVis">
          <ac:chgData name="Oğuz Öztekin" userId="33c0df0f-d5fe-4bda-8f43-141ad7af67e3" providerId="ADAL" clId="{48B824AD-1B2A-47A8-8D92-6FE6E622A650}" dt="2024-12-16T18:04:46.908" v="146879"/>
          <ac:spMkLst>
            <pc:docMk/>
            <pc:sldMk cId="2155983508" sldId="290"/>
            <ac:spMk id="617" creationId="{58790D27-C77C-3D8C-A355-35C4CDEEEE3B}"/>
          </ac:spMkLst>
        </pc:spChg>
        <pc:spChg chg="add del mod modVis">
          <ac:chgData name="Oğuz Öztekin" userId="33c0df0f-d5fe-4bda-8f43-141ad7af67e3" providerId="ADAL" clId="{48B824AD-1B2A-47A8-8D92-6FE6E622A650}" dt="2024-12-16T18:04:52.746" v="147146"/>
          <ac:spMkLst>
            <pc:docMk/>
            <pc:sldMk cId="2155983508" sldId="290"/>
            <ac:spMk id="619" creationId="{1B589264-DEAC-A052-19D6-F6158CDB5C66}"/>
          </ac:spMkLst>
        </pc:spChg>
        <pc:spChg chg="add mod">
          <ac:chgData name="Oğuz Öztekin" userId="33c0df0f-d5fe-4bda-8f43-141ad7af67e3" providerId="ADAL" clId="{48B824AD-1B2A-47A8-8D92-6FE6E622A650}" dt="2024-12-16T18:30:04.143" v="202462"/>
          <ac:spMkLst>
            <pc:docMk/>
            <pc:sldMk cId="2155983508" sldId="290"/>
            <ac:spMk id="621" creationId="{190726FD-F4A3-9448-F7F5-421E687D5AB6}"/>
          </ac:spMkLst>
        </pc:spChg>
        <pc:spChg chg="add del mod modVis">
          <ac:chgData name="Oğuz Öztekin" userId="33c0df0f-d5fe-4bda-8f43-141ad7af67e3" providerId="ADAL" clId="{48B824AD-1B2A-47A8-8D92-6FE6E622A650}" dt="2024-12-16T18:05:13.291" v="147297"/>
          <ac:spMkLst>
            <pc:docMk/>
            <pc:sldMk cId="2155983508" sldId="290"/>
            <ac:spMk id="622" creationId="{0DC7880A-85EC-0FDC-E8EC-849CF42EA9D3}"/>
          </ac:spMkLst>
        </pc:spChg>
        <pc:spChg chg="add mod">
          <ac:chgData name="Oğuz Öztekin" userId="33c0df0f-d5fe-4bda-8f43-141ad7af67e3" providerId="ADAL" clId="{48B824AD-1B2A-47A8-8D92-6FE6E622A650}" dt="2024-12-16T18:30:04.146" v="202475"/>
          <ac:spMkLst>
            <pc:docMk/>
            <pc:sldMk cId="2155983508" sldId="290"/>
            <ac:spMk id="624" creationId="{1005815B-680C-363A-640A-6D16D3701D57}"/>
          </ac:spMkLst>
        </pc:spChg>
        <pc:spChg chg="add del mod modVis">
          <ac:chgData name="Oğuz Öztekin" userId="33c0df0f-d5fe-4bda-8f43-141ad7af67e3" providerId="ADAL" clId="{48B824AD-1B2A-47A8-8D92-6FE6E622A650}" dt="2024-12-16T18:16:10.397" v="176919"/>
          <ac:spMkLst>
            <pc:docMk/>
            <pc:sldMk cId="2155983508" sldId="290"/>
            <ac:spMk id="625" creationId="{1B98837E-230B-AE0B-F41D-BE456DE57761}"/>
          </ac:spMkLst>
        </pc:spChg>
        <pc:spChg chg="add mod">
          <ac:chgData name="Oğuz Öztekin" userId="33c0df0f-d5fe-4bda-8f43-141ad7af67e3" providerId="ADAL" clId="{48B824AD-1B2A-47A8-8D92-6FE6E622A650}" dt="2024-12-16T18:30:04.146" v="202477"/>
          <ac:spMkLst>
            <pc:docMk/>
            <pc:sldMk cId="2155983508" sldId="290"/>
            <ac:spMk id="628" creationId="{842C1910-66D0-82B7-E12E-AC13B167C43D}"/>
          </ac:spMkLst>
        </pc:spChg>
        <pc:spChg chg="add del mod modVis">
          <ac:chgData name="Oğuz Öztekin" userId="33c0df0f-d5fe-4bda-8f43-141ad7af67e3" providerId="ADAL" clId="{48B824AD-1B2A-47A8-8D92-6FE6E622A650}" dt="2024-12-16T18:16:18.220" v="177158"/>
          <ac:spMkLst>
            <pc:docMk/>
            <pc:sldMk cId="2155983508" sldId="290"/>
            <ac:spMk id="629" creationId="{49531615-1AA4-D37A-8CD9-DAB4F325ECF8}"/>
          </ac:spMkLst>
        </pc:spChg>
        <pc:spChg chg="add mod">
          <ac:chgData name="Oğuz Öztekin" userId="33c0df0f-d5fe-4bda-8f43-141ad7af67e3" providerId="ADAL" clId="{48B824AD-1B2A-47A8-8D92-6FE6E622A650}" dt="2024-12-16T18:30:04.146" v="202480"/>
          <ac:spMkLst>
            <pc:docMk/>
            <pc:sldMk cId="2155983508" sldId="290"/>
            <ac:spMk id="633" creationId="{212B55EE-32FC-201B-217B-A1FD8084D75D}"/>
          </ac:spMkLst>
        </pc:spChg>
        <pc:spChg chg="add del mod modVis">
          <ac:chgData name="Oğuz Öztekin" userId="33c0df0f-d5fe-4bda-8f43-141ad7af67e3" providerId="ADAL" clId="{48B824AD-1B2A-47A8-8D92-6FE6E622A650}" dt="2024-12-16T18:16:20.823" v="177421"/>
          <ac:spMkLst>
            <pc:docMk/>
            <pc:sldMk cId="2155983508" sldId="290"/>
            <ac:spMk id="634" creationId="{DEAFAFD2-2E9C-3833-3B00-FA38B648E51C}"/>
          </ac:spMkLst>
        </pc:spChg>
        <pc:spChg chg="add mod">
          <ac:chgData name="Oğuz Öztekin" userId="33c0df0f-d5fe-4bda-8f43-141ad7af67e3" providerId="ADAL" clId="{48B824AD-1B2A-47A8-8D92-6FE6E622A650}" dt="2024-12-16T18:30:04.146" v="202484"/>
          <ac:spMkLst>
            <pc:docMk/>
            <pc:sldMk cId="2155983508" sldId="290"/>
            <ac:spMk id="639" creationId="{1EB677BD-C2BC-7D8D-8AE3-9C0E3243FCA0}"/>
          </ac:spMkLst>
        </pc:spChg>
        <pc:spChg chg="add del mod modVis">
          <ac:chgData name="Oğuz Öztekin" userId="33c0df0f-d5fe-4bda-8f43-141ad7af67e3" providerId="ADAL" clId="{48B824AD-1B2A-47A8-8D92-6FE6E622A650}" dt="2024-12-16T18:17:55.934" v="178190"/>
          <ac:spMkLst>
            <pc:docMk/>
            <pc:sldMk cId="2155983508" sldId="290"/>
            <ac:spMk id="640" creationId="{05B2AF88-9D14-099B-F46E-F6A4EDECD8A1}"/>
          </ac:spMkLst>
        </pc:spChg>
        <pc:spChg chg="add del mod modVis">
          <ac:chgData name="Oğuz Öztekin" userId="33c0df0f-d5fe-4bda-8f43-141ad7af67e3" providerId="ADAL" clId="{48B824AD-1B2A-47A8-8D92-6FE6E622A650}" dt="2024-12-16T18:21:32.370" v="178902"/>
          <ac:spMkLst>
            <pc:docMk/>
            <pc:sldMk cId="2155983508" sldId="290"/>
            <ac:spMk id="647" creationId="{A0FE252E-AE7D-1E33-E307-52D90899B3B7}"/>
          </ac:spMkLst>
        </pc:spChg>
        <pc:spChg chg="add mod">
          <ac:chgData name="Oğuz Öztekin" userId="33c0df0f-d5fe-4bda-8f43-141ad7af67e3" providerId="ADAL" clId="{48B824AD-1B2A-47A8-8D92-6FE6E622A650}" dt="2024-12-16T18:30:04.151" v="202490"/>
          <ac:spMkLst>
            <pc:docMk/>
            <pc:sldMk cId="2155983508" sldId="290"/>
            <ac:spMk id="649" creationId="{316F97E8-855E-B33D-C833-8F832F2CF3E2}"/>
          </ac:spMkLst>
        </pc:spChg>
        <pc:spChg chg="add del mod modVis">
          <ac:chgData name="Oğuz Öztekin" userId="33c0df0f-d5fe-4bda-8f43-141ad7af67e3" providerId="ADAL" clId="{48B824AD-1B2A-47A8-8D92-6FE6E622A650}" dt="2024-12-16T18:30:04.151" v="202495"/>
          <ac:spMkLst>
            <pc:docMk/>
            <pc:sldMk cId="2155983508" sldId="290"/>
            <ac:spMk id="650" creationId="{CA140FE2-EA9D-B20E-D8B0-E27ACA0A90F6}"/>
          </ac:spMkLst>
        </pc:spChg>
        <pc:graphicFrameChg chg="mod">
          <ac:chgData name="Oğuz Öztekin" userId="33c0df0f-d5fe-4bda-8f43-141ad7af67e3" providerId="ADAL" clId="{48B824AD-1B2A-47A8-8D92-6FE6E622A650}" dt="2024-12-16T18:30:04.151" v="202497"/>
          <ac:graphicFrameMkLst>
            <pc:docMk/>
            <pc:sldMk cId="2155983508" sldId="290"/>
            <ac:graphicFrameMk id="3" creationId="{0C5BB71F-51B5-A54F-D8C2-699EEE781C9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3:42.457" v="136816"/>
          <ac:graphicFrameMkLst>
            <pc:docMk/>
            <pc:sldMk cId="2155983508" sldId="290"/>
            <ac:graphicFrameMk id="7" creationId="{CD421B31-12E6-E1B8-B22E-BDEC548F5F1A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01:36.498" v="130165"/>
          <ac:graphicFrameMkLst>
            <pc:docMk/>
            <pc:sldMk cId="2155983508" sldId="290"/>
            <ac:graphicFrameMk id="353" creationId="{E770522D-899F-38FE-E7B1-F94EE79D6C0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3:47.360" v="138765"/>
          <ac:graphicFrameMkLst>
            <pc:docMk/>
            <pc:sldMk cId="2155983508" sldId="290"/>
            <ac:graphicFrameMk id="602" creationId="{E136A202-D18C-7F54-26BE-3833BAD1B65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4:00.105" v="140504"/>
          <ac:graphicFrameMkLst>
            <pc:docMk/>
            <pc:sldMk cId="2155983508" sldId="290"/>
            <ac:graphicFrameMk id="604" creationId="{170BB012-45CC-0CD4-DCF9-48E35F9AF81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4:10.679" v="142043"/>
          <ac:graphicFrameMkLst>
            <pc:docMk/>
            <pc:sldMk cId="2155983508" sldId="290"/>
            <ac:graphicFrameMk id="606" creationId="{6FEF886D-5639-5174-1C42-A201C9797EB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4:18.151" v="143378"/>
          <ac:graphicFrameMkLst>
            <pc:docMk/>
            <pc:sldMk cId="2155983508" sldId="290"/>
            <ac:graphicFrameMk id="608" creationId="{57EFD940-3ED7-CED8-67E4-B5420896356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4:25.462" v="144513"/>
          <ac:graphicFrameMkLst>
            <pc:docMk/>
            <pc:sldMk cId="2155983508" sldId="290"/>
            <ac:graphicFrameMk id="610" creationId="{0D8779EE-1247-2F09-6B31-89D6A33E373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4:32.335" v="145448"/>
          <ac:graphicFrameMkLst>
            <pc:docMk/>
            <pc:sldMk cId="2155983508" sldId="290"/>
            <ac:graphicFrameMk id="612" creationId="{82E3D5F4-7088-8408-9F82-DA5FB55E234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4:39.819" v="146183"/>
          <ac:graphicFrameMkLst>
            <pc:docMk/>
            <pc:sldMk cId="2155983508" sldId="290"/>
            <ac:graphicFrameMk id="614" creationId="{CB488D9B-312F-63F5-C706-93374EBB683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4:46.861" v="146754"/>
          <ac:graphicFrameMkLst>
            <pc:docMk/>
            <pc:sldMk cId="2155983508" sldId="290"/>
            <ac:graphicFrameMk id="616" creationId="{E9C6F7C7-C966-4C66-016E-8FA242D24CD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4:52.720" v="147099"/>
          <ac:graphicFrameMkLst>
            <pc:docMk/>
            <pc:sldMk cId="2155983508" sldId="290"/>
            <ac:graphicFrameMk id="618" creationId="{388F334C-C14D-88C4-E862-FD5F2F63714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05:13.259" v="147241"/>
          <ac:graphicFrameMkLst>
            <pc:docMk/>
            <pc:sldMk cId="2155983508" sldId="290"/>
            <ac:graphicFrameMk id="620" creationId="{64CA94C3-4557-13CE-66F4-8F991BDDE36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6:10.365" v="176866"/>
          <ac:graphicFrameMkLst>
            <pc:docMk/>
            <pc:sldMk cId="2155983508" sldId="290"/>
            <ac:graphicFrameMk id="623" creationId="{BC18EF74-C55C-2005-B76F-38FC3E5B981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6:18.183" v="177094"/>
          <ac:graphicFrameMkLst>
            <pc:docMk/>
            <pc:sldMk cId="2155983508" sldId="290"/>
            <ac:graphicFrameMk id="627" creationId="{FF4AC57E-6629-D808-7A45-D1827A05A4D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6:20.790" v="177354"/>
          <ac:graphicFrameMkLst>
            <pc:docMk/>
            <pc:sldMk cId="2155983508" sldId="290"/>
            <ac:graphicFrameMk id="632" creationId="{EF1269A2-ABBA-B5CA-6DF1-76DA87DAF79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7:55.898" v="178112"/>
          <ac:graphicFrameMkLst>
            <pc:docMk/>
            <pc:sldMk cId="2155983508" sldId="290"/>
            <ac:graphicFrameMk id="638" creationId="{458E7A6F-0263-7AF4-509F-5CEC782B98B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1:32.346" v="178832"/>
          <ac:graphicFrameMkLst>
            <pc:docMk/>
            <pc:sldMk cId="2155983508" sldId="290"/>
            <ac:graphicFrameMk id="646" creationId="{56947130-76CF-2616-0A7F-2F19C032049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30:04.114" v="202412"/>
          <ac:graphicFrameMkLst>
            <pc:docMk/>
            <pc:sldMk cId="2155983508" sldId="290"/>
            <ac:graphicFrameMk id="648" creationId="{C9CD9BA0-AF6D-E03E-B844-DD8EFAC04AB3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30:04.136" v="202429"/>
          <ac:graphicFrameMkLst>
            <pc:docMk/>
            <pc:sldMk cId="2155983508" sldId="290"/>
            <ac:graphicFrameMk id="653" creationId="{B9E39E6F-C761-CBA1-D220-D99F61C1E50A}"/>
          </ac:graphicFrameMkLst>
        </pc:graphicFrameChg>
        <pc:cxnChg chg="del mod ord">
          <ac:chgData name="Oğuz Öztekin" userId="33c0df0f-d5fe-4bda-8f43-141ad7af67e3" providerId="ADAL" clId="{48B824AD-1B2A-47A8-8D92-6FE6E622A650}" dt="2024-12-16T18:04:52.700" v="147029"/>
          <ac:cxnSpMkLst>
            <pc:docMk/>
            <pc:sldMk cId="2155983508" sldId="290"/>
            <ac:cxnSpMk id="293" creationId="{FEDFEA1E-EE29-981E-5A14-6CD31D3D4D36}"/>
          </ac:cxnSpMkLst>
        </pc:cxnChg>
        <pc:cxnChg chg="mod ord">
          <ac:chgData name="Oğuz Öztekin" userId="33c0df0f-d5fe-4bda-8f43-141ad7af67e3" providerId="ADAL" clId="{48B824AD-1B2A-47A8-8D92-6FE6E622A650}" dt="2024-12-16T18:30:04.136" v="202433"/>
          <ac:cxnSpMkLst>
            <pc:docMk/>
            <pc:sldMk cId="2155983508" sldId="290"/>
            <ac:cxnSpMk id="306" creationId="{59887BC7-5562-1630-ACA1-116993553AC6}"/>
          </ac:cxnSpMkLst>
        </pc:cxnChg>
        <pc:cxnChg chg="del mod ord">
          <ac:chgData name="Oğuz Öztekin" userId="33c0df0f-d5fe-4bda-8f43-141ad7af67e3" providerId="ADAL" clId="{48B824AD-1B2A-47A8-8D92-6FE6E622A650}" dt="2024-12-16T18:04:52.711" v="147057"/>
          <ac:cxnSpMkLst>
            <pc:docMk/>
            <pc:sldMk cId="2155983508" sldId="290"/>
            <ac:cxnSpMk id="313" creationId="{44B49543-BE66-E939-62AD-307E2E1D4B16}"/>
          </ac:cxnSpMkLst>
        </pc:cxnChg>
        <pc:cxnChg chg="mod ord">
          <ac:chgData name="Oğuz Öztekin" userId="33c0df0f-d5fe-4bda-8f43-141ad7af67e3" providerId="ADAL" clId="{48B824AD-1B2A-47A8-8D92-6FE6E622A650}" dt="2024-12-16T18:30:04.136" v="202437"/>
          <ac:cxnSpMkLst>
            <pc:docMk/>
            <pc:sldMk cId="2155983508" sldId="290"/>
            <ac:cxnSpMk id="317" creationId="{739FD78C-CE2E-3DA5-491B-0F54EA0A2000}"/>
          </ac:cxnSpMkLst>
        </pc:cxnChg>
        <pc:cxnChg chg="del mod ord">
          <ac:chgData name="Oğuz Öztekin" userId="33c0df0f-d5fe-4bda-8f43-141ad7af67e3" providerId="ADAL" clId="{48B824AD-1B2A-47A8-8D92-6FE6E622A650}" dt="2024-12-16T18:16:20.771" v="177292"/>
          <ac:cxnSpMkLst>
            <pc:docMk/>
            <pc:sldMk cId="2155983508" sldId="290"/>
            <ac:cxnSpMk id="321" creationId="{AAAD3715-9A97-1FC5-0C32-DC980F5A0180}"/>
          </ac:cxnSpMkLst>
        </pc:cxnChg>
        <pc:cxnChg chg="add del mod ord">
          <ac:chgData name="Oğuz Öztekin" userId="33c0df0f-d5fe-4bda-8f43-141ad7af67e3" providerId="ADAL" clId="{48B824AD-1B2A-47A8-8D92-6FE6E622A650}" dt="2024-12-16T18:04:52.704" v="147033"/>
          <ac:cxnSpMkLst>
            <pc:docMk/>
            <pc:sldMk cId="2155983508" sldId="290"/>
            <ac:cxnSpMk id="413" creationId="{2B622A2D-D46B-D748-936A-CC4168A9916B}"/>
          </ac:cxnSpMkLst>
        </pc:cxnChg>
        <pc:cxnChg chg="add del mod ord">
          <ac:chgData name="Oğuz Öztekin" userId="33c0df0f-d5fe-4bda-8f43-141ad7af67e3" providerId="ADAL" clId="{48B824AD-1B2A-47A8-8D92-6FE6E622A650}" dt="2024-12-16T18:04:52.705" v="147037"/>
          <ac:cxnSpMkLst>
            <pc:docMk/>
            <pc:sldMk cId="2155983508" sldId="290"/>
            <ac:cxnSpMk id="414" creationId="{632D1DFB-7935-D353-E94A-1CF36B527D6A}"/>
          </ac:cxnSpMkLst>
        </pc:cxnChg>
        <pc:cxnChg chg="add del mod ord">
          <ac:chgData name="Oğuz Öztekin" userId="33c0df0f-d5fe-4bda-8f43-141ad7af67e3" providerId="ADAL" clId="{48B824AD-1B2A-47A8-8D92-6FE6E622A650}" dt="2024-12-16T18:04:52.705" v="147041"/>
          <ac:cxnSpMkLst>
            <pc:docMk/>
            <pc:sldMk cId="2155983508" sldId="290"/>
            <ac:cxnSpMk id="415" creationId="{903160C3-7E05-95CE-D9E6-5EB60E9CB21A}"/>
          </ac:cxnSpMkLst>
        </pc:cxnChg>
        <pc:cxnChg chg="add mod ord">
          <ac:chgData name="Oğuz Öztekin" userId="33c0df0f-d5fe-4bda-8f43-141ad7af67e3" providerId="ADAL" clId="{48B824AD-1B2A-47A8-8D92-6FE6E622A650}" dt="2024-12-16T18:30:04.136" v="202431"/>
          <ac:cxnSpMkLst>
            <pc:docMk/>
            <pc:sldMk cId="2155983508" sldId="290"/>
            <ac:cxnSpMk id="416" creationId="{9B29244F-D4A3-A622-DD23-2F11D4D5D170}"/>
          </ac:cxnSpMkLst>
        </pc:cxnChg>
        <pc:cxnChg chg="add del mod ord">
          <ac:chgData name="Oğuz Öztekin" userId="33c0df0f-d5fe-4bda-8f43-141ad7af67e3" providerId="ADAL" clId="{48B824AD-1B2A-47A8-8D92-6FE6E622A650}" dt="2024-12-16T18:16:20.772" v="177296"/>
          <ac:cxnSpMkLst>
            <pc:docMk/>
            <pc:sldMk cId="2155983508" sldId="290"/>
            <ac:cxnSpMk id="417" creationId="{4AF2C362-442B-2840-0825-1366BF9E088F}"/>
          </ac:cxnSpMkLst>
        </pc:cxnChg>
        <pc:cxnChg chg="add del mod ord">
          <ac:chgData name="Oğuz Öztekin" userId="33c0df0f-d5fe-4bda-8f43-141ad7af67e3" providerId="ADAL" clId="{48B824AD-1B2A-47A8-8D92-6FE6E622A650}" dt="2024-12-16T18:04:52.717" v="147085"/>
          <ac:cxnSpMkLst>
            <pc:docMk/>
            <pc:sldMk cId="2155983508" sldId="290"/>
            <ac:cxnSpMk id="418" creationId="{D4C0239B-41A8-6A24-7018-7F85644F107D}"/>
          </ac:cxnSpMkLst>
        </pc:cxnChg>
        <pc:cxnChg chg="add del mod ord">
          <ac:chgData name="Oğuz Öztekin" userId="33c0df0f-d5fe-4bda-8f43-141ad7af67e3" providerId="ADAL" clId="{48B824AD-1B2A-47A8-8D92-6FE6E622A650}" dt="2024-12-16T18:04:52.718" v="147089"/>
          <ac:cxnSpMkLst>
            <pc:docMk/>
            <pc:sldMk cId="2155983508" sldId="290"/>
            <ac:cxnSpMk id="419" creationId="{0206E21D-0069-075B-5095-29BD6B16D368}"/>
          </ac:cxnSpMkLst>
        </pc:cxnChg>
        <pc:cxnChg chg="add del mod ord">
          <ac:chgData name="Oğuz Öztekin" userId="33c0df0f-d5fe-4bda-8f43-141ad7af67e3" providerId="ADAL" clId="{48B824AD-1B2A-47A8-8D92-6FE6E622A650}" dt="2024-12-16T18:04:52.719" v="147093"/>
          <ac:cxnSpMkLst>
            <pc:docMk/>
            <pc:sldMk cId="2155983508" sldId="290"/>
            <ac:cxnSpMk id="420" creationId="{A7D4A568-1B8C-5653-6EDC-BB8E57064449}"/>
          </ac:cxnSpMkLst>
        </pc:cxnChg>
        <pc:cxnChg chg="add del mod ord">
          <ac:chgData name="Oğuz Öztekin" userId="33c0df0f-d5fe-4bda-8f43-141ad7af67e3" providerId="ADAL" clId="{48B824AD-1B2A-47A8-8D92-6FE6E622A650}" dt="2024-12-16T18:04:52.720" v="147097"/>
          <ac:cxnSpMkLst>
            <pc:docMk/>
            <pc:sldMk cId="2155983508" sldId="290"/>
            <ac:cxnSpMk id="421" creationId="{55A5D764-2305-B171-7474-A44435D3D24D}"/>
          </ac:cxnSpMkLst>
        </pc:cxnChg>
        <pc:cxnChg chg="add del mod ord">
          <ac:chgData name="Oğuz Öztekin" userId="33c0df0f-d5fe-4bda-8f43-141ad7af67e3" providerId="ADAL" clId="{48B824AD-1B2A-47A8-8D92-6FE6E622A650}" dt="2024-12-16T18:04:52.614" v="146883"/>
          <ac:cxnSpMkLst>
            <pc:docMk/>
            <pc:sldMk cId="2155983508" sldId="290"/>
            <ac:cxnSpMk id="422" creationId="{DAB27C68-1C6E-1118-CE40-34B8F6F4E466}"/>
          </ac:cxnSpMkLst>
        </pc:cxnChg>
        <pc:cxnChg chg="add del mod ord">
          <ac:chgData name="Oğuz Öztekin" userId="33c0df0f-d5fe-4bda-8f43-141ad7af67e3" providerId="ADAL" clId="{48B824AD-1B2A-47A8-8D92-6FE6E622A650}" dt="2024-12-16T18:04:52.618" v="146886"/>
          <ac:cxnSpMkLst>
            <pc:docMk/>
            <pc:sldMk cId="2155983508" sldId="290"/>
            <ac:cxnSpMk id="423" creationId="{238A3E8C-BC4E-7FF8-9E34-15AA278938ED}"/>
          </ac:cxnSpMkLst>
        </pc:cxnChg>
        <pc:cxnChg chg="add del mod ord">
          <ac:chgData name="Oğuz Öztekin" userId="33c0df0f-d5fe-4bda-8f43-141ad7af67e3" providerId="ADAL" clId="{48B824AD-1B2A-47A8-8D92-6FE6E622A650}" dt="2024-12-16T18:04:52.618" v="146889"/>
          <ac:cxnSpMkLst>
            <pc:docMk/>
            <pc:sldMk cId="2155983508" sldId="290"/>
            <ac:cxnSpMk id="424" creationId="{0D9C0A81-84EB-E716-65C7-57C2279633BA}"/>
          </ac:cxnSpMkLst>
        </pc:cxnChg>
        <pc:cxnChg chg="add del mod ord">
          <ac:chgData name="Oğuz Öztekin" userId="33c0df0f-d5fe-4bda-8f43-141ad7af67e3" providerId="ADAL" clId="{48B824AD-1B2A-47A8-8D92-6FE6E622A650}" dt="2024-12-16T18:04:52.618" v="146892"/>
          <ac:cxnSpMkLst>
            <pc:docMk/>
            <pc:sldMk cId="2155983508" sldId="290"/>
            <ac:cxnSpMk id="425" creationId="{DF6FB982-6001-28AB-AE0A-06A099236B83}"/>
          </ac:cxnSpMkLst>
        </pc:cxnChg>
        <pc:cxnChg chg="add del mod ord">
          <ac:chgData name="Oğuz Öztekin" userId="33c0df0f-d5fe-4bda-8f43-141ad7af67e3" providerId="ADAL" clId="{48B824AD-1B2A-47A8-8D92-6FE6E622A650}" dt="2024-12-16T18:04:52.618" v="146895"/>
          <ac:cxnSpMkLst>
            <pc:docMk/>
            <pc:sldMk cId="2155983508" sldId="290"/>
            <ac:cxnSpMk id="426" creationId="{8EA4DD9F-7897-1491-949E-D8DB1E154184}"/>
          </ac:cxnSpMkLst>
        </pc:cxnChg>
        <pc:cxnChg chg="add del mod ord">
          <ac:chgData name="Oğuz Öztekin" userId="33c0df0f-d5fe-4bda-8f43-141ad7af67e3" providerId="ADAL" clId="{48B824AD-1B2A-47A8-8D92-6FE6E622A650}" dt="2024-12-16T18:04:52.622" v="146898"/>
          <ac:cxnSpMkLst>
            <pc:docMk/>
            <pc:sldMk cId="2155983508" sldId="290"/>
            <ac:cxnSpMk id="427" creationId="{A2D53984-3E55-06A3-D774-3052EDA80D4B}"/>
          </ac:cxnSpMkLst>
        </pc:cxnChg>
        <pc:cxnChg chg="add del mod ord">
          <ac:chgData name="Oğuz Öztekin" userId="33c0df0f-d5fe-4bda-8f43-141ad7af67e3" providerId="ADAL" clId="{48B824AD-1B2A-47A8-8D92-6FE6E622A650}" dt="2024-12-16T18:04:52.622" v="146901"/>
          <ac:cxnSpMkLst>
            <pc:docMk/>
            <pc:sldMk cId="2155983508" sldId="290"/>
            <ac:cxnSpMk id="428" creationId="{9E198C92-263B-70A9-D25E-F90AAEE10425}"/>
          </ac:cxnSpMkLst>
        </pc:cxnChg>
        <pc:cxnChg chg="add del mod ord">
          <ac:chgData name="Oğuz Öztekin" userId="33c0df0f-d5fe-4bda-8f43-141ad7af67e3" providerId="ADAL" clId="{48B824AD-1B2A-47A8-8D92-6FE6E622A650}" dt="2024-12-16T18:04:52.622" v="146904"/>
          <ac:cxnSpMkLst>
            <pc:docMk/>
            <pc:sldMk cId="2155983508" sldId="290"/>
            <ac:cxnSpMk id="429" creationId="{7EEA00A7-A058-F760-BE59-9A90D300239A}"/>
          </ac:cxnSpMkLst>
        </pc:cxnChg>
        <pc:cxnChg chg="add del mod ord">
          <ac:chgData name="Oğuz Öztekin" userId="33c0df0f-d5fe-4bda-8f43-141ad7af67e3" providerId="ADAL" clId="{48B824AD-1B2A-47A8-8D92-6FE6E622A650}" dt="2024-12-16T18:04:52.622" v="146907"/>
          <ac:cxnSpMkLst>
            <pc:docMk/>
            <pc:sldMk cId="2155983508" sldId="290"/>
            <ac:cxnSpMk id="430" creationId="{96B47DA2-192C-393C-783E-A0089A344878}"/>
          </ac:cxnSpMkLst>
        </pc:cxnChg>
        <pc:cxnChg chg="add del mod ord">
          <ac:chgData name="Oğuz Öztekin" userId="33c0df0f-d5fe-4bda-8f43-141ad7af67e3" providerId="ADAL" clId="{48B824AD-1B2A-47A8-8D92-6FE6E622A650}" dt="2024-12-16T18:04:52.622" v="146910"/>
          <ac:cxnSpMkLst>
            <pc:docMk/>
            <pc:sldMk cId="2155983508" sldId="290"/>
            <ac:cxnSpMk id="431" creationId="{F9292CF9-BB3B-2BDC-EABB-7A8F9A5ED282}"/>
          </ac:cxnSpMkLst>
        </pc:cxnChg>
        <pc:cxnChg chg="add del mod ord">
          <ac:chgData name="Oğuz Öztekin" userId="33c0df0f-d5fe-4bda-8f43-141ad7af67e3" providerId="ADAL" clId="{48B824AD-1B2A-47A8-8D92-6FE6E622A650}" dt="2024-12-16T18:04:52.622" v="146913"/>
          <ac:cxnSpMkLst>
            <pc:docMk/>
            <pc:sldMk cId="2155983508" sldId="290"/>
            <ac:cxnSpMk id="432" creationId="{22EC400A-B8D1-43BD-A3FD-EF9BD4BED838}"/>
          </ac:cxnSpMkLst>
        </pc:cxnChg>
        <pc:cxnChg chg="add del mod ord">
          <ac:chgData name="Oğuz Öztekin" userId="33c0df0f-d5fe-4bda-8f43-141ad7af67e3" providerId="ADAL" clId="{48B824AD-1B2A-47A8-8D92-6FE6E622A650}" dt="2024-12-16T18:04:52.622" v="146916"/>
          <ac:cxnSpMkLst>
            <pc:docMk/>
            <pc:sldMk cId="2155983508" sldId="290"/>
            <ac:cxnSpMk id="433" creationId="{4B1856C4-D566-5B39-D71B-F93542832CCA}"/>
          </ac:cxnSpMkLst>
        </pc:cxnChg>
        <pc:cxnChg chg="add del mod ord">
          <ac:chgData name="Oğuz Öztekin" userId="33c0df0f-d5fe-4bda-8f43-141ad7af67e3" providerId="ADAL" clId="{48B824AD-1B2A-47A8-8D92-6FE6E622A650}" dt="2024-12-16T18:04:52.622" v="146919"/>
          <ac:cxnSpMkLst>
            <pc:docMk/>
            <pc:sldMk cId="2155983508" sldId="290"/>
            <ac:cxnSpMk id="434" creationId="{973C343D-09D0-4FB7-2AE9-F202601A8C51}"/>
          </ac:cxnSpMkLst>
        </pc:cxnChg>
        <pc:cxnChg chg="add del mod ord">
          <ac:chgData name="Oğuz Öztekin" userId="33c0df0f-d5fe-4bda-8f43-141ad7af67e3" providerId="ADAL" clId="{48B824AD-1B2A-47A8-8D92-6FE6E622A650}" dt="2024-12-16T18:04:52.628" v="146922"/>
          <ac:cxnSpMkLst>
            <pc:docMk/>
            <pc:sldMk cId="2155983508" sldId="290"/>
            <ac:cxnSpMk id="435" creationId="{43FD8EE0-C316-19FA-0FC2-B77F108FA3F0}"/>
          </ac:cxnSpMkLst>
        </pc:cxnChg>
        <pc:cxnChg chg="add del mod ord">
          <ac:chgData name="Oğuz Öztekin" userId="33c0df0f-d5fe-4bda-8f43-141ad7af67e3" providerId="ADAL" clId="{48B824AD-1B2A-47A8-8D92-6FE6E622A650}" dt="2024-12-16T18:04:52.629" v="146925"/>
          <ac:cxnSpMkLst>
            <pc:docMk/>
            <pc:sldMk cId="2155983508" sldId="290"/>
            <ac:cxnSpMk id="436" creationId="{AE184D5E-601A-EC02-A185-323BA8B39E14}"/>
          </ac:cxnSpMkLst>
        </pc:cxnChg>
        <pc:cxnChg chg="add del mod ord">
          <ac:chgData name="Oğuz Öztekin" userId="33c0df0f-d5fe-4bda-8f43-141ad7af67e3" providerId="ADAL" clId="{48B824AD-1B2A-47A8-8D92-6FE6E622A650}" dt="2024-12-16T18:04:52.631" v="146928"/>
          <ac:cxnSpMkLst>
            <pc:docMk/>
            <pc:sldMk cId="2155983508" sldId="290"/>
            <ac:cxnSpMk id="437" creationId="{72F3694C-AB54-41A1-7207-8349A427727D}"/>
          </ac:cxnSpMkLst>
        </pc:cxnChg>
        <pc:cxnChg chg="add del mod ord">
          <ac:chgData name="Oğuz Öztekin" userId="33c0df0f-d5fe-4bda-8f43-141ad7af67e3" providerId="ADAL" clId="{48B824AD-1B2A-47A8-8D92-6FE6E622A650}" dt="2024-12-16T18:04:52.631" v="146931"/>
          <ac:cxnSpMkLst>
            <pc:docMk/>
            <pc:sldMk cId="2155983508" sldId="290"/>
            <ac:cxnSpMk id="438" creationId="{3A6BD040-14B4-F942-8A44-4CA102CBCBD8}"/>
          </ac:cxnSpMkLst>
        </pc:cxnChg>
        <pc:cxnChg chg="add del mod ord">
          <ac:chgData name="Oğuz Öztekin" userId="33c0df0f-d5fe-4bda-8f43-141ad7af67e3" providerId="ADAL" clId="{48B824AD-1B2A-47A8-8D92-6FE6E622A650}" dt="2024-12-16T18:04:52.631" v="146934"/>
          <ac:cxnSpMkLst>
            <pc:docMk/>
            <pc:sldMk cId="2155983508" sldId="290"/>
            <ac:cxnSpMk id="439" creationId="{187D82C4-FE21-5BA4-991C-A0F124993AD0}"/>
          </ac:cxnSpMkLst>
        </pc:cxnChg>
        <pc:cxnChg chg="add del mod ord">
          <ac:chgData name="Oğuz Öztekin" userId="33c0df0f-d5fe-4bda-8f43-141ad7af67e3" providerId="ADAL" clId="{48B824AD-1B2A-47A8-8D92-6FE6E622A650}" dt="2024-12-16T18:04:52.631" v="146937"/>
          <ac:cxnSpMkLst>
            <pc:docMk/>
            <pc:sldMk cId="2155983508" sldId="290"/>
            <ac:cxnSpMk id="440" creationId="{91AD9B53-2EA1-1EAC-154F-0C5A9C27A78D}"/>
          </ac:cxnSpMkLst>
        </pc:cxnChg>
        <pc:cxnChg chg="add del mod ord">
          <ac:chgData name="Oğuz Öztekin" userId="33c0df0f-d5fe-4bda-8f43-141ad7af67e3" providerId="ADAL" clId="{48B824AD-1B2A-47A8-8D92-6FE6E622A650}" dt="2024-12-16T18:04:52.631" v="146940"/>
          <ac:cxnSpMkLst>
            <pc:docMk/>
            <pc:sldMk cId="2155983508" sldId="290"/>
            <ac:cxnSpMk id="441" creationId="{138F664B-6059-8B7B-A84C-99FEAF5CAE4D}"/>
          </ac:cxnSpMkLst>
        </pc:cxnChg>
        <pc:cxnChg chg="add del mod ord">
          <ac:chgData name="Oğuz Öztekin" userId="33c0df0f-d5fe-4bda-8f43-141ad7af67e3" providerId="ADAL" clId="{48B824AD-1B2A-47A8-8D92-6FE6E622A650}" dt="2024-12-16T18:04:46.696" v="146372"/>
          <ac:cxnSpMkLst>
            <pc:docMk/>
            <pc:sldMk cId="2155983508" sldId="290"/>
            <ac:cxnSpMk id="442" creationId="{9264C047-D750-B6AB-2FA5-60C767D22BB4}"/>
          </ac:cxnSpMkLst>
        </pc:cxnChg>
        <pc:cxnChg chg="add del mod ord">
          <ac:chgData name="Oğuz Öztekin" userId="33c0df0f-d5fe-4bda-8f43-141ad7af67e3" providerId="ADAL" clId="{48B824AD-1B2A-47A8-8D92-6FE6E622A650}" dt="2024-12-16T18:04:46.698" v="146375"/>
          <ac:cxnSpMkLst>
            <pc:docMk/>
            <pc:sldMk cId="2155983508" sldId="290"/>
            <ac:cxnSpMk id="443" creationId="{769EC4F3-48A4-C2A6-AA0B-409F48C7615F}"/>
          </ac:cxnSpMkLst>
        </pc:cxnChg>
        <pc:cxnChg chg="add del mod ord">
          <ac:chgData name="Oğuz Öztekin" userId="33c0df0f-d5fe-4bda-8f43-141ad7af67e3" providerId="ADAL" clId="{48B824AD-1B2A-47A8-8D92-6FE6E622A650}" dt="2024-12-16T18:04:46.699" v="146378"/>
          <ac:cxnSpMkLst>
            <pc:docMk/>
            <pc:sldMk cId="2155983508" sldId="290"/>
            <ac:cxnSpMk id="444" creationId="{0D64020C-2AFD-BA97-A205-25CF11153041}"/>
          </ac:cxnSpMkLst>
        </pc:cxnChg>
        <pc:cxnChg chg="add del mod ord">
          <ac:chgData name="Oğuz Öztekin" userId="33c0df0f-d5fe-4bda-8f43-141ad7af67e3" providerId="ADAL" clId="{48B824AD-1B2A-47A8-8D92-6FE6E622A650}" dt="2024-12-16T18:04:46.700" v="146381"/>
          <ac:cxnSpMkLst>
            <pc:docMk/>
            <pc:sldMk cId="2155983508" sldId="290"/>
            <ac:cxnSpMk id="445" creationId="{96669275-1B6B-3FC9-FEB8-A51D28AF0271}"/>
          </ac:cxnSpMkLst>
        </pc:cxnChg>
        <pc:cxnChg chg="add del mod ord">
          <ac:chgData name="Oğuz Öztekin" userId="33c0df0f-d5fe-4bda-8f43-141ad7af67e3" providerId="ADAL" clId="{48B824AD-1B2A-47A8-8D92-6FE6E622A650}" dt="2024-12-16T18:04:46.701" v="146384"/>
          <ac:cxnSpMkLst>
            <pc:docMk/>
            <pc:sldMk cId="2155983508" sldId="290"/>
            <ac:cxnSpMk id="446" creationId="{8905E34F-22A3-FBE5-CF67-890CE1D4E81C}"/>
          </ac:cxnSpMkLst>
        </pc:cxnChg>
        <pc:cxnChg chg="add del mod ord">
          <ac:chgData name="Oğuz Öztekin" userId="33c0df0f-d5fe-4bda-8f43-141ad7af67e3" providerId="ADAL" clId="{48B824AD-1B2A-47A8-8D92-6FE6E622A650}" dt="2024-12-16T18:04:46.701" v="146387"/>
          <ac:cxnSpMkLst>
            <pc:docMk/>
            <pc:sldMk cId="2155983508" sldId="290"/>
            <ac:cxnSpMk id="447" creationId="{D7A67D46-B01D-A9B7-75ED-BB75D4D7537D}"/>
          </ac:cxnSpMkLst>
        </pc:cxnChg>
        <pc:cxnChg chg="add del mod ord">
          <ac:chgData name="Oğuz Öztekin" userId="33c0df0f-d5fe-4bda-8f43-141ad7af67e3" providerId="ADAL" clId="{48B824AD-1B2A-47A8-8D92-6FE6E622A650}" dt="2024-12-16T18:04:46.703" v="146390"/>
          <ac:cxnSpMkLst>
            <pc:docMk/>
            <pc:sldMk cId="2155983508" sldId="290"/>
            <ac:cxnSpMk id="448" creationId="{3B6CFCC5-5630-54F1-0B41-810DA529D808}"/>
          </ac:cxnSpMkLst>
        </pc:cxnChg>
        <pc:cxnChg chg="add del mod ord">
          <ac:chgData name="Oğuz Öztekin" userId="33c0df0f-d5fe-4bda-8f43-141ad7af67e3" providerId="ADAL" clId="{48B824AD-1B2A-47A8-8D92-6FE6E622A650}" dt="2024-12-16T18:04:46.704" v="146393"/>
          <ac:cxnSpMkLst>
            <pc:docMk/>
            <pc:sldMk cId="2155983508" sldId="290"/>
            <ac:cxnSpMk id="449" creationId="{7F2E5F4D-D2A3-9BC6-7D75-F8795EDA2259}"/>
          </ac:cxnSpMkLst>
        </pc:cxnChg>
        <pc:cxnChg chg="add del mod ord">
          <ac:chgData name="Oğuz Öztekin" userId="33c0df0f-d5fe-4bda-8f43-141ad7af67e3" providerId="ADAL" clId="{48B824AD-1B2A-47A8-8D92-6FE6E622A650}" dt="2024-12-16T18:04:46.704" v="146396"/>
          <ac:cxnSpMkLst>
            <pc:docMk/>
            <pc:sldMk cId="2155983508" sldId="290"/>
            <ac:cxnSpMk id="450" creationId="{A5A59463-9ACD-90EA-1F9B-6BC89AEB39EE}"/>
          </ac:cxnSpMkLst>
        </pc:cxnChg>
        <pc:cxnChg chg="add del mod ord">
          <ac:chgData name="Oğuz Öztekin" userId="33c0df0f-d5fe-4bda-8f43-141ad7af67e3" providerId="ADAL" clId="{48B824AD-1B2A-47A8-8D92-6FE6E622A650}" dt="2024-12-16T18:04:46.705" v="146399"/>
          <ac:cxnSpMkLst>
            <pc:docMk/>
            <pc:sldMk cId="2155983508" sldId="290"/>
            <ac:cxnSpMk id="451" creationId="{EDC2CD54-F1A0-FA28-EC99-2ECEE05945E4}"/>
          </ac:cxnSpMkLst>
        </pc:cxnChg>
        <pc:cxnChg chg="add del mod ord">
          <ac:chgData name="Oğuz Öztekin" userId="33c0df0f-d5fe-4bda-8f43-141ad7af67e3" providerId="ADAL" clId="{48B824AD-1B2A-47A8-8D92-6FE6E622A650}" dt="2024-12-16T18:04:46.706" v="146402"/>
          <ac:cxnSpMkLst>
            <pc:docMk/>
            <pc:sldMk cId="2155983508" sldId="290"/>
            <ac:cxnSpMk id="452" creationId="{503F725F-F6CF-1B42-B9BA-61674753DAF6}"/>
          </ac:cxnSpMkLst>
        </pc:cxnChg>
        <pc:cxnChg chg="add del mod ord">
          <ac:chgData name="Oğuz Öztekin" userId="33c0df0f-d5fe-4bda-8f43-141ad7af67e3" providerId="ADAL" clId="{48B824AD-1B2A-47A8-8D92-6FE6E622A650}" dt="2024-12-16T18:04:46.708" v="146405"/>
          <ac:cxnSpMkLst>
            <pc:docMk/>
            <pc:sldMk cId="2155983508" sldId="290"/>
            <ac:cxnSpMk id="453" creationId="{87FDAD4B-B097-BA1F-B5A8-870FB6045515}"/>
          </ac:cxnSpMkLst>
        </pc:cxnChg>
        <pc:cxnChg chg="add del mod ord">
          <ac:chgData name="Oğuz Öztekin" userId="33c0df0f-d5fe-4bda-8f43-141ad7af67e3" providerId="ADAL" clId="{48B824AD-1B2A-47A8-8D92-6FE6E622A650}" dt="2024-12-16T18:04:46.709" v="146408"/>
          <ac:cxnSpMkLst>
            <pc:docMk/>
            <pc:sldMk cId="2155983508" sldId="290"/>
            <ac:cxnSpMk id="454" creationId="{D4342898-2EBE-6A0B-042C-C317D557E1A8}"/>
          </ac:cxnSpMkLst>
        </pc:cxnChg>
        <pc:cxnChg chg="add del mod ord">
          <ac:chgData name="Oğuz Öztekin" userId="33c0df0f-d5fe-4bda-8f43-141ad7af67e3" providerId="ADAL" clId="{48B824AD-1B2A-47A8-8D92-6FE6E622A650}" dt="2024-12-16T18:04:46.709" v="146411"/>
          <ac:cxnSpMkLst>
            <pc:docMk/>
            <pc:sldMk cId="2155983508" sldId="290"/>
            <ac:cxnSpMk id="455" creationId="{C24ED635-2A28-FA87-BDD8-88C347CFCBF3}"/>
          </ac:cxnSpMkLst>
        </pc:cxnChg>
        <pc:cxnChg chg="add del mod ord">
          <ac:chgData name="Oğuz Öztekin" userId="33c0df0f-d5fe-4bda-8f43-141ad7af67e3" providerId="ADAL" clId="{48B824AD-1B2A-47A8-8D92-6FE6E622A650}" dt="2024-12-16T18:04:46.710" v="146414"/>
          <ac:cxnSpMkLst>
            <pc:docMk/>
            <pc:sldMk cId="2155983508" sldId="290"/>
            <ac:cxnSpMk id="456" creationId="{FA5CA03F-B7A4-7EC9-5561-80FE90710313}"/>
          </ac:cxnSpMkLst>
        </pc:cxnChg>
        <pc:cxnChg chg="add del mod ord">
          <ac:chgData name="Oğuz Öztekin" userId="33c0df0f-d5fe-4bda-8f43-141ad7af67e3" providerId="ADAL" clId="{48B824AD-1B2A-47A8-8D92-6FE6E622A650}" dt="2024-12-16T18:04:46.711" v="146417"/>
          <ac:cxnSpMkLst>
            <pc:docMk/>
            <pc:sldMk cId="2155983508" sldId="290"/>
            <ac:cxnSpMk id="457" creationId="{3AF4AE76-CE33-D4E3-CB6E-E7D452FCEA16}"/>
          </ac:cxnSpMkLst>
        </pc:cxnChg>
        <pc:cxnChg chg="add del mod ord">
          <ac:chgData name="Oğuz Öztekin" userId="33c0df0f-d5fe-4bda-8f43-141ad7af67e3" providerId="ADAL" clId="{48B824AD-1B2A-47A8-8D92-6FE6E622A650}" dt="2024-12-16T18:04:46.712" v="146420"/>
          <ac:cxnSpMkLst>
            <pc:docMk/>
            <pc:sldMk cId="2155983508" sldId="290"/>
            <ac:cxnSpMk id="458" creationId="{F5A38527-3ADB-131C-87F4-8FA9B629E301}"/>
          </ac:cxnSpMkLst>
        </pc:cxnChg>
        <pc:cxnChg chg="add del mod ord">
          <ac:chgData name="Oğuz Öztekin" userId="33c0df0f-d5fe-4bda-8f43-141ad7af67e3" providerId="ADAL" clId="{48B824AD-1B2A-47A8-8D92-6FE6E622A650}" dt="2024-12-16T18:04:46.712" v="146423"/>
          <ac:cxnSpMkLst>
            <pc:docMk/>
            <pc:sldMk cId="2155983508" sldId="290"/>
            <ac:cxnSpMk id="459" creationId="{83FE1F4E-683E-298A-F028-D019D4555E68}"/>
          </ac:cxnSpMkLst>
        </pc:cxnChg>
        <pc:cxnChg chg="add del mod ord">
          <ac:chgData name="Oğuz Öztekin" userId="33c0df0f-d5fe-4bda-8f43-141ad7af67e3" providerId="ADAL" clId="{48B824AD-1B2A-47A8-8D92-6FE6E622A650}" dt="2024-12-16T18:04:46.713" v="146426"/>
          <ac:cxnSpMkLst>
            <pc:docMk/>
            <pc:sldMk cId="2155983508" sldId="290"/>
            <ac:cxnSpMk id="460" creationId="{C7D402F6-F84E-72A5-7AA9-7C730A9237B6}"/>
          </ac:cxnSpMkLst>
        </pc:cxnChg>
        <pc:cxnChg chg="add del mod ord">
          <ac:chgData name="Oğuz Öztekin" userId="33c0df0f-d5fe-4bda-8f43-141ad7af67e3" providerId="ADAL" clId="{48B824AD-1B2A-47A8-8D92-6FE6E622A650}" dt="2024-12-16T18:04:46.714" v="146429"/>
          <ac:cxnSpMkLst>
            <pc:docMk/>
            <pc:sldMk cId="2155983508" sldId="290"/>
            <ac:cxnSpMk id="461" creationId="{A69322AA-9E71-A57E-14E1-6C48CF7F1D67}"/>
          </ac:cxnSpMkLst>
        </pc:cxnChg>
        <pc:cxnChg chg="add del mod ord">
          <ac:chgData name="Oğuz Öztekin" userId="33c0df0f-d5fe-4bda-8f43-141ad7af67e3" providerId="ADAL" clId="{48B824AD-1B2A-47A8-8D92-6FE6E622A650}" dt="2024-12-16T18:04:39.631" v="145697"/>
          <ac:cxnSpMkLst>
            <pc:docMk/>
            <pc:sldMk cId="2155983508" sldId="290"/>
            <ac:cxnSpMk id="462" creationId="{846EDE16-5840-82F7-C77C-467D23923DF0}"/>
          </ac:cxnSpMkLst>
        </pc:cxnChg>
        <pc:cxnChg chg="add del mod ord">
          <ac:chgData name="Oğuz Öztekin" userId="33c0df0f-d5fe-4bda-8f43-141ad7af67e3" providerId="ADAL" clId="{48B824AD-1B2A-47A8-8D92-6FE6E622A650}" dt="2024-12-16T18:04:39.635" v="145700"/>
          <ac:cxnSpMkLst>
            <pc:docMk/>
            <pc:sldMk cId="2155983508" sldId="290"/>
            <ac:cxnSpMk id="463" creationId="{1F2E1E11-DF8C-E9A6-A972-51A2ED940B8E}"/>
          </ac:cxnSpMkLst>
        </pc:cxnChg>
        <pc:cxnChg chg="add del mod ord">
          <ac:chgData name="Oğuz Öztekin" userId="33c0df0f-d5fe-4bda-8f43-141ad7af67e3" providerId="ADAL" clId="{48B824AD-1B2A-47A8-8D92-6FE6E622A650}" dt="2024-12-16T18:04:39.635" v="145703"/>
          <ac:cxnSpMkLst>
            <pc:docMk/>
            <pc:sldMk cId="2155983508" sldId="290"/>
            <ac:cxnSpMk id="464" creationId="{E489FA3C-0BB0-CBC3-CB6F-5B7A2CAA1D21}"/>
          </ac:cxnSpMkLst>
        </pc:cxnChg>
        <pc:cxnChg chg="add del mod ord">
          <ac:chgData name="Oğuz Öztekin" userId="33c0df0f-d5fe-4bda-8f43-141ad7af67e3" providerId="ADAL" clId="{48B824AD-1B2A-47A8-8D92-6FE6E622A650}" dt="2024-12-16T18:04:39.637" v="145706"/>
          <ac:cxnSpMkLst>
            <pc:docMk/>
            <pc:sldMk cId="2155983508" sldId="290"/>
            <ac:cxnSpMk id="465" creationId="{07233CE7-5944-36BC-CE3F-E49A0A46AB70}"/>
          </ac:cxnSpMkLst>
        </pc:cxnChg>
        <pc:cxnChg chg="add del mod ord">
          <ac:chgData name="Oğuz Öztekin" userId="33c0df0f-d5fe-4bda-8f43-141ad7af67e3" providerId="ADAL" clId="{48B824AD-1B2A-47A8-8D92-6FE6E622A650}" dt="2024-12-16T18:04:39.637" v="145709"/>
          <ac:cxnSpMkLst>
            <pc:docMk/>
            <pc:sldMk cId="2155983508" sldId="290"/>
            <ac:cxnSpMk id="466" creationId="{3E021EAD-1A29-6065-BA9B-C0F69DA061E4}"/>
          </ac:cxnSpMkLst>
        </pc:cxnChg>
        <pc:cxnChg chg="add del mod ord">
          <ac:chgData name="Oğuz Öztekin" userId="33c0df0f-d5fe-4bda-8f43-141ad7af67e3" providerId="ADAL" clId="{48B824AD-1B2A-47A8-8D92-6FE6E622A650}" dt="2024-12-16T18:04:39.637" v="145712"/>
          <ac:cxnSpMkLst>
            <pc:docMk/>
            <pc:sldMk cId="2155983508" sldId="290"/>
            <ac:cxnSpMk id="467" creationId="{30A317D9-C74D-5D5B-F4B1-B25E1E2339EF}"/>
          </ac:cxnSpMkLst>
        </pc:cxnChg>
        <pc:cxnChg chg="add del mod ord">
          <ac:chgData name="Oğuz Öztekin" userId="33c0df0f-d5fe-4bda-8f43-141ad7af67e3" providerId="ADAL" clId="{48B824AD-1B2A-47A8-8D92-6FE6E622A650}" dt="2024-12-16T18:04:39.637" v="145715"/>
          <ac:cxnSpMkLst>
            <pc:docMk/>
            <pc:sldMk cId="2155983508" sldId="290"/>
            <ac:cxnSpMk id="468" creationId="{FDFBC1BD-F3EC-0DAC-96C0-DFE6B73DE6D1}"/>
          </ac:cxnSpMkLst>
        </pc:cxnChg>
        <pc:cxnChg chg="add del mod ord">
          <ac:chgData name="Oğuz Öztekin" userId="33c0df0f-d5fe-4bda-8f43-141ad7af67e3" providerId="ADAL" clId="{48B824AD-1B2A-47A8-8D92-6FE6E622A650}" dt="2024-12-16T18:04:39.637" v="145718"/>
          <ac:cxnSpMkLst>
            <pc:docMk/>
            <pc:sldMk cId="2155983508" sldId="290"/>
            <ac:cxnSpMk id="469" creationId="{8E07422C-CF6F-1ACA-5699-394A51E7F9DE}"/>
          </ac:cxnSpMkLst>
        </pc:cxnChg>
        <pc:cxnChg chg="add del mod ord">
          <ac:chgData name="Oğuz Öztekin" userId="33c0df0f-d5fe-4bda-8f43-141ad7af67e3" providerId="ADAL" clId="{48B824AD-1B2A-47A8-8D92-6FE6E622A650}" dt="2024-12-16T18:04:39.637" v="145721"/>
          <ac:cxnSpMkLst>
            <pc:docMk/>
            <pc:sldMk cId="2155983508" sldId="290"/>
            <ac:cxnSpMk id="470" creationId="{12812242-BE0F-A211-EFDB-862DE416BFE8}"/>
          </ac:cxnSpMkLst>
        </pc:cxnChg>
        <pc:cxnChg chg="add del mod ord">
          <ac:chgData name="Oğuz Öztekin" userId="33c0df0f-d5fe-4bda-8f43-141ad7af67e3" providerId="ADAL" clId="{48B824AD-1B2A-47A8-8D92-6FE6E622A650}" dt="2024-12-16T18:04:39.642" v="145724"/>
          <ac:cxnSpMkLst>
            <pc:docMk/>
            <pc:sldMk cId="2155983508" sldId="290"/>
            <ac:cxnSpMk id="471" creationId="{7EF9EAF8-22C0-A18D-D5D4-0EDCC34F18CB}"/>
          </ac:cxnSpMkLst>
        </pc:cxnChg>
        <pc:cxnChg chg="add del mod ord">
          <ac:chgData name="Oğuz Öztekin" userId="33c0df0f-d5fe-4bda-8f43-141ad7af67e3" providerId="ADAL" clId="{48B824AD-1B2A-47A8-8D92-6FE6E622A650}" dt="2024-12-16T18:04:39.642" v="145727"/>
          <ac:cxnSpMkLst>
            <pc:docMk/>
            <pc:sldMk cId="2155983508" sldId="290"/>
            <ac:cxnSpMk id="472" creationId="{D2996F6F-E54F-B6BA-E8E6-30CEC6F59BE2}"/>
          </ac:cxnSpMkLst>
        </pc:cxnChg>
        <pc:cxnChg chg="add del mod ord">
          <ac:chgData name="Oğuz Öztekin" userId="33c0df0f-d5fe-4bda-8f43-141ad7af67e3" providerId="ADAL" clId="{48B824AD-1B2A-47A8-8D92-6FE6E622A650}" dt="2024-12-16T18:04:39.642" v="145730"/>
          <ac:cxnSpMkLst>
            <pc:docMk/>
            <pc:sldMk cId="2155983508" sldId="290"/>
            <ac:cxnSpMk id="473" creationId="{A3A20D1A-0154-BA80-A11C-06B3BB5BD04B}"/>
          </ac:cxnSpMkLst>
        </pc:cxnChg>
        <pc:cxnChg chg="add del mod ord">
          <ac:chgData name="Oğuz Öztekin" userId="33c0df0f-d5fe-4bda-8f43-141ad7af67e3" providerId="ADAL" clId="{48B824AD-1B2A-47A8-8D92-6FE6E622A650}" dt="2024-12-16T18:04:39.642" v="145733"/>
          <ac:cxnSpMkLst>
            <pc:docMk/>
            <pc:sldMk cId="2155983508" sldId="290"/>
            <ac:cxnSpMk id="474" creationId="{28A2B59F-4CC5-01F1-5FC4-266D4B5C7884}"/>
          </ac:cxnSpMkLst>
        </pc:cxnChg>
        <pc:cxnChg chg="add del mod ord">
          <ac:chgData name="Oğuz Öztekin" userId="33c0df0f-d5fe-4bda-8f43-141ad7af67e3" providerId="ADAL" clId="{48B824AD-1B2A-47A8-8D92-6FE6E622A650}" dt="2024-12-16T18:04:39.645" v="145736"/>
          <ac:cxnSpMkLst>
            <pc:docMk/>
            <pc:sldMk cId="2155983508" sldId="290"/>
            <ac:cxnSpMk id="475" creationId="{42CB0EE3-671B-AD0D-28DB-30BA0CA2B0AB}"/>
          </ac:cxnSpMkLst>
        </pc:cxnChg>
        <pc:cxnChg chg="add del mod ord">
          <ac:chgData name="Oğuz Öztekin" userId="33c0df0f-d5fe-4bda-8f43-141ad7af67e3" providerId="ADAL" clId="{48B824AD-1B2A-47A8-8D92-6FE6E622A650}" dt="2024-12-16T18:04:39.645" v="145739"/>
          <ac:cxnSpMkLst>
            <pc:docMk/>
            <pc:sldMk cId="2155983508" sldId="290"/>
            <ac:cxnSpMk id="476" creationId="{AD55C89E-691D-8E5D-51FD-98567B5E9297}"/>
          </ac:cxnSpMkLst>
        </pc:cxnChg>
        <pc:cxnChg chg="add del mod ord">
          <ac:chgData name="Oğuz Öztekin" userId="33c0df0f-d5fe-4bda-8f43-141ad7af67e3" providerId="ADAL" clId="{48B824AD-1B2A-47A8-8D92-6FE6E622A650}" dt="2024-12-16T18:04:39.645" v="145742"/>
          <ac:cxnSpMkLst>
            <pc:docMk/>
            <pc:sldMk cId="2155983508" sldId="290"/>
            <ac:cxnSpMk id="477" creationId="{7E9EDDF9-8D5E-0BCD-2348-281B901D1368}"/>
          </ac:cxnSpMkLst>
        </pc:cxnChg>
        <pc:cxnChg chg="add del mod ord">
          <ac:chgData name="Oğuz Öztekin" userId="33c0df0f-d5fe-4bda-8f43-141ad7af67e3" providerId="ADAL" clId="{48B824AD-1B2A-47A8-8D92-6FE6E622A650}" dt="2024-12-16T18:04:39.647" v="145745"/>
          <ac:cxnSpMkLst>
            <pc:docMk/>
            <pc:sldMk cId="2155983508" sldId="290"/>
            <ac:cxnSpMk id="478" creationId="{C847D476-4A17-925D-B035-65839CA1194B}"/>
          </ac:cxnSpMkLst>
        </pc:cxnChg>
        <pc:cxnChg chg="add del mod ord">
          <ac:chgData name="Oğuz Öztekin" userId="33c0df0f-d5fe-4bda-8f43-141ad7af67e3" providerId="ADAL" clId="{48B824AD-1B2A-47A8-8D92-6FE6E622A650}" dt="2024-12-16T18:04:39.647" v="145748"/>
          <ac:cxnSpMkLst>
            <pc:docMk/>
            <pc:sldMk cId="2155983508" sldId="290"/>
            <ac:cxnSpMk id="479" creationId="{2E35E04B-DF50-3EEA-535E-BA5FA21A2FEE}"/>
          </ac:cxnSpMkLst>
        </pc:cxnChg>
        <pc:cxnChg chg="add del mod ord">
          <ac:chgData name="Oğuz Öztekin" userId="33c0df0f-d5fe-4bda-8f43-141ad7af67e3" providerId="ADAL" clId="{48B824AD-1B2A-47A8-8D92-6FE6E622A650}" dt="2024-12-16T18:04:39.649" v="145751"/>
          <ac:cxnSpMkLst>
            <pc:docMk/>
            <pc:sldMk cId="2155983508" sldId="290"/>
            <ac:cxnSpMk id="480" creationId="{53A933E2-88DA-F0E4-1408-4505CF926143}"/>
          </ac:cxnSpMkLst>
        </pc:cxnChg>
        <pc:cxnChg chg="add del mod ord">
          <ac:chgData name="Oğuz Öztekin" userId="33c0df0f-d5fe-4bda-8f43-141ad7af67e3" providerId="ADAL" clId="{48B824AD-1B2A-47A8-8D92-6FE6E622A650}" dt="2024-12-16T18:04:39.649" v="145754"/>
          <ac:cxnSpMkLst>
            <pc:docMk/>
            <pc:sldMk cId="2155983508" sldId="290"/>
            <ac:cxnSpMk id="481" creationId="{900431A6-042F-9F2E-BB9B-0CA19788C5A2}"/>
          </ac:cxnSpMkLst>
        </pc:cxnChg>
        <pc:cxnChg chg="add del mod ord">
          <ac:chgData name="Oğuz Öztekin" userId="33c0df0f-d5fe-4bda-8f43-141ad7af67e3" providerId="ADAL" clId="{48B824AD-1B2A-47A8-8D92-6FE6E622A650}" dt="2024-12-16T18:04:32.107" v="144822"/>
          <ac:cxnSpMkLst>
            <pc:docMk/>
            <pc:sldMk cId="2155983508" sldId="290"/>
            <ac:cxnSpMk id="482" creationId="{C0015B51-FE41-DFE8-56F0-C7EFE545B9C7}"/>
          </ac:cxnSpMkLst>
        </pc:cxnChg>
        <pc:cxnChg chg="add del mod ord">
          <ac:chgData name="Oğuz Öztekin" userId="33c0df0f-d5fe-4bda-8f43-141ad7af67e3" providerId="ADAL" clId="{48B824AD-1B2A-47A8-8D92-6FE6E622A650}" dt="2024-12-16T18:04:32.110" v="144825"/>
          <ac:cxnSpMkLst>
            <pc:docMk/>
            <pc:sldMk cId="2155983508" sldId="290"/>
            <ac:cxnSpMk id="483" creationId="{F9AED07A-BCF1-7910-A7BB-DC80CB044AD1}"/>
          </ac:cxnSpMkLst>
        </pc:cxnChg>
        <pc:cxnChg chg="add del mod ord">
          <ac:chgData name="Oğuz Öztekin" userId="33c0df0f-d5fe-4bda-8f43-141ad7af67e3" providerId="ADAL" clId="{48B824AD-1B2A-47A8-8D92-6FE6E622A650}" dt="2024-12-16T18:04:32.111" v="144828"/>
          <ac:cxnSpMkLst>
            <pc:docMk/>
            <pc:sldMk cId="2155983508" sldId="290"/>
            <ac:cxnSpMk id="484" creationId="{2654071B-4868-690E-8357-AD89AE0806B4}"/>
          </ac:cxnSpMkLst>
        </pc:cxnChg>
        <pc:cxnChg chg="add del mod ord">
          <ac:chgData name="Oğuz Öztekin" userId="33c0df0f-d5fe-4bda-8f43-141ad7af67e3" providerId="ADAL" clId="{48B824AD-1B2A-47A8-8D92-6FE6E622A650}" dt="2024-12-16T18:04:32.111" v="144831"/>
          <ac:cxnSpMkLst>
            <pc:docMk/>
            <pc:sldMk cId="2155983508" sldId="290"/>
            <ac:cxnSpMk id="485" creationId="{947DAB5C-776D-A386-8E4B-18EC1237189B}"/>
          </ac:cxnSpMkLst>
        </pc:cxnChg>
        <pc:cxnChg chg="add del mod ord">
          <ac:chgData name="Oğuz Öztekin" userId="33c0df0f-d5fe-4bda-8f43-141ad7af67e3" providerId="ADAL" clId="{48B824AD-1B2A-47A8-8D92-6FE6E622A650}" dt="2024-12-16T18:04:32.112" v="144834"/>
          <ac:cxnSpMkLst>
            <pc:docMk/>
            <pc:sldMk cId="2155983508" sldId="290"/>
            <ac:cxnSpMk id="486" creationId="{4E5AFF22-E5B3-8B4F-E975-EB81F1ABB5DA}"/>
          </ac:cxnSpMkLst>
        </pc:cxnChg>
        <pc:cxnChg chg="add del mod ord">
          <ac:chgData name="Oğuz Öztekin" userId="33c0df0f-d5fe-4bda-8f43-141ad7af67e3" providerId="ADAL" clId="{48B824AD-1B2A-47A8-8D92-6FE6E622A650}" dt="2024-12-16T18:04:32.113" v="144837"/>
          <ac:cxnSpMkLst>
            <pc:docMk/>
            <pc:sldMk cId="2155983508" sldId="290"/>
            <ac:cxnSpMk id="487" creationId="{FA9B3153-FE8E-D947-09B3-C28A2984C641}"/>
          </ac:cxnSpMkLst>
        </pc:cxnChg>
        <pc:cxnChg chg="add del mod ord">
          <ac:chgData name="Oğuz Öztekin" userId="33c0df0f-d5fe-4bda-8f43-141ad7af67e3" providerId="ADAL" clId="{48B824AD-1B2A-47A8-8D92-6FE6E622A650}" dt="2024-12-16T18:04:32.114" v="144840"/>
          <ac:cxnSpMkLst>
            <pc:docMk/>
            <pc:sldMk cId="2155983508" sldId="290"/>
            <ac:cxnSpMk id="488" creationId="{119B0DD5-BB89-2AA7-AE2D-96B0086FF2C8}"/>
          </ac:cxnSpMkLst>
        </pc:cxnChg>
        <pc:cxnChg chg="add del mod ord">
          <ac:chgData name="Oğuz Öztekin" userId="33c0df0f-d5fe-4bda-8f43-141ad7af67e3" providerId="ADAL" clId="{48B824AD-1B2A-47A8-8D92-6FE6E622A650}" dt="2024-12-16T18:04:32.114" v="144843"/>
          <ac:cxnSpMkLst>
            <pc:docMk/>
            <pc:sldMk cId="2155983508" sldId="290"/>
            <ac:cxnSpMk id="489" creationId="{295CCF34-27E3-8967-0AEA-C0FAA79D0141}"/>
          </ac:cxnSpMkLst>
        </pc:cxnChg>
        <pc:cxnChg chg="add del mod ord">
          <ac:chgData name="Oğuz Öztekin" userId="33c0df0f-d5fe-4bda-8f43-141ad7af67e3" providerId="ADAL" clId="{48B824AD-1B2A-47A8-8D92-6FE6E622A650}" dt="2024-12-16T18:04:32.115" v="144846"/>
          <ac:cxnSpMkLst>
            <pc:docMk/>
            <pc:sldMk cId="2155983508" sldId="290"/>
            <ac:cxnSpMk id="490" creationId="{D27101CE-2E0C-76A7-5E93-73FCADB03332}"/>
          </ac:cxnSpMkLst>
        </pc:cxnChg>
        <pc:cxnChg chg="add del mod ord">
          <ac:chgData name="Oğuz Öztekin" userId="33c0df0f-d5fe-4bda-8f43-141ad7af67e3" providerId="ADAL" clId="{48B824AD-1B2A-47A8-8D92-6FE6E622A650}" dt="2024-12-16T18:04:32.115" v="144849"/>
          <ac:cxnSpMkLst>
            <pc:docMk/>
            <pc:sldMk cId="2155983508" sldId="290"/>
            <ac:cxnSpMk id="491" creationId="{0535AA4D-E18B-0D6D-0CF6-676AC6C78A3E}"/>
          </ac:cxnSpMkLst>
        </pc:cxnChg>
        <pc:cxnChg chg="add del mod ord">
          <ac:chgData name="Oğuz Öztekin" userId="33c0df0f-d5fe-4bda-8f43-141ad7af67e3" providerId="ADAL" clId="{48B824AD-1B2A-47A8-8D92-6FE6E622A650}" dt="2024-12-16T18:04:32.116" v="144852"/>
          <ac:cxnSpMkLst>
            <pc:docMk/>
            <pc:sldMk cId="2155983508" sldId="290"/>
            <ac:cxnSpMk id="492" creationId="{C2132E32-E009-2E3A-58D3-5FC723CBCA6E}"/>
          </ac:cxnSpMkLst>
        </pc:cxnChg>
        <pc:cxnChg chg="add del mod ord">
          <ac:chgData name="Oğuz Öztekin" userId="33c0df0f-d5fe-4bda-8f43-141ad7af67e3" providerId="ADAL" clId="{48B824AD-1B2A-47A8-8D92-6FE6E622A650}" dt="2024-12-16T18:04:32.117" v="144855"/>
          <ac:cxnSpMkLst>
            <pc:docMk/>
            <pc:sldMk cId="2155983508" sldId="290"/>
            <ac:cxnSpMk id="493" creationId="{DD59A7E1-E78C-CFAC-8323-E335B1A76FA3}"/>
          </ac:cxnSpMkLst>
        </pc:cxnChg>
        <pc:cxnChg chg="add del mod ord">
          <ac:chgData name="Oğuz Öztekin" userId="33c0df0f-d5fe-4bda-8f43-141ad7af67e3" providerId="ADAL" clId="{48B824AD-1B2A-47A8-8D92-6FE6E622A650}" dt="2024-12-16T18:04:32.118" v="144858"/>
          <ac:cxnSpMkLst>
            <pc:docMk/>
            <pc:sldMk cId="2155983508" sldId="290"/>
            <ac:cxnSpMk id="494" creationId="{BA090710-B5AA-2E5A-AD81-197C0626049E}"/>
          </ac:cxnSpMkLst>
        </pc:cxnChg>
        <pc:cxnChg chg="add del mod ord">
          <ac:chgData name="Oğuz Öztekin" userId="33c0df0f-d5fe-4bda-8f43-141ad7af67e3" providerId="ADAL" clId="{48B824AD-1B2A-47A8-8D92-6FE6E622A650}" dt="2024-12-16T18:04:32.119" v="144861"/>
          <ac:cxnSpMkLst>
            <pc:docMk/>
            <pc:sldMk cId="2155983508" sldId="290"/>
            <ac:cxnSpMk id="495" creationId="{E01F7B35-207A-B84B-8C36-3B7ADEDE33A1}"/>
          </ac:cxnSpMkLst>
        </pc:cxnChg>
        <pc:cxnChg chg="add del mod ord">
          <ac:chgData name="Oğuz Öztekin" userId="33c0df0f-d5fe-4bda-8f43-141ad7af67e3" providerId="ADAL" clId="{48B824AD-1B2A-47A8-8D92-6FE6E622A650}" dt="2024-12-16T18:04:32.119" v="144864"/>
          <ac:cxnSpMkLst>
            <pc:docMk/>
            <pc:sldMk cId="2155983508" sldId="290"/>
            <ac:cxnSpMk id="496" creationId="{610037E6-86DC-9D54-711D-0D4C4D83AE33}"/>
          </ac:cxnSpMkLst>
        </pc:cxnChg>
        <pc:cxnChg chg="add del mod ord">
          <ac:chgData name="Oğuz Öztekin" userId="33c0df0f-d5fe-4bda-8f43-141ad7af67e3" providerId="ADAL" clId="{48B824AD-1B2A-47A8-8D92-6FE6E622A650}" dt="2024-12-16T18:04:32.120" v="144867"/>
          <ac:cxnSpMkLst>
            <pc:docMk/>
            <pc:sldMk cId="2155983508" sldId="290"/>
            <ac:cxnSpMk id="497" creationId="{FA9648E1-6D7D-86FE-658C-9715062D9655}"/>
          </ac:cxnSpMkLst>
        </pc:cxnChg>
        <pc:cxnChg chg="add del mod ord">
          <ac:chgData name="Oğuz Öztekin" userId="33c0df0f-d5fe-4bda-8f43-141ad7af67e3" providerId="ADAL" clId="{48B824AD-1B2A-47A8-8D92-6FE6E622A650}" dt="2024-12-16T18:04:32.121" v="144870"/>
          <ac:cxnSpMkLst>
            <pc:docMk/>
            <pc:sldMk cId="2155983508" sldId="290"/>
            <ac:cxnSpMk id="498" creationId="{77FB0217-649C-778B-DD2A-1CDB66B7DED8}"/>
          </ac:cxnSpMkLst>
        </pc:cxnChg>
        <pc:cxnChg chg="add del mod ord">
          <ac:chgData name="Oğuz Öztekin" userId="33c0df0f-d5fe-4bda-8f43-141ad7af67e3" providerId="ADAL" clId="{48B824AD-1B2A-47A8-8D92-6FE6E622A650}" dt="2024-12-16T18:04:32.122" v="144873"/>
          <ac:cxnSpMkLst>
            <pc:docMk/>
            <pc:sldMk cId="2155983508" sldId="290"/>
            <ac:cxnSpMk id="499" creationId="{FA7E37E5-2F67-556B-EF37-3E8134F3E072}"/>
          </ac:cxnSpMkLst>
        </pc:cxnChg>
        <pc:cxnChg chg="add del mod ord">
          <ac:chgData name="Oğuz Öztekin" userId="33c0df0f-d5fe-4bda-8f43-141ad7af67e3" providerId="ADAL" clId="{48B824AD-1B2A-47A8-8D92-6FE6E622A650}" dt="2024-12-16T18:04:32.123" v="144876"/>
          <ac:cxnSpMkLst>
            <pc:docMk/>
            <pc:sldMk cId="2155983508" sldId="290"/>
            <ac:cxnSpMk id="500" creationId="{3489005A-9AC6-1027-1133-5430CF4946AD}"/>
          </ac:cxnSpMkLst>
        </pc:cxnChg>
        <pc:cxnChg chg="add del mod ord">
          <ac:chgData name="Oğuz Öztekin" userId="33c0df0f-d5fe-4bda-8f43-141ad7af67e3" providerId="ADAL" clId="{48B824AD-1B2A-47A8-8D92-6FE6E622A650}" dt="2024-12-16T18:04:32.124" v="144879"/>
          <ac:cxnSpMkLst>
            <pc:docMk/>
            <pc:sldMk cId="2155983508" sldId="290"/>
            <ac:cxnSpMk id="501" creationId="{B4709609-61D7-6567-50D4-915EC4A872D9}"/>
          </ac:cxnSpMkLst>
        </pc:cxnChg>
        <pc:cxnChg chg="add del mod ord">
          <ac:chgData name="Oğuz Öztekin" userId="33c0df0f-d5fe-4bda-8f43-141ad7af67e3" providerId="ADAL" clId="{48B824AD-1B2A-47A8-8D92-6FE6E622A650}" dt="2024-12-16T18:04:25.177" v="143747"/>
          <ac:cxnSpMkLst>
            <pc:docMk/>
            <pc:sldMk cId="2155983508" sldId="290"/>
            <ac:cxnSpMk id="502" creationId="{37A06027-6A2D-0F8F-5FBD-27A3C0B03529}"/>
          </ac:cxnSpMkLst>
        </pc:cxnChg>
        <pc:cxnChg chg="add del mod ord">
          <ac:chgData name="Oğuz Öztekin" userId="33c0df0f-d5fe-4bda-8f43-141ad7af67e3" providerId="ADAL" clId="{48B824AD-1B2A-47A8-8D92-6FE6E622A650}" dt="2024-12-16T18:04:25.177" v="143750"/>
          <ac:cxnSpMkLst>
            <pc:docMk/>
            <pc:sldMk cId="2155983508" sldId="290"/>
            <ac:cxnSpMk id="503" creationId="{3E85A228-FB90-51C0-8D43-0FADB00A1941}"/>
          </ac:cxnSpMkLst>
        </pc:cxnChg>
        <pc:cxnChg chg="add del mod ord">
          <ac:chgData name="Oğuz Öztekin" userId="33c0df0f-d5fe-4bda-8f43-141ad7af67e3" providerId="ADAL" clId="{48B824AD-1B2A-47A8-8D92-6FE6E622A650}" dt="2024-12-16T18:04:25.183" v="143753"/>
          <ac:cxnSpMkLst>
            <pc:docMk/>
            <pc:sldMk cId="2155983508" sldId="290"/>
            <ac:cxnSpMk id="504" creationId="{9E2F2835-DCC4-253E-B3C1-AA4F6CE039BA}"/>
          </ac:cxnSpMkLst>
        </pc:cxnChg>
        <pc:cxnChg chg="add del mod ord">
          <ac:chgData name="Oğuz Öztekin" userId="33c0df0f-d5fe-4bda-8f43-141ad7af67e3" providerId="ADAL" clId="{48B824AD-1B2A-47A8-8D92-6FE6E622A650}" dt="2024-12-16T18:04:25.184" v="143756"/>
          <ac:cxnSpMkLst>
            <pc:docMk/>
            <pc:sldMk cId="2155983508" sldId="290"/>
            <ac:cxnSpMk id="505" creationId="{AF330625-B903-6A38-5D74-2F1A689CBB12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59"/>
          <ac:cxnSpMkLst>
            <pc:docMk/>
            <pc:sldMk cId="2155983508" sldId="290"/>
            <ac:cxnSpMk id="506" creationId="{71E1DCE7-C398-E779-A89F-71F2E2872709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62"/>
          <ac:cxnSpMkLst>
            <pc:docMk/>
            <pc:sldMk cId="2155983508" sldId="290"/>
            <ac:cxnSpMk id="507" creationId="{3454C3D7-B2A0-9335-A22E-CAB7A05AA261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65"/>
          <ac:cxnSpMkLst>
            <pc:docMk/>
            <pc:sldMk cId="2155983508" sldId="290"/>
            <ac:cxnSpMk id="508" creationId="{0076B8D0-2D83-BB92-57DA-23233F1CAA23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68"/>
          <ac:cxnSpMkLst>
            <pc:docMk/>
            <pc:sldMk cId="2155983508" sldId="290"/>
            <ac:cxnSpMk id="509" creationId="{F2D8DAD4-812D-6774-53E1-A2F6C8585505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71"/>
          <ac:cxnSpMkLst>
            <pc:docMk/>
            <pc:sldMk cId="2155983508" sldId="290"/>
            <ac:cxnSpMk id="510" creationId="{083001DF-DF47-A2BC-44A5-77BBBF531E67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74"/>
          <ac:cxnSpMkLst>
            <pc:docMk/>
            <pc:sldMk cId="2155983508" sldId="290"/>
            <ac:cxnSpMk id="511" creationId="{7D1C44A3-4928-2008-DF81-052ABC5A38FE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77"/>
          <ac:cxnSpMkLst>
            <pc:docMk/>
            <pc:sldMk cId="2155983508" sldId="290"/>
            <ac:cxnSpMk id="512" creationId="{71D386D1-DCDC-8906-26BC-1E55D2A49506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80"/>
          <ac:cxnSpMkLst>
            <pc:docMk/>
            <pc:sldMk cId="2155983508" sldId="290"/>
            <ac:cxnSpMk id="513" creationId="{AE3E50F0-03BF-BB15-DD3B-4AD56B8FAF7E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83"/>
          <ac:cxnSpMkLst>
            <pc:docMk/>
            <pc:sldMk cId="2155983508" sldId="290"/>
            <ac:cxnSpMk id="514" creationId="{D08019A6-DB46-1CCA-5883-A2D7280C3B6D}"/>
          </ac:cxnSpMkLst>
        </pc:cxnChg>
        <pc:cxnChg chg="add del mod ord">
          <ac:chgData name="Oğuz Öztekin" userId="33c0df0f-d5fe-4bda-8f43-141ad7af67e3" providerId="ADAL" clId="{48B824AD-1B2A-47A8-8D92-6FE6E622A650}" dt="2024-12-16T18:04:25.186" v="143786"/>
          <ac:cxnSpMkLst>
            <pc:docMk/>
            <pc:sldMk cId="2155983508" sldId="290"/>
            <ac:cxnSpMk id="515" creationId="{393265D8-D8AB-2A76-65F9-4EC07CD4BE8E}"/>
          </ac:cxnSpMkLst>
        </pc:cxnChg>
        <pc:cxnChg chg="add del mod ord">
          <ac:chgData name="Oğuz Öztekin" userId="33c0df0f-d5fe-4bda-8f43-141ad7af67e3" providerId="ADAL" clId="{48B824AD-1B2A-47A8-8D92-6FE6E622A650}" dt="2024-12-16T18:04:25.193" v="143789"/>
          <ac:cxnSpMkLst>
            <pc:docMk/>
            <pc:sldMk cId="2155983508" sldId="290"/>
            <ac:cxnSpMk id="516" creationId="{FE20A576-2C8D-7595-AE5B-80D023BC0958}"/>
          </ac:cxnSpMkLst>
        </pc:cxnChg>
        <pc:cxnChg chg="add del mod ord">
          <ac:chgData name="Oğuz Öztekin" userId="33c0df0f-d5fe-4bda-8f43-141ad7af67e3" providerId="ADAL" clId="{48B824AD-1B2A-47A8-8D92-6FE6E622A650}" dt="2024-12-16T18:04:25.193" v="143792"/>
          <ac:cxnSpMkLst>
            <pc:docMk/>
            <pc:sldMk cId="2155983508" sldId="290"/>
            <ac:cxnSpMk id="517" creationId="{7BE0747A-0E55-42E8-A796-1002AF232B6C}"/>
          </ac:cxnSpMkLst>
        </pc:cxnChg>
        <pc:cxnChg chg="add del mod ord">
          <ac:chgData name="Oğuz Öztekin" userId="33c0df0f-d5fe-4bda-8f43-141ad7af67e3" providerId="ADAL" clId="{48B824AD-1B2A-47A8-8D92-6FE6E622A650}" dt="2024-12-16T18:04:25.193" v="143795"/>
          <ac:cxnSpMkLst>
            <pc:docMk/>
            <pc:sldMk cId="2155983508" sldId="290"/>
            <ac:cxnSpMk id="518" creationId="{7DF6B4AA-6C1E-F777-C504-0D0A873ABDD2}"/>
          </ac:cxnSpMkLst>
        </pc:cxnChg>
        <pc:cxnChg chg="add del mod ord">
          <ac:chgData name="Oğuz Öztekin" userId="33c0df0f-d5fe-4bda-8f43-141ad7af67e3" providerId="ADAL" clId="{48B824AD-1B2A-47A8-8D92-6FE6E622A650}" dt="2024-12-16T18:04:25.196" v="143798"/>
          <ac:cxnSpMkLst>
            <pc:docMk/>
            <pc:sldMk cId="2155983508" sldId="290"/>
            <ac:cxnSpMk id="519" creationId="{C159FF02-69F4-928D-B6C0-D2122A5CBFA0}"/>
          </ac:cxnSpMkLst>
        </pc:cxnChg>
        <pc:cxnChg chg="add del mod ord">
          <ac:chgData name="Oğuz Öztekin" userId="33c0df0f-d5fe-4bda-8f43-141ad7af67e3" providerId="ADAL" clId="{48B824AD-1B2A-47A8-8D92-6FE6E622A650}" dt="2024-12-16T18:04:25.196" v="143801"/>
          <ac:cxnSpMkLst>
            <pc:docMk/>
            <pc:sldMk cId="2155983508" sldId="290"/>
            <ac:cxnSpMk id="520" creationId="{98CEADFE-8DE2-C069-83D1-0421A1FB0EDB}"/>
          </ac:cxnSpMkLst>
        </pc:cxnChg>
        <pc:cxnChg chg="add del mod ord">
          <ac:chgData name="Oğuz Öztekin" userId="33c0df0f-d5fe-4bda-8f43-141ad7af67e3" providerId="ADAL" clId="{48B824AD-1B2A-47A8-8D92-6FE6E622A650}" dt="2024-12-16T18:04:25.196" v="143804"/>
          <ac:cxnSpMkLst>
            <pc:docMk/>
            <pc:sldMk cId="2155983508" sldId="290"/>
            <ac:cxnSpMk id="521" creationId="{DC7D7CEE-EBB5-D982-9C9F-8CFD9712DCEF}"/>
          </ac:cxnSpMkLst>
        </pc:cxnChg>
        <pc:cxnChg chg="add del mod ord">
          <ac:chgData name="Oğuz Öztekin" userId="33c0df0f-d5fe-4bda-8f43-141ad7af67e3" providerId="ADAL" clId="{48B824AD-1B2A-47A8-8D92-6FE6E622A650}" dt="2024-12-16T18:04:17.795" v="142472"/>
          <ac:cxnSpMkLst>
            <pc:docMk/>
            <pc:sldMk cId="2155983508" sldId="290"/>
            <ac:cxnSpMk id="522" creationId="{E087FD60-38C0-50B7-1324-06F78D13BD4C}"/>
          </ac:cxnSpMkLst>
        </pc:cxnChg>
        <pc:cxnChg chg="add del mod ord">
          <ac:chgData name="Oğuz Öztekin" userId="33c0df0f-d5fe-4bda-8f43-141ad7af67e3" providerId="ADAL" clId="{48B824AD-1B2A-47A8-8D92-6FE6E622A650}" dt="2024-12-16T18:04:17.795" v="142475"/>
          <ac:cxnSpMkLst>
            <pc:docMk/>
            <pc:sldMk cId="2155983508" sldId="290"/>
            <ac:cxnSpMk id="523" creationId="{4EB14675-CE6F-0BFC-205D-7A918744CCB0}"/>
          </ac:cxnSpMkLst>
        </pc:cxnChg>
        <pc:cxnChg chg="add del mod ord">
          <ac:chgData name="Oğuz Öztekin" userId="33c0df0f-d5fe-4bda-8f43-141ad7af67e3" providerId="ADAL" clId="{48B824AD-1B2A-47A8-8D92-6FE6E622A650}" dt="2024-12-16T18:04:17.795" v="142478"/>
          <ac:cxnSpMkLst>
            <pc:docMk/>
            <pc:sldMk cId="2155983508" sldId="290"/>
            <ac:cxnSpMk id="524" creationId="{A40E95E8-C7BA-1DE4-BEDF-136CF0567545}"/>
          </ac:cxnSpMkLst>
        </pc:cxnChg>
        <pc:cxnChg chg="add del mod ord">
          <ac:chgData name="Oğuz Öztekin" userId="33c0df0f-d5fe-4bda-8f43-141ad7af67e3" providerId="ADAL" clId="{48B824AD-1B2A-47A8-8D92-6FE6E622A650}" dt="2024-12-16T18:04:17.802" v="142481"/>
          <ac:cxnSpMkLst>
            <pc:docMk/>
            <pc:sldMk cId="2155983508" sldId="290"/>
            <ac:cxnSpMk id="525" creationId="{AD986377-1BC8-49FC-82D6-A351E64D5F07}"/>
          </ac:cxnSpMkLst>
        </pc:cxnChg>
        <pc:cxnChg chg="add del mod ord">
          <ac:chgData name="Oğuz Öztekin" userId="33c0df0f-d5fe-4bda-8f43-141ad7af67e3" providerId="ADAL" clId="{48B824AD-1B2A-47A8-8D92-6FE6E622A650}" dt="2024-12-16T18:04:17.802" v="142484"/>
          <ac:cxnSpMkLst>
            <pc:docMk/>
            <pc:sldMk cId="2155983508" sldId="290"/>
            <ac:cxnSpMk id="526" creationId="{82BF4CE3-B56B-6BE1-3866-F265477ABDBD}"/>
          </ac:cxnSpMkLst>
        </pc:cxnChg>
        <pc:cxnChg chg="add del mod ord">
          <ac:chgData name="Oğuz Öztekin" userId="33c0df0f-d5fe-4bda-8f43-141ad7af67e3" providerId="ADAL" clId="{48B824AD-1B2A-47A8-8D92-6FE6E622A650}" dt="2024-12-16T18:04:17.804" v="142487"/>
          <ac:cxnSpMkLst>
            <pc:docMk/>
            <pc:sldMk cId="2155983508" sldId="290"/>
            <ac:cxnSpMk id="527" creationId="{7FD550C9-0DDB-60BD-C62C-6A6CC8F0B6CD}"/>
          </ac:cxnSpMkLst>
        </pc:cxnChg>
        <pc:cxnChg chg="add del mod ord">
          <ac:chgData name="Oğuz Öztekin" userId="33c0df0f-d5fe-4bda-8f43-141ad7af67e3" providerId="ADAL" clId="{48B824AD-1B2A-47A8-8D92-6FE6E622A650}" dt="2024-12-16T18:04:17.804" v="142490"/>
          <ac:cxnSpMkLst>
            <pc:docMk/>
            <pc:sldMk cId="2155983508" sldId="290"/>
            <ac:cxnSpMk id="528" creationId="{C12F6A09-F461-61F9-26E0-7C2E0E2E6BDF}"/>
          </ac:cxnSpMkLst>
        </pc:cxnChg>
        <pc:cxnChg chg="add del mod ord">
          <ac:chgData name="Oğuz Öztekin" userId="33c0df0f-d5fe-4bda-8f43-141ad7af67e3" providerId="ADAL" clId="{48B824AD-1B2A-47A8-8D92-6FE6E622A650}" dt="2024-12-16T18:04:17.804" v="142493"/>
          <ac:cxnSpMkLst>
            <pc:docMk/>
            <pc:sldMk cId="2155983508" sldId="290"/>
            <ac:cxnSpMk id="529" creationId="{4928E655-CA2B-2CE0-0BA2-7B0DE79FA350}"/>
          </ac:cxnSpMkLst>
        </pc:cxnChg>
        <pc:cxnChg chg="add del mod ord">
          <ac:chgData name="Oğuz Öztekin" userId="33c0df0f-d5fe-4bda-8f43-141ad7af67e3" providerId="ADAL" clId="{48B824AD-1B2A-47A8-8D92-6FE6E622A650}" dt="2024-12-16T18:04:17.804" v="142496"/>
          <ac:cxnSpMkLst>
            <pc:docMk/>
            <pc:sldMk cId="2155983508" sldId="290"/>
            <ac:cxnSpMk id="530" creationId="{D0CC1B58-0FE1-6D51-BCBF-FFF74A2E92AE}"/>
          </ac:cxnSpMkLst>
        </pc:cxnChg>
        <pc:cxnChg chg="add del mod ord">
          <ac:chgData name="Oğuz Öztekin" userId="33c0df0f-d5fe-4bda-8f43-141ad7af67e3" providerId="ADAL" clId="{48B824AD-1B2A-47A8-8D92-6FE6E622A650}" dt="2024-12-16T18:04:17.804" v="142499"/>
          <ac:cxnSpMkLst>
            <pc:docMk/>
            <pc:sldMk cId="2155983508" sldId="290"/>
            <ac:cxnSpMk id="531" creationId="{DDFDE817-DF91-0077-0267-25B66BCC852D}"/>
          </ac:cxnSpMkLst>
        </pc:cxnChg>
        <pc:cxnChg chg="add del mod ord">
          <ac:chgData name="Oğuz Öztekin" userId="33c0df0f-d5fe-4bda-8f43-141ad7af67e3" providerId="ADAL" clId="{48B824AD-1B2A-47A8-8D92-6FE6E622A650}" dt="2024-12-16T18:04:17.804" v="142502"/>
          <ac:cxnSpMkLst>
            <pc:docMk/>
            <pc:sldMk cId="2155983508" sldId="290"/>
            <ac:cxnSpMk id="532" creationId="{419F03AC-FB75-27B1-C637-E4AF3A514510}"/>
          </ac:cxnSpMkLst>
        </pc:cxnChg>
        <pc:cxnChg chg="add del mod ord">
          <ac:chgData name="Oğuz Öztekin" userId="33c0df0f-d5fe-4bda-8f43-141ad7af67e3" providerId="ADAL" clId="{48B824AD-1B2A-47A8-8D92-6FE6E622A650}" dt="2024-12-16T18:04:17.804" v="142505"/>
          <ac:cxnSpMkLst>
            <pc:docMk/>
            <pc:sldMk cId="2155983508" sldId="290"/>
            <ac:cxnSpMk id="533" creationId="{47CC7F01-F729-74CD-ED01-D93EB25532D5}"/>
          </ac:cxnSpMkLst>
        </pc:cxnChg>
        <pc:cxnChg chg="add del mod ord">
          <ac:chgData name="Oğuz Öztekin" userId="33c0df0f-d5fe-4bda-8f43-141ad7af67e3" providerId="ADAL" clId="{48B824AD-1B2A-47A8-8D92-6FE6E622A650}" dt="2024-12-16T18:04:17.810" v="142508"/>
          <ac:cxnSpMkLst>
            <pc:docMk/>
            <pc:sldMk cId="2155983508" sldId="290"/>
            <ac:cxnSpMk id="534" creationId="{09ACA5EA-62DB-E9FB-540C-65820200A529}"/>
          </ac:cxnSpMkLst>
        </pc:cxnChg>
        <pc:cxnChg chg="add del mod ord">
          <ac:chgData name="Oğuz Öztekin" userId="33c0df0f-d5fe-4bda-8f43-141ad7af67e3" providerId="ADAL" clId="{48B824AD-1B2A-47A8-8D92-6FE6E622A650}" dt="2024-12-16T18:04:17.810" v="142511"/>
          <ac:cxnSpMkLst>
            <pc:docMk/>
            <pc:sldMk cId="2155983508" sldId="290"/>
            <ac:cxnSpMk id="535" creationId="{510A6FA1-8CCF-B9C0-20B6-C73CE469DB6B}"/>
          </ac:cxnSpMkLst>
        </pc:cxnChg>
        <pc:cxnChg chg="add del mod ord">
          <ac:chgData name="Oğuz Öztekin" userId="33c0df0f-d5fe-4bda-8f43-141ad7af67e3" providerId="ADAL" clId="{48B824AD-1B2A-47A8-8D92-6FE6E622A650}" dt="2024-12-16T18:04:17.812" v="142514"/>
          <ac:cxnSpMkLst>
            <pc:docMk/>
            <pc:sldMk cId="2155983508" sldId="290"/>
            <ac:cxnSpMk id="536" creationId="{AAAA8F3D-9644-8706-E372-922A72E32C72}"/>
          </ac:cxnSpMkLst>
        </pc:cxnChg>
        <pc:cxnChg chg="add del mod ord">
          <ac:chgData name="Oğuz Öztekin" userId="33c0df0f-d5fe-4bda-8f43-141ad7af67e3" providerId="ADAL" clId="{48B824AD-1B2A-47A8-8D92-6FE6E622A650}" dt="2024-12-16T18:04:17.812" v="142517"/>
          <ac:cxnSpMkLst>
            <pc:docMk/>
            <pc:sldMk cId="2155983508" sldId="290"/>
            <ac:cxnSpMk id="537" creationId="{EA6CD085-EF13-7979-47A2-06A6FB8B4BDA}"/>
          </ac:cxnSpMkLst>
        </pc:cxnChg>
        <pc:cxnChg chg="add del mod ord">
          <ac:chgData name="Oğuz Öztekin" userId="33c0df0f-d5fe-4bda-8f43-141ad7af67e3" providerId="ADAL" clId="{48B824AD-1B2A-47A8-8D92-6FE6E622A650}" dt="2024-12-16T18:04:17.812" v="142520"/>
          <ac:cxnSpMkLst>
            <pc:docMk/>
            <pc:sldMk cId="2155983508" sldId="290"/>
            <ac:cxnSpMk id="538" creationId="{D69B9085-A3F2-7C72-675C-D41A1C53E9BA}"/>
          </ac:cxnSpMkLst>
        </pc:cxnChg>
        <pc:cxnChg chg="add del mod ord">
          <ac:chgData name="Oğuz Öztekin" userId="33c0df0f-d5fe-4bda-8f43-141ad7af67e3" providerId="ADAL" clId="{48B824AD-1B2A-47A8-8D92-6FE6E622A650}" dt="2024-12-16T18:04:17.812" v="142523"/>
          <ac:cxnSpMkLst>
            <pc:docMk/>
            <pc:sldMk cId="2155983508" sldId="290"/>
            <ac:cxnSpMk id="539" creationId="{97DD87CE-57D0-E1F5-3CED-4F2FE7D628F4}"/>
          </ac:cxnSpMkLst>
        </pc:cxnChg>
        <pc:cxnChg chg="add del mod ord">
          <ac:chgData name="Oğuz Öztekin" userId="33c0df0f-d5fe-4bda-8f43-141ad7af67e3" providerId="ADAL" clId="{48B824AD-1B2A-47A8-8D92-6FE6E622A650}" dt="2024-12-16T18:04:17.812" v="142526"/>
          <ac:cxnSpMkLst>
            <pc:docMk/>
            <pc:sldMk cId="2155983508" sldId="290"/>
            <ac:cxnSpMk id="540" creationId="{8E72EDC4-AC1E-D04A-5D21-3C658A3A92A8}"/>
          </ac:cxnSpMkLst>
        </pc:cxnChg>
        <pc:cxnChg chg="add del mod ord">
          <ac:chgData name="Oğuz Öztekin" userId="33c0df0f-d5fe-4bda-8f43-141ad7af67e3" providerId="ADAL" clId="{48B824AD-1B2A-47A8-8D92-6FE6E622A650}" dt="2024-12-16T18:04:17.812" v="142529"/>
          <ac:cxnSpMkLst>
            <pc:docMk/>
            <pc:sldMk cId="2155983508" sldId="290"/>
            <ac:cxnSpMk id="541" creationId="{A04C6753-2D85-0804-9930-F1AD1B0D287F}"/>
          </ac:cxnSpMkLst>
        </pc:cxnChg>
        <pc:cxnChg chg="add del mod ord">
          <ac:chgData name="Oğuz Öztekin" userId="33c0df0f-d5fe-4bda-8f43-141ad7af67e3" providerId="ADAL" clId="{48B824AD-1B2A-47A8-8D92-6FE6E622A650}" dt="2024-12-16T18:04:10.260" v="140993"/>
          <ac:cxnSpMkLst>
            <pc:docMk/>
            <pc:sldMk cId="2155983508" sldId="290"/>
            <ac:cxnSpMk id="542" creationId="{DC6ACB91-1EA0-0924-C5A1-6D766FFA7D8B}"/>
          </ac:cxnSpMkLst>
        </pc:cxnChg>
        <pc:cxnChg chg="add del mod ord">
          <ac:chgData name="Oğuz Öztekin" userId="33c0df0f-d5fe-4bda-8f43-141ad7af67e3" providerId="ADAL" clId="{48B824AD-1B2A-47A8-8D92-6FE6E622A650}" dt="2024-12-16T18:04:10.260" v="140996"/>
          <ac:cxnSpMkLst>
            <pc:docMk/>
            <pc:sldMk cId="2155983508" sldId="290"/>
            <ac:cxnSpMk id="543" creationId="{4C4C935A-0722-E7C9-FE79-0F382C405777}"/>
          </ac:cxnSpMkLst>
        </pc:cxnChg>
        <pc:cxnChg chg="add del mod ord">
          <ac:chgData name="Oğuz Öztekin" userId="33c0df0f-d5fe-4bda-8f43-141ad7af67e3" providerId="ADAL" clId="{48B824AD-1B2A-47A8-8D92-6FE6E622A650}" dt="2024-12-16T18:04:10.260" v="140999"/>
          <ac:cxnSpMkLst>
            <pc:docMk/>
            <pc:sldMk cId="2155983508" sldId="290"/>
            <ac:cxnSpMk id="544" creationId="{59A684C0-F6AB-4E21-8BCC-001FFA1D809D}"/>
          </ac:cxnSpMkLst>
        </pc:cxnChg>
        <pc:cxnChg chg="add del mod ord">
          <ac:chgData name="Oğuz Öztekin" userId="33c0df0f-d5fe-4bda-8f43-141ad7af67e3" providerId="ADAL" clId="{48B824AD-1B2A-47A8-8D92-6FE6E622A650}" dt="2024-12-16T18:04:10.263" v="141002"/>
          <ac:cxnSpMkLst>
            <pc:docMk/>
            <pc:sldMk cId="2155983508" sldId="290"/>
            <ac:cxnSpMk id="545" creationId="{35B373D2-8B90-3A29-C815-84AC6274192F}"/>
          </ac:cxnSpMkLst>
        </pc:cxnChg>
        <pc:cxnChg chg="add del mod ord">
          <ac:chgData name="Oğuz Öztekin" userId="33c0df0f-d5fe-4bda-8f43-141ad7af67e3" providerId="ADAL" clId="{48B824AD-1B2A-47A8-8D92-6FE6E622A650}" dt="2024-12-16T18:04:10.263" v="141005"/>
          <ac:cxnSpMkLst>
            <pc:docMk/>
            <pc:sldMk cId="2155983508" sldId="290"/>
            <ac:cxnSpMk id="546" creationId="{09A9EDA5-16B5-ACE4-79FE-B421A8EE9FDC}"/>
          </ac:cxnSpMkLst>
        </pc:cxnChg>
        <pc:cxnChg chg="add del mod ord">
          <ac:chgData name="Oğuz Öztekin" userId="33c0df0f-d5fe-4bda-8f43-141ad7af67e3" providerId="ADAL" clId="{48B824AD-1B2A-47A8-8D92-6FE6E622A650}" dt="2024-12-16T18:04:10.263" v="141008"/>
          <ac:cxnSpMkLst>
            <pc:docMk/>
            <pc:sldMk cId="2155983508" sldId="290"/>
            <ac:cxnSpMk id="547" creationId="{E8E43680-C5DF-2A76-43D3-70B15F62B06F}"/>
          </ac:cxnSpMkLst>
        </pc:cxnChg>
        <pc:cxnChg chg="add del mod ord">
          <ac:chgData name="Oğuz Öztekin" userId="33c0df0f-d5fe-4bda-8f43-141ad7af67e3" providerId="ADAL" clId="{48B824AD-1B2A-47A8-8D92-6FE6E622A650}" dt="2024-12-16T18:04:10.263" v="141011"/>
          <ac:cxnSpMkLst>
            <pc:docMk/>
            <pc:sldMk cId="2155983508" sldId="290"/>
            <ac:cxnSpMk id="548" creationId="{BA277183-AB45-1CC8-33D3-43A3B1B924C6}"/>
          </ac:cxnSpMkLst>
        </pc:cxnChg>
        <pc:cxnChg chg="add del mod ord">
          <ac:chgData name="Oğuz Öztekin" userId="33c0df0f-d5fe-4bda-8f43-141ad7af67e3" providerId="ADAL" clId="{48B824AD-1B2A-47A8-8D92-6FE6E622A650}" dt="2024-12-16T18:04:10.263" v="141014"/>
          <ac:cxnSpMkLst>
            <pc:docMk/>
            <pc:sldMk cId="2155983508" sldId="290"/>
            <ac:cxnSpMk id="549" creationId="{F67B51AB-1291-8CCF-BFA8-9D6F872B0B0F}"/>
          </ac:cxnSpMkLst>
        </pc:cxnChg>
        <pc:cxnChg chg="add del mod ord">
          <ac:chgData name="Oğuz Öztekin" userId="33c0df0f-d5fe-4bda-8f43-141ad7af67e3" providerId="ADAL" clId="{48B824AD-1B2A-47A8-8D92-6FE6E622A650}" dt="2024-12-16T18:04:10.268" v="141017"/>
          <ac:cxnSpMkLst>
            <pc:docMk/>
            <pc:sldMk cId="2155983508" sldId="290"/>
            <ac:cxnSpMk id="550" creationId="{8EEF1633-A645-7DC3-3F6A-05292383DAEF}"/>
          </ac:cxnSpMkLst>
        </pc:cxnChg>
        <pc:cxnChg chg="add del mod ord">
          <ac:chgData name="Oğuz Öztekin" userId="33c0df0f-d5fe-4bda-8f43-141ad7af67e3" providerId="ADAL" clId="{48B824AD-1B2A-47A8-8D92-6FE6E622A650}" dt="2024-12-16T18:04:10.269" v="141020"/>
          <ac:cxnSpMkLst>
            <pc:docMk/>
            <pc:sldMk cId="2155983508" sldId="290"/>
            <ac:cxnSpMk id="551" creationId="{D26BC622-F946-3B07-6CA8-A2331BD607E4}"/>
          </ac:cxnSpMkLst>
        </pc:cxnChg>
        <pc:cxnChg chg="add del mod ord">
          <ac:chgData name="Oğuz Öztekin" userId="33c0df0f-d5fe-4bda-8f43-141ad7af67e3" providerId="ADAL" clId="{48B824AD-1B2A-47A8-8D92-6FE6E622A650}" dt="2024-12-16T18:04:10.270" v="141023"/>
          <ac:cxnSpMkLst>
            <pc:docMk/>
            <pc:sldMk cId="2155983508" sldId="290"/>
            <ac:cxnSpMk id="552" creationId="{73291A33-D5C7-0409-E406-072F99A03C05}"/>
          </ac:cxnSpMkLst>
        </pc:cxnChg>
        <pc:cxnChg chg="add del mod ord">
          <ac:chgData name="Oğuz Öztekin" userId="33c0df0f-d5fe-4bda-8f43-141ad7af67e3" providerId="ADAL" clId="{48B824AD-1B2A-47A8-8D92-6FE6E622A650}" dt="2024-12-16T18:04:10.270" v="141026"/>
          <ac:cxnSpMkLst>
            <pc:docMk/>
            <pc:sldMk cId="2155983508" sldId="290"/>
            <ac:cxnSpMk id="553" creationId="{C0620CF7-9FE5-DD24-3CC7-D16D2C0A5C2B}"/>
          </ac:cxnSpMkLst>
        </pc:cxnChg>
        <pc:cxnChg chg="add del mod ord">
          <ac:chgData name="Oğuz Öztekin" userId="33c0df0f-d5fe-4bda-8f43-141ad7af67e3" providerId="ADAL" clId="{48B824AD-1B2A-47A8-8D92-6FE6E622A650}" dt="2024-12-16T18:04:10.273" v="141029"/>
          <ac:cxnSpMkLst>
            <pc:docMk/>
            <pc:sldMk cId="2155983508" sldId="290"/>
            <ac:cxnSpMk id="554" creationId="{2D058380-7A90-8E40-FF8F-9134E3626092}"/>
          </ac:cxnSpMkLst>
        </pc:cxnChg>
        <pc:cxnChg chg="add del mod ord">
          <ac:chgData name="Oğuz Öztekin" userId="33c0df0f-d5fe-4bda-8f43-141ad7af67e3" providerId="ADAL" clId="{48B824AD-1B2A-47A8-8D92-6FE6E622A650}" dt="2024-12-16T18:04:10.274" v="141032"/>
          <ac:cxnSpMkLst>
            <pc:docMk/>
            <pc:sldMk cId="2155983508" sldId="290"/>
            <ac:cxnSpMk id="555" creationId="{D4112CA5-9179-E7B8-8976-8AA7228136B2}"/>
          </ac:cxnSpMkLst>
        </pc:cxnChg>
        <pc:cxnChg chg="add del mod ord">
          <ac:chgData name="Oğuz Öztekin" userId="33c0df0f-d5fe-4bda-8f43-141ad7af67e3" providerId="ADAL" clId="{48B824AD-1B2A-47A8-8D92-6FE6E622A650}" dt="2024-12-16T18:04:10.274" v="141035"/>
          <ac:cxnSpMkLst>
            <pc:docMk/>
            <pc:sldMk cId="2155983508" sldId="290"/>
            <ac:cxnSpMk id="556" creationId="{21D28F62-71E0-10CD-191B-3E2371C7CDF8}"/>
          </ac:cxnSpMkLst>
        </pc:cxnChg>
        <pc:cxnChg chg="add del mod ord">
          <ac:chgData name="Oğuz Öztekin" userId="33c0df0f-d5fe-4bda-8f43-141ad7af67e3" providerId="ADAL" clId="{48B824AD-1B2A-47A8-8D92-6FE6E622A650}" dt="2024-12-16T18:04:10.274" v="141038"/>
          <ac:cxnSpMkLst>
            <pc:docMk/>
            <pc:sldMk cId="2155983508" sldId="290"/>
            <ac:cxnSpMk id="557" creationId="{A1C3E5DB-71C4-1DAE-A734-C790182D612D}"/>
          </ac:cxnSpMkLst>
        </pc:cxnChg>
        <pc:cxnChg chg="add del mod ord">
          <ac:chgData name="Oğuz Öztekin" userId="33c0df0f-d5fe-4bda-8f43-141ad7af67e3" providerId="ADAL" clId="{48B824AD-1B2A-47A8-8D92-6FE6E622A650}" dt="2024-12-16T18:04:10.274" v="141041"/>
          <ac:cxnSpMkLst>
            <pc:docMk/>
            <pc:sldMk cId="2155983508" sldId="290"/>
            <ac:cxnSpMk id="558" creationId="{44C21FE5-481A-81E6-3ED9-25D76DD4BF83}"/>
          </ac:cxnSpMkLst>
        </pc:cxnChg>
        <pc:cxnChg chg="add del mod ord">
          <ac:chgData name="Oğuz Öztekin" userId="33c0df0f-d5fe-4bda-8f43-141ad7af67e3" providerId="ADAL" clId="{48B824AD-1B2A-47A8-8D92-6FE6E622A650}" dt="2024-12-16T18:04:10.274" v="141044"/>
          <ac:cxnSpMkLst>
            <pc:docMk/>
            <pc:sldMk cId="2155983508" sldId="290"/>
            <ac:cxnSpMk id="559" creationId="{334800D5-ADCF-2846-F887-EE42148E1A52}"/>
          </ac:cxnSpMkLst>
        </pc:cxnChg>
        <pc:cxnChg chg="add del mod ord">
          <ac:chgData name="Oğuz Öztekin" userId="33c0df0f-d5fe-4bda-8f43-141ad7af67e3" providerId="ADAL" clId="{48B824AD-1B2A-47A8-8D92-6FE6E622A650}" dt="2024-12-16T18:04:10.274" v="141047"/>
          <ac:cxnSpMkLst>
            <pc:docMk/>
            <pc:sldMk cId="2155983508" sldId="290"/>
            <ac:cxnSpMk id="560" creationId="{BDF3BCBB-5246-BAC2-45AA-507A12F566A9}"/>
          </ac:cxnSpMkLst>
        </pc:cxnChg>
        <pc:cxnChg chg="add del mod ord">
          <ac:chgData name="Oğuz Öztekin" userId="33c0df0f-d5fe-4bda-8f43-141ad7af67e3" providerId="ADAL" clId="{48B824AD-1B2A-47A8-8D92-6FE6E622A650}" dt="2024-12-16T18:04:10.279" v="141050"/>
          <ac:cxnSpMkLst>
            <pc:docMk/>
            <pc:sldMk cId="2155983508" sldId="290"/>
            <ac:cxnSpMk id="561" creationId="{5386B840-2DF5-68C7-6174-8C1C2F289E5B}"/>
          </ac:cxnSpMkLst>
        </pc:cxnChg>
        <pc:cxnChg chg="add del mod ord">
          <ac:chgData name="Oğuz Öztekin" userId="33c0df0f-d5fe-4bda-8f43-141ad7af67e3" providerId="ADAL" clId="{48B824AD-1B2A-47A8-8D92-6FE6E622A650}" dt="2024-12-16T18:03:59.625" v="139314"/>
          <ac:cxnSpMkLst>
            <pc:docMk/>
            <pc:sldMk cId="2155983508" sldId="290"/>
            <ac:cxnSpMk id="562" creationId="{16D01232-1F4D-19CE-7B48-90316C780D7D}"/>
          </ac:cxnSpMkLst>
        </pc:cxnChg>
        <pc:cxnChg chg="add del mod ord">
          <ac:chgData name="Oğuz Öztekin" userId="33c0df0f-d5fe-4bda-8f43-141ad7af67e3" providerId="ADAL" clId="{48B824AD-1B2A-47A8-8D92-6FE6E622A650}" dt="2024-12-16T18:03:59.625" v="139317"/>
          <ac:cxnSpMkLst>
            <pc:docMk/>
            <pc:sldMk cId="2155983508" sldId="290"/>
            <ac:cxnSpMk id="563" creationId="{D0080197-95B8-5798-FA99-74BEA3FA3B4B}"/>
          </ac:cxnSpMkLst>
        </pc:cxnChg>
        <pc:cxnChg chg="add del mod ord">
          <ac:chgData name="Oğuz Öztekin" userId="33c0df0f-d5fe-4bda-8f43-141ad7af67e3" providerId="ADAL" clId="{48B824AD-1B2A-47A8-8D92-6FE6E622A650}" dt="2024-12-16T18:03:59.625" v="139320"/>
          <ac:cxnSpMkLst>
            <pc:docMk/>
            <pc:sldMk cId="2155983508" sldId="290"/>
            <ac:cxnSpMk id="564" creationId="{93C1E2BB-6FAB-C118-65ED-43563E3F4685}"/>
          </ac:cxnSpMkLst>
        </pc:cxnChg>
        <pc:cxnChg chg="add del mod ord">
          <ac:chgData name="Oğuz Öztekin" userId="33c0df0f-d5fe-4bda-8f43-141ad7af67e3" providerId="ADAL" clId="{48B824AD-1B2A-47A8-8D92-6FE6E622A650}" dt="2024-12-16T18:03:59.625" v="139323"/>
          <ac:cxnSpMkLst>
            <pc:docMk/>
            <pc:sldMk cId="2155983508" sldId="290"/>
            <ac:cxnSpMk id="565" creationId="{AA838E81-1CE9-049F-F18A-087BD4CE3F77}"/>
          </ac:cxnSpMkLst>
        </pc:cxnChg>
        <pc:cxnChg chg="add del mod ord">
          <ac:chgData name="Oğuz Öztekin" userId="33c0df0f-d5fe-4bda-8f43-141ad7af67e3" providerId="ADAL" clId="{48B824AD-1B2A-47A8-8D92-6FE6E622A650}" dt="2024-12-16T18:03:59.625" v="139326"/>
          <ac:cxnSpMkLst>
            <pc:docMk/>
            <pc:sldMk cId="2155983508" sldId="290"/>
            <ac:cxnSpMk id="566" creationId="{121AFA34-4177-29FA-C98A-A3E10E508A66}"/>
          </ac:cxnSpMkLst>
        </pc:cxnChg>
        <pc:cxnChg chg="add del mod ord">
          <ac:chgData name="Oğuz Öztekin" userId="33c0df0f-d5fe-4bda-8f43-141ad7af67e3" providerId="ADAL" clId="{48B824AD-1B2A-47A8-8D92-6FE6E622A650}" dt="2024-12-16T18:03:59.625" v="139329"/>
          <ac:cxnSpMkLst>
            <pc:docMk/>
            <pc:sldMk cId="2155983508" sldId="290"/>
            <ac:cxnSpMk id="567" creationId="{F59ABDBE-F1B8-E937-CBE4-1D9C07F4BE84}"/>
          </ac:cxnSpMkLst>
        </pc:cxnChg>
        <pc:cxnChg chg="add del mod ord">
          <ac:chgData name="Oğuz Öztekin" userId="33c0df0f-d5fe-4bda-8f43-141ad7af67e3" providerId="ADAL" clId="{48B824AD-1B2A-47A8-8D92-6FE6E622A650}" dt="2024-12-16T18:03:59.635" v="139332"/>
          <ac:cxnSpMkLst>
            <pc:docMk/>
            <pc:sldMk cId="2155983508" sldId="290"/>
            <ac:cxnSpMk id="568" creationId="{725FDF1A-DDF6-51FF-FDD9-4531F4BB1FE2}"/>
          </ac:cxnSpMkLst>
        </pc:cxnChg>
        <pc:cxnChg chg="add del mod ord">
          <ac:chgData name="Oğuz Öztekin" userId="33c0df0f-d5fe-4bda-8f43-141ad7af67e3" providerId="ADAL" clId="{48B824AD-1B2A-47A8-8D92-6FE6E622A650}" dt="2024-12-16T18:03:59.635" v="139335"/>
          <ac:cxnSpMkLst>
            <pc:docMk/>
            <pc:sldMk cId="2155983508" sldId="290"/>
            <ac:cxnSpMk id="569" creationId="{6AAB5D39-36FB-5C61-9FEF-D1B7EB8D4851}"/>
          </ac:cxnSpMkLst>
        </pc:cxnChg>
        <pc:cxnChg chg="add del mod ord">
          <ac:chgData name="Oğuz Öztekin" userId="33c0df0f-d5fe-4bda-8f43-141ad7af67e3" providerId="ADAL" clId="{48B824AD-1B2A-47A8-8D92-6FE6E622A650}" dt="2024-12-16T18:03:59.635" v="139338"/>
          <ac:cxnSpMkLst>
            <pc:docMk/>
            <pc:sldMk cId="2155983508" sldId="290"/>
            <ac:cxnSpMk id="570" creationId="{AECDCE57-1F2F-C38D-F807-C63A96EFEC4D}"/>
          </ac:cxnSpMkLst>
        </pc:cxnChg>
        <pc:cxnChg chg="add del mod ord">
          <ac:chgData name="Oğuz Öztekin" userId="33c0df0f-d5fe-4bda-8f43-141ad7af67e3" providerId="ADAL" clId="{48B824AD-1B2A-47A8-8D92-6FE6E622A650}" dt="2024-12-16T18:03:59.635" v="139341"/>
          <ac:cxnSpMkLst>
            <pc:docMk/>
            <pc:sldMk cId="2155983508" sldId="290"/>
            <ac:cxnSpMk id="571" creationId="{416EB9FA-FCAC-ADB3-8214-F73743FCF215}"/>
          </ac:cxnSpMkLst>
        </pc:cxnChg>
        <pc:cxnChg chg="add del mod ord">
          <ac:chgData name="Oğuz Öztekin" userId="33c0df0f-d5fe-4bda-8f43-141ad7af67e3" providerId="ADAL" clId="{48B824AD-1B2A-47A8-8D92-6FE6E622A650}" dt="2024-12-16T18:03:59.635" v="139344"/>
          <ac:cxnSpMkLst>
            <pc:docMk/>
            <pc:sldMk cId="2155983508" sldId="290"/>
            <ac:cxnSpMk id="572" creationId="{3F41504A-4EAC-DC05-5B21-214BCC079646}"/>
          </ac:cxnSpMkLst>
        </pc:cxnChg>
        <pc:cxnChg chg="add del mod ord">
          <ac:chgData name="Oğuz Öztekin" userId="33c0df0f-d5fe-4bda-8f43-141ad7af67e3" providerId="ADAL" clId="{48B824AD-1B2A-47A8-8D92-6FE6E622A650}" dt="2024-12-16T18:03:59.635" v="139347"/>
          <ac:cxnSpMkLst>
            <pc:docMk/>
            <pc:sldMk cId="2155983508" sldId="290"/>
            <ac:cxnSpMk id="573" creationId="{F0BD1256-367C-EBBA-27A5-BF6F00823329}"/>
          </ac:cxnSpMkLst>
        </pc:cxnChg>
        <pc:cxnChg chg="add del mod ord">
          <ac:chgData name="Oğuz Öztekin" userId="33c0df0f-d5fe-4bda-8f43-141ad7af67e3" providerId="ADAL" clId="{48B824AD-1B2A-47A8-8D92-6FE6E622A650}" dt="2024-12-16T18:03:59.640" v="139350"/>
          <ac:cxnSpMkLst>
            <pc:docMk/>
            <pc:sldMk cId="2155983508" sldId="290"/>
            <ac:cxnSpMk id="574" creationId="{B374B6F7-AE5D-1A1D-F48E-B66C9942CE16}"/>
          </ac:cxnSpMkLst>
        </pc:cxnChg>
        <pc:cxnChg chg="add del mod ord">
          <ac:chgData name="Oğuz Öztekin" userId="33c0df0f-d5fe-4bda-8f43-141ad7af67e3" providerId="ADAL" clId="{48B824AD-1B2A-47A8-8D92-6FE6E622A650}" dt="2024-12-16T18:03:59.641" v="139353"/>
          <ac:cxnSpMkLst>
            <pc:docMk/>
            <pc:sldMk cId="2155983508" sldId="290"/>
            <ac:cxnSpMk id="575" creationId="{49BBADE9-1464-2589-966F-31D3562AF3B9}"/>
          </ac:cxnSpMkLst>
        </pc:cxnChg>
        <pc:cxnChg chg="add del mod ord">
          <ac:chgData name="Oğuz Öztekin" userId="33c0df0f-d5fe-4bda-8f43-141ad7af67e3" providerId="ADAL" clId="{48B824AD-1B2A-47A8-8D92-6FE6E622A650}" dt="2024-12-16T18:03:59.641" v="139356"/>
          <ac:cxnSpMkLst>
            <pc:docMk/>
            <pc:sldMk cId="2155983508" sldId="290"/>
            <ac:cxnSpMk id="576" creationId="{BE27093F-1EC4-9A3A-5FFF-D148F04507BC}"/>
          </ac:cxnSpMkLst>
        </pc:cxnChg>
        <pc:cxnChg chg="add del mod ord">
          <ac:chgData name="Oğuz Öztekin" userId="33c0df0f-d5fe-4bda-8f43-141ad7af67e3" providerId="ADAL" clId="{48B824AD-1B2A-47A8-8D92-6FE6E622A650}" dt="2024-12-16T18:03:59.641" v="139359"/>
          <ac:cxnSpMkLst>
            <pc:docMk/>
            <pc:sldMk cId="2155983508" sldId="290"/>
            <ac:cxnSpMk id="577" creationId="{C3C3D78E-B7AB-658A-1983-41916E3B515E}"/>
          </ac:cxnSpMkLst>
        </pc:cxnChg>
        <pc:cxnChg chg="add del mod ord">
          <ac:chgData name="Oğuz Öztekin" userId="33c0df0f-d5fe-4bda-8f43-141ad7af67e3" providerId="ADAL" clId="{48B824AD-1B2A-47A8-8D92-6FE6E622A650}" dt="2024-12-16T18:03:59.641" v="139362"/>
          <ac:cxnSpMkLst>
            <pc:docMk/>
            <pc:sldMk cId="2155983508" sldId="290"/>
            <ac:cxnSpMk id="578" creationId="{C9DE526B-4F12-482C-DAE0-F6FCA2723F6E}"/>
          </ac:cxnSpMkLst>
        </pc:cxnChg>
        <pc:cxnChg chg="add del mod ord">
          <ac:chgData name="Oğuz Öztekin" userId="33c0df0f-d5fe-4bda-8f43-141ad7af67e3" providerId="ADAL" clId="{48B824AD-1B2A-47A8-8D92-6FE6E622A650}" dt="2024-12-16T18:03:59.641" v="139365"/>
          <ac:cxnSpMkLst>
            <pc:docMk/>
            <pc:sldMk cId="2155983508" sldId="290"/>
            <ac:cxnSpMk id="579" creationId="{C98BC2EA-552D-D592-C195-E048FC796A15}"/>
          </ac:cxnSpMkLst>
        </pc:cxnChg>
        <pc:cxnChg chg="add del mod ord">
          <ac:chgData name="Oğuz Öztekin" userId="33c0df0f-d5fe-4bda-8f43-141ad7af67e3" providerId="ADAL" clId="{48B824AD-1B2A-47A8-8D92-6FE6E622A650}" dt="2024-12-16T18:03:59.641" v="139368"/>
          <ac:cxnSpMkLst>
            <pc:docMk/>
            <pc:sldMk cId="2155983508" sldId="290"/>
            <ac:cxnSpMk id="580" creationId="{8F8AEB10-567E-BBBA-AAD0-E2ACC40631E1}"/>
          </ac:cxnSpMkLst>
        </pc:cxnChg>
        <pc:cxnChg chg="add del mod ord">
          <ac:chgData name="Oğuz Öztekin" userId="33c0df0f-d5fe-4bda-8f43-141ad7af67e3" providerId="ADAL" clId="{48B824AD-1B2A-47A8-8D92-6FE6E622A650}" dt="2024-12-16T18:03:59.646" v="139371"/>
          <ac:cxnSpMkLst>
            <pc:docMk/>
            <pc:sldMk cId="2155983508" sldId="290"/>
            <ac:cxnSpMk id="581" creationId="{6B3AEB3C-A153-D8A5-3CA0-F2BD4AC57822}"/>
          </ac:cxnSpMkLst>
        </pc:cxnChg>
        <pc:cxnChg chg="add del mod ord">
          <ac:chgData name="Oğuz Öztekin" userId="33c0df0f-d5fe-4bda-8f43-141ad7af67e3" providerId="ADAL" clId="{48B824AD-1B2A-47A8-8D92-6FE6E622A650}" dt="2024-12-16T18:03:46.818" v="137431"/>
          <ac:cxnSpMkLst>
            <pc:docMk/>
            <pc:sldMk cId="2155983508" sldId="290"/>
            <ac:cxnSpMk id="582" creationId="{B08F19A6-943F-2C4D-069A-A1B9F2837F19}"/>
          </ac:cxnSpMkLst>
        </pc:cxnChg>
        <pc:cxnChg chg="add del mod ord">
          <ac:chgData name="Oğuz Öztekin" userId="33c0df0f-d5fe-4bda-8f43-141ad7af67e3" providerId="ADAL" clId="{48B824AD-1B2A-47A8-8D92-6FE6E622A650}" dt="2024-12-16T18:03:46.820" v="137434"/>
          <ac:cxnSpMkLst>
            <pc:docMk/>
            <pc:sldMk cId="2155983508" sldId="290"/>
            <ac:cxnSpMk id="583" creationId="{C84A6AD8-883F-9586-4590-5B3AB7525BB2}"/>
          </ac:cxnSpMkLst>
        </pc:cxnChg>
        <pc:cxnChg chg="add del mod ord">
          <ac:chgData name="Oğuz Öztekin" userId="33c0df0f-d5fe-4bda-8f43-141ad7af67e3" providerId="ADAL" clId="{48B824AD-1B2A-47A8-8D92-6FE6E622A650}" dt="2024-12-16T18:03:46.821" v="137437"/>
          <ac:cxnSpMkLst>
            <pc:docMk/>
            <pc:sldMk cId="2155983508" sldId="290"/>
            <ac:cxnSpMk id="584" creationId="{BC3FE9C8-C83A-415E-49F9-313ADB891017}"/>
          </ac:cxnSpMkLst>
        </pc:cxnChg>
        <pc:cxnChg chg="add del mod ord">
          <ac:chgData name="Oğuz Öztekin" userId="33c0df0f-d5fe-4bda-8f43-141ad7af67e3" providerId="ADAL" clId="{48B824AD-1B2A-47A8-8D92-6FE6E622A650}" dt="2024-12-16T18:03:46.822" v="137440"/>
          <ac:cxnSpMkLst>
            <pc:docMk/>
            <pc:sldMk cId="2155983508" sldId="290"/>
            <ac:cxnSpMk id="585" creationId="{E6740E5F-6271-BE57-3E5D-CFD916C282A0}"/>
          </ac:cxnSpMkLst>
        </pc:cxnChg>
        <pc:cxnChg chg="add del mod ord">
          <ac:chgData name="Oğuz Öztekin" userId="33c0df0f-d5fe-4bda-8f43-141ad7af67e3" providerId="ADAL" clId="{48B824AD-1B2A-47A8-8D92-6FE6E622A650}" dt="2024-12-16T18:03:46.823" v="137443"/>
          <ac:cxnSpMkLst>
            <pc:docMk/>
            <pc:sldMk cId="2155983508" sldId="290"/>
            <ac:cxnSpMk id="586" creationId="{8E4471CB-E318-479A-2CC0-4427F12AA16E}"/>
          </ac:cxnSpMkLst>
        </pc:cxnChg>
        <pc:cxnChg chg="add del mod ord">
          <ac:chgData name="Oğuz Öztekin" userId="33c0df0f-d5fe-4bda-8f43-141ad7af67e3" providerId="ADAL" clId="{48B824AD-1B2A-47A8-8D92-6FE6E622A650}" dt="2024-12-16T18:03:46.825" v="137446"/>
          <ac:cxnSpMkLst>
            <pc:docMk/>
            <pc:sldMk cId="2155983508" sldId="290"/>
            <ac:cxnSpMk id="587" creationId="{09F6A058-4CFF-D12E-5A59-96DBCE3ACCBC}"/>
          </ac:cxnSpMkLst>
        </pc:cxnChg>
        <pc:cxnChg chg="add del mod ord">
          <ac:chgData name="Oğuz Öztekin" userId="33c0df0f-d5fe-4bda-8f43-141ad7af67e3" providerId="ADAL" clId="{48B824AD-1B2A-47A8-8D92-6FE6E622A650}" dt="2024-12-16T18:03:46.825" v="137449"/>
          <ac:cxnSpMkLst>
            <pc:docMk/>
            <pc:sldMk cId="2155983508" sldId="290"/>
            <ac:cxnSpMk id="588" creationId="{4C9FB22C-5EC9-DB40-5BE1-26515BAD0646}"/>
          </ac:cxnSpMkLst>
        </pc:cxnChg>
        <pc:cxnChg chg="add del mod ord">
          <ac:chgData name="Oğuz Öztekin" userId="33c0df0f-d5fe-4bda-8f43-141ad7af67e3" providerId="ADAL" clId="{48B824AD-1B2A-47A8-8D92-6FE6E622A650}" dt="2024-12-16T18:03:46.826" v="137452"/>
          <ac:cxnSpMkLst>
            <pc:docMk/>
            <pc:sldMk cId="2155983508" sldId="290"/>
            <ac:cxnSpMk id="589" creationId="{D3CD9662-7937-2D03-F38A-201620E8C9A6}"/>
          </ac:cxnSpMkLst>
        </pc:cxnChg>
        <pc:cxnChg chg="add del mod ord">
          <ac:chgData name="Oğuz Öztekin" userId="33c0df0f-d5fe-4bda-8f43-141ad7af67e3" providerId="ADAL" clId="{48B824AD-1B2A-47A8-8D92-6FE6E622A650}" dt="2024-12-16T18:03:46.827" v="137455"/>
          <ac:cxnSpMkLst>
            <pc:docMk/>
            <pc:sldMk cId="2155983508" sldId="290"/>
            <ac:cxnSpMk id="590" creationId="{B9079182-F313-EE15-FEC4-B589F07B5412}"/>
          </ac:cxnSpMkLst>
        </pc:cxnChg>
        <pc:cxnChg chg="add del mod ord">
          <ac:chgData name="Oğuz Öztekin" userId="33c0df0f-d5fe-4bda-8f43-141ad7af67e3" providerId="ADAL" clId="{48B824AD-1B2A-47A8-8D92-6FE6E622A650}" dt="2024-12-16T18:03:46.828" v="137458"/>
          <ac:cxnSpMkLst>
            <pc:docMk/>
            <pc:sldMk cId="2155983508" sldId="290"/>
            <ac:cxnSpMk id="591" creationId="{CD488F1D-530B-94F0-78C0-1512F6529F6C}"/>
          </ac:cxnSpMkLst>
        </pc:cxnChg>
        <pc:cxnChg chg="add del mod ord">
          <ac:chgData name="Oğuz Öztekin" userId="33c0df0f-d5fe-4bda-8f43-141ad7af67e3" providerId="ADAL" clId="{48B824AD-1B2A-47A8-8D92-6FE6E622A650}" dt="2024-12-16T18:03:46.829" v="137461"/>
          <ac:cxnSpMkLst>
            <pc:docMk/>
            <pc:sldMk cId="2155983508" sldId="290"/>
            <ac:cxnSpMk id="592" creationId="{3F5F6B6E-5F17-1228-4E2F-E243255E7BF7}"/>
          </ac:cxnSpMkLst>
        </pc:cxnChg>
        <pc:cxnChg chg="add del mod ord">
          <ac:chgData name="Oğuz Öztekin" userId="33c0df0f-d5fe-4bda-8f43-141ad7af67e3" providerId="ADAL" clId="{48B824AD-1B2A-47A8-8D92-6FE6E622A650}" dt="2024-12-16T18:03:46.830" v="137464"/>
          <ac:cxnSpMkLst>
            <pc:docMk/>
            <pc:sldMk cId="2155983508" sldId="290"/>
            <ac:cxnSpMk id="593" creationId="{2596790B-A8C7-64AA-91DD-8973FAAED80D}"/>
          </ac:cxnSpMkLst>
        </pc:cxnChg>
        <pc:cxnChg chg="add del mod ord">
          <ac:chgData name="Oğuz Öztekin" userId="33c0df0f-d5fe-4bda-8f43-141ad7af67e3" providerId="ADAL" clId="{48B824AD-1B2A-47A8-8D92-6FE6E622A650}" dt="2024-12-16T18:03:46.831" v="137467"/>
          <ac:cxnSpMkLst>
            <pc:docMk/>
            <pc:sldMk cId="2155983508" sldId="290"/>
            <ac:cxnSpMk id="594" creationId="{522EBD1C-8B8B-BC06-B3EE-A306C5591EF0}"/>
          </ac:cxnSpMkLst>
        </pc:cxnChg>
        <pc:cxnChg chg="add del mod ord">
          <ac:chgData name="Oğuz Öztekin" userId="33c0df0f-d5fe-4bda-8f43-141ad7af67e3" providerId="ADAL" clId="{48B824AD-1B2A-47A8-8D92-6FE6E622A650}" dt="2024-12-16T18:03:46.832" v="137470"/>
          <ac:cxnSpMkLst>
            <pc:docMk/>
            <pc:sldMk cId="2155983508" sldId="290"/>
            <ac:cxnSpMk id="595" creationId="{856B5DEC-935B-FA9F-3B68-F266E850DEE0}"/>
          </ac:cxnSpMkLst>
        </pc:cxnChg>
        <pc:cxnChg chg="add del mod ord">
          <ac:chgData name="Oğuz Öztekin" userId="33c0df0f-d5fe-4bda-8f43-141ad7af67e3" providerId="ADAL" clId="{48B824AD-1B2A-47A8-8D92-6FE6E622A650}" dt="2024-12-16T18:03:46.833" v="137473"/>
          <ac:cxnSpMkLst>
            <pc:docMk/>
            <pc:sldMk cId="2155983508" sldId="290"/>
            <ac:cxnSpMk id="596" creationId="{389BC5D2-0180-3A38-7E60-89ED02DC069B}"/>
          </ac:cxnSpMkLst>
        </pc:cxnChg>
        <pc:cxnChg chg="add del mod ord">
          <ac:chgData name="Oğuz Öztekin" userId="33c0df0f-d5fe-4bda-8f43-141ad7af67e3" providerId="ADAL" clId="{48B824AD-1B2A-47A8-8D92-6FE6E622A650}" dt="2024-12-16T18:03:46.834" v="137476"/>
          <ac:cxnSpMkLst>
            <pc:docMk/>
            <pc:sldMk cId="2155983508" sldId="290"/>
            <ac:cxnSpMk id="597" creationId="{A56961FC-EF20-4C97-7686-23270C1F4C91}"/>
          </ac:cxnSpMkLst>
        </pc:cxnChg>
        <pc:cxnChg chg="add del mod ord">
          <ac:chgData name="Oğuz Öztekin" userId="33c0df0f-d5fe-4bda-8f43-141ad7af67e3" providerId="ADAL" clId="{48B824AD-1B2A-47A8-8D92-6FE6E622A650}" dt="2024-12-16T18:03:46.834" v="137479"/>
          <ac:cxnSpMkLst>
            <pc:docMk/>
            <pc:sldMk cId="2155983508" sldId="290"/>
            <ac:cxnSpMk id="598" creationId="{FF7F6A81-7DAF-07D2-583C-30A0A3CD8F06}"/>
          </ac:cxnSpMkLst>
        </pc:cxnChg>
        <pc:cxnChg chg="add del mod ord">
          <ac:chgData name="Oğuz Öztekin" userId="33c0df0f-d5fe-4bda-8f43-141ad7af67e3" providerId="ADAL" clId="{48B824AD-1B2A-47A8-8D92-6FE6E622A650}" dt="2024-12-16T18:03:46.835" v="137482"/>
          <ac:cxnSpMkLst>
            <pc:docMk/>
            <pc:sldMk cId="2155983508" sldId="290"/>
            <ac:cxnSpMk id="599" creationId="{877C85F4-578E-475B-F35A-2A633D84B4CE}"/>
          </ac:cxnSpMkLst>
        </pc:cxnChg>
        <pc:cxnChg chg="add del mod ord">
          <ac:chgData name="Oğuz Öztekin" userId="33c0df0f-d5fe-4bda-8f43-141ad7af67e3" providerId="ADAL" clId="{48B824AD-1B2A-47A8-8D92-6FE6E622A650}" dt="2024-12-16T18:03:46.836" v="137485"/>
          <ac:cxnSpMkLst>
            <pc:docMk/>
            <pc:sldMk cId="2155983508" sldId="290"/>
            <ac:cxnSpMk id="600" creationId="{1E1AAEE4-5352-865E-4D15-93791BF3D62C}"/>
          </ac:cxnSpMkLst>
        </pc:cxnChg>
        <pc:cxnChg chg="add del mod ord">
          <ac:chgData name="Oğuz Öztekin" userId="33c0df0f-d5fe-4bda-8f43-141ad7af67e3" providerId="ADAL" clId="{48B824AD-1B2A-47A8-8D92-6FE6E622A650}" dt="2024-12-16T18:03:46.837" v="137488"/>
          <ac:cxnSpMkLst>
            <pc:docMk/>
            <pc:sldMk cId="2155983508" sldId="290"/>
            <ac:cxnSpMk id="601" creationId="{5F699B00-E0EC-EF56-C9D2-AC49208062D7}"/>
          </ac:cxnSpMkLst>
        </pc:cxnChg>
        <pc:cxnChg chg="add mod ord">
          <ac:chgData name="Oğuz Öztekin" userId="33c0df0f-d5fe-4bda-8f43-141ad7af67e3" providerId="ADAL" clId="{48B824AD-1B2A-47A8-8D92-6FE6E622A650}" dt="2024-12-16T18:30:04.136" v="202439"/>
          <ac:cxnSpMkLst>
            <pc:docMk/>
            <pc:sldMk cId="2155983508" sldId="290"/>
            <ac:cxnSpMk id="626" creationId="{F8F5E270-DBC2-F4C8-B1B1-E3C347648861}"/>
          </ac:cxnSpMkLst>
        </pc:cxnChg>
        <pc:cxnChg chg="add mod ord">
          <ac:chgData name="Oğuz Öztekin" userId="33c0df0f-d5fe-4bda-8f43-141ad7af67e3" providerId="ADAL" clId="{48B824AD-1B2A-47A8-8D92-6FE6E622A650}" dt="2024-12-16T18:30:04.136" v="202441"/>
          <ac:cxnSpMkLst>
            <pc:docMk/>
            <pc:sldMk cId="2155983508" sldId="290"/>
            <ac:cxnSpMk id="630" creationId="{E9DDB92A-BCBA-9984-E587-C521EC0A59A0}"/>
          </ac:cxnSpMkLst>
        </pc:cxnChg>
        <pc:cxnChg chg="add mod ord">
          <ac:chgData name="Oğuz Öztekin" userId="33c0df0f-d5fe-4bda-8f43-141ad7af67e3" providerId="ADAL" clId="{48B824AD-1B2A-47A8-8D92-6FE6E622A650}" dt="2024-12-16T18:30:04.136" v="202443"/>
          <ac:cxnSpMkLst>
            <pc:docMk/>
            <pc:sldMk cId="2155983508" sldId="290"/>
            <ac:cxnSpMk id="631" creationId="{E7231509-4C2A-00C6-4055-C9DE6EF82289}"/>
          </ac:cxnSpMkLst>
        </pc:cxnChg>
        <pc:cxnChg chg="add mod ord">
          <ac:chgData name="Oğuz Öztekin" userId="33c0df0f-d5fe-4bda-8f43-141ad7af67e3" providerId="ADAL" clId="{48B824AD-1B2A-47A8-8D92-6FE6E622A650}" dt="2024-12-16T18:30:04.136" v="202435"/>
          <ac:cxnSpMkLst>
            <pc:docMk/>
            <pc:sldMk cId="2155983508" sldId="290"/>
            <ac:cxnSpMk id="635" creationId="{D3079DE1-576E-5730-D4A8-C199AE4000B8}"/>
          </ac:cxnSpMkLst>
        </pc:cxnChg>
        <pc:cxnChg chg="add mod ord">
          <ac:chgData name="Oğuz Öztekin" userId="33c0df0f-d5fe-4bda-8f43-141ad7af67e3" providerId="ADAL" clId="{48B824AD-1B2A-47A8-8D92-6FE6E622A650}" dt="2024-12-16T18:30:04.141" v="202445"/>
          <ac:cxnSpMkLst>
            <pc:docMk/>
            <pc:sldMk cId="2155983508" sldId="290"/>
            <ac:cxnSpMk id="636" creationId="{C5D19ED2-D1E2-BBA8-EF90-E0CBAB3278D8}"/>
          </ac:cxnSpMkLst>
        </pc:cxnChg>
        <pc:cxnChg chg="add mod ord">
          <ac:chgData name="Oğuz Öztekin" userId="33c0df0f-d5fe-4bda-8f43-141ad7af67e3" providerId="ADAL" clId="{48B824AD-1B2A-47A8-8D92-6FE6E622A650}" dt="2024-12-16T18:30:04.141" v="202447"/>
          <ac:cxnSpMkLst>
            <pc:docMk/>
            <pc:sldMk cId="2155983508" sldId="290"/>
            <ac:cxnSpMk id="637" creationId="{E41ED772-4E4B-5191-2324-6F837535B660}"/>
          </ac:cxnSpMkLst>
        </pc:cxnChg>
        <pc:cxnChg chg="add mod ord">
          <ac:chgData name="Oğuz Öztekin" userId="33c0df0f-d5fe-4bda-8f43-141ad7af67e3" providerId="ADAL" clId="{48B824AD-1B2A-47A8-8D92-6FE6E622A650}" dt="2024-12-16T18:30:04.141" v="202449"/>
          <ac:cxnSpMkLst>
            <pc:docMk/>
            <pc:sldMk cId="2155983508" sldId="290"/>
            <ac:cxnSpMk id="641" creationId="{238B5073-8537-2BA2-61B6-7D486A597881}"/>
          </ac:cxnSpMkLst>
        </pc:cxnChg>
        <pc:cxnChg chg="add mod ord">
          <ac:chgData name="Oğuz Öztekin" userId="33c0df0f-d5fe-4bda-8f43-141ad7af67e3" providerId="ADAL" clId="{48B824AD-1B2A-47A8-8D92-6FE6E622A650}" dt="2024-12-16T18:30:04.141" v="202451"/>
          <ac:cxnSpMkLst>
            <pc:docMk/>
            <pc:sldMk cId="2155983508" sldId="290"/>
            <ac:cxnSpMk id="642" creationId="{F91DC162-D619-E9EE-48D9-1652CEA4493D}"/>
          </ac:cxnSpMkLst>
        </pc:cxnChg>
        <pc:cxnChg chg="add mod ord">
          <ac:chgData name="Oğuz Öztekin" userId="33c0df0f-d5fe-4bda-8f43-141ad7af67e3" providerId="ADAL" clId="{48B824AD-1B2A-47A8-8D92-6FE6E622A650}" dt="2024-12-16T18:30:04.143" v="202461"/>
          <ac:cxnSpMkLst>
            <pc:docMk/>
            <pc:sldMk cId="2155983508" sldId="290"/>
            <ac:cxnSpMk id="643" creationId="{58C78DDB-6A19-BC06-FB89-7ACC2335EC2D}"/>
          </ac:cxnSpMkLst>
        </pc:cxnChg>
        <pc:cxnChg chg="add mod ord">
          <ac:chgData name="Oğuz Öztekin" userId="33c0df0f-d5fe-4bda-8f43-141ad7af67e3" providerId="ADAL" clId="{48B824AD-1B2A-47A8-8D92-6FE6E622A650}" dt="2024-12-16T18:30:04.142" v="202453"/>
          <ac:cxnSpMkLst>
            <pc:docMk/>
            <pc:sldMk cId="2155983508" sldId="290"/>
            <ac:cxnSpMk id="644" creationId="{A5F8959F-F970-A71D-702F-5FBCD14361F1}"/>
          </ac:cxnSpMkLst>
        </pc:cxnChg>
        <pc:cxnChg chg="add mod ord">
          <ac:chgData name="Oğuz Öztekin" userId="33c0df0f-d5fe-4bda-8f43-141ad7af67e3" providerId="ADAL" clId="{48B824AD-1B2A-47A8-8D92-6FE6E622A650}" dt="2024-12-16T18:30:04.142" v="202455"/>
          <ac:cxnSpMkLst>
            <pc:docMk/>
            <pc:sldMk cId="2155983508" sldId="290"/>
            <ac:cxnSpMk id="645" creationId="{DD0E28F5-A210-37A9-7EA6-9FC9547848D1}"/>
          </ac:cxnSpMkLst>
        </pc:cxnChg>
        <pc:cxnChg chg="add mod ord">
          <ac:chgData name="Oğuz Öztekin" userId="33c0df0f-d5fe-4bda-8f43-141ad7af67e3" providerId="ADAL" clId="{48B824AD-1B2A-47A8-8D92-6FE6E622A650}" dt="2024-12-16T18:30:04.142" v="202457"/>
          <ac:cxnSpMkLst>
            <pc:docMk/>
            <pc:sldMk cId="2155983508" sldId="290"/>
            <ac:cxnSpMk id="651" creationId="{5EE129C8-9BDB-D374-AAC5-20F3C795C69F}"/>
          </ac:cxnSpMkLst>
        </pc:cxnChg>
        <pc:cxnChg chg="add mod ord">
          <ac:chgData name="Oğuz Öztekin" userId="33c0df0f-d5fe-4bda-8f43-141ad7af67e3" providerId="ADAL" clId="{48B824AD-1B2A-47A8-8D92-6FE6E622A650}" dt="2024-12-16T18:30:04.142" v="202459"/>
          <ac:cxnSpMkLst>
            <pc:docMk/>
            <pc:sldMk cId="2155983508" sldId="290"/>
            <ac:cxnSpMk id="652" creationId="{1F3047AE-249E-2DC1-9825-80D22C9B7F4D}"/>
          </ac:cxnSpMkLst>
        </pc:cxnChg>
      </pc:sldChg>
      <pc:sldChg chg="del">
        <pc:chgData name="Oğuz Öztekin" userId="33c0df0f-d5fe-4bda-8f43-141ad7af67e3" providerId="ADAL" clId="{48B824AD-1B2A-47A8-8D92-6FE6E622A650}" dt="2024-12-16T09:07:15.308" v="1" actId="2696"/>
        <pc:sldMkLst>
          <pc:docMk/>
          <pc:sldMk cId="3193571855" sldId="290"/>
        </pc:sldMkLst>
      </pc:sldChg>
      <pc:sldChg chg="addSp delSp modSp add del mod">
        <pc:chgData name="Oğuz Öztekin" userId="33c0df0f-d5fe-4bda-8f43-141ad7af67e3" providerId="ADAL" clId="{48B824AD-1B2A-47A8-8D92-6FE6E622A650}" dt="2024-12-16T18:18:02.873" v="178193" actId="2696"/>
        <pc:sldMkLst>
          <pc:docMk/>
          <pc:sldMk cId="1206339914" sldId="291"/>
        </pc:sldMkLst>
        <pc:spChg chg="mod ord">
          <ac:chgData name="Oğuz Öztekin" userId="33c0df0f-d5fe-4bda-8f43-141ad7af67e3" providerId="ADAL" clId="{48B824AD-1B2A-47A8-8D92-6FE6E622A650}" dt="2024-12-16T18:17:31.886" v="177833"/>
          <ac:spMkLst>
            <pc:docMk/>
            <pc:sldMk cId="1206339914" sldId="291"/>
            <ac:spMk id="2" creationId="{571C910F-4D87-BD14-12F8-570A895FE6ED}"/>
          </ac:spMkLst>
        </pc:spChg>
        <pc:spChg chg="add mod">
          <ac:chgData name="Oğuz Öztekin" userId="33c0df0f-d5fe-4bda-8f43-141ad7af67e3" providerId="ADAL" clId="{48B824AD-1B2A-47A8-8D92-6FE6E622A650}" dt="2024-12-16T18:17:31.894" v="177873"/>
          <ac:spMkLst>
            <pc:docMk/>
            <pc:sldMk cId="1206339914" sldId="291"/>
            <ac:spMk id="4" creationId="{9C638625-EB56-99AC-C7A9-B2BD0998474D}"/>
          </ac:spMkLst>
        </pc:spChg>
        <pc:spChg chg="add del mod modVis">
          <ac:chgData name="Oğuz Öztekin" userId="33c0df0f-d5fe-4bda-8f43-141ad7af67e3" providerId="ADAL" clId="{48B824AD-1B2A-47A8-8D92-6FE6E622A650}" dt="2024-12-16T18:17:31.895" v="177877"/>
          <ac:spMkLst>
            <pc:docMk/>
            <pc:sldMk cId="1206339914" sldId="291"/>
            <ac:spMk id="5" creationId="{C2F89C5E-E18D-3279-CCA3-239E0CA3829F}"/>
          </ac:spMkLst>
        </pc:spChg>
        <pc:spChg chg="mod">
          <ac:chgData name="Oğuz Öztekin" userId="33c0df0f-d5fe-4bda-8f43-141ad7af67e3" providerId="ADAL" clId="{48B824AD-1B2A-47A8-8D92-6FE6E622A650}" dt="2024-12-16T18:17:31.890" v="177858"/>
          <ac:spMkLst>
            <pc:docMk/>
            <pc:sldMk cId="1206339914" sldId="291"/>
            <ac:spMk id="20" creationId="{FD93773C-6FE3-2C1E-3FB3-8ECE94A5BB6B}"/>
          </ac:spMkLst>
        </pc:spChg>
        <pc:spChg chg="mod">
          <ac:chgData name="Oğuz Öztekin" userId="33c0df0f-d5fe-4bda-8f43-141ad7af67e3" providerId="ADAL" clId="{48B824AD-1B2A-47A8-8D92-6FE6E622A650}" dt="2024-12-16T18:17:31.891" v="177859"/>
          <ac:spMkLst>
            <pc:docMk/>
            <pc:sldMk cId="1206339914" sldId="291"/>
            <ac:spMk id="29" creationId="{EB9861A0-9E85-2DBE-A74C-B8C20913D312}"/>
          </ac:spMkLst>
        </pc:spChg>
        <pc:spChg chg="mod">
          <ac:chgData name="Oğuz Öztekin" userId="33c0df0f-d5fe-4bda-8f43-141ad7af67e3" providerId="ADAL" clId="{48B824AD-1B2A-47A8-8D92-6FE6E622A650}" dt="2024-12-16T18:17:31.891" v="177861"/>
          <ac:spMkLst>
            <pc:docMk/>
            <pc:sldMk cId="1206339914" sldId="291"/>
            <ac:spMk id="35" creationId="{91684DF5-66D4-8934-7EB6-CB867064670D}"/>
          </ac:spMkLst>
        </pc:spChg>
        <pc:spChg chg="mod">
          <ac:chgData name="Oğuz Öztekin" userId="33c0df0f-d5fe-4bda-8f43-141ad7af67e3" providerId="ADAL" clId="{48B824AD-1B2A-47A8-8D92-6FE6E622A650}" dt="2024-12-16T18:17:31.892" v="177864"/>
          <ac:spMkLst>
            <pc:docMk/>
            <pc:sldMk cId="1206339914" sldId="291"/>
            <ac:spMk id="36" creationId="{9753C0AD-0332-1923-F415-9DE14E0BDA7A}"/>
          </ac:spMkLst>
        </pc:spChg>
        <pc:spChg chg="mod">
          <ac:chgData name="Oğuz Öztekin" userId="33c0df0f-d5fe-4bda-8f43-141ad7af67e3" providerId="ADAL" clId="{48B824AD-1B2A-47A8-8D92-6FE6E622A650}" dt="2024-12-16T18:17:31.893" v="177866"/>
          <ac:spMkLst>
            <pc:docMk/>
            <pc:sldMk cId="1206339914" sldId="291"/>
            <ac:spMk id="37" creationId="{07657A05-A1E3-2D8B-3898-2ED397C940E8}"/>
          </ac:spMkLst>
        </pc:spChg>
        <pc:spChg chg="mod">
          <ac:chgData name="Oğuz Öztekin" userId="33c0df0f-d5fe-4bda-8f43-141ad7af67e3" providerId="ADAL" clId="{48B824AD-1B2A-47A8-8D92-6FE6E622A650}" dt="2024-12-16T18:17:31.893" v="177868"/>
          <ac:spMkLst>
            <pc:docMk/>
            <pc:sldMk cId="1206339914" sldId="291"/>
            <ac:spMk id="86" creationId="{08472079-A9C5-6860-42B7-686A50E08649}"/>
          </ac:spMkLst>
        </pc:spChg>
        <pc:spChg chg="mod">
          <ac:chgData name="Oğuz Öztekin" userId="33c0df0f-d5fe-4bda-8f43-141ad7af67e3" providerId="ADAL" clId="{48B824AD-1B2A-47A8-8D92-6FE6E622A650}" dt="2024-12-16T18:17:31.895" v="177874"/>
          <ac:spMkLst>
            <pc:docMk/>
            <pc:sldMk cId="1206339914" sldId="291"/>
            <ac:spMk id="87" creationId="{AFD64107-6FDE-1657-C347-59B2C826C4C5}"/>
          </ac:spMkLst>
        </pc:spChg>
        <pc:spChg chg="mod">
          <ac:chgData name="Oğuz Öztekin" userId="33c0df0f-d5fe-4bda-8f43-141ad7af67e3" providerId="ADAL" clId="{48B824AD-1B2A-47A8-8D92-6FE6E622A650}" dt="2024-12-16T18:17:31.888" v="177848"/>
          <ac:spMkLst>
            <pc:docMk/>
            <pc:sldMk cId="1206339914" sldId="291"/>
            <ac:spMk id="88" creationId="{030CD9D3-A486-1478-6647-8A3279DBC236}"/>
          </ac:spMkLst>
        </pc:spChg>
        <pc:spChg chg="mod">
          <ac:chgData name="Oğuz Öztekin" userId="33c0df0f-d5fe-4bda-8f43-141ad7af67e3" providerId="ADAL" clId="{48B824AD-1B2A-47A8-8D92-6FE6E622A650}" dt="2024-12-16T18:17:31.889" v="177849"/>
          <ac:spMkLst>
            <pc:docMk/>
            <pc:sldMk cId="1206339914" sldId="291"/>
            <ac:spMk id="89" creationId="{87F7A773-4334-0C13-8A6A-5316F9B64962}"/>
          </ac:spMkLst>
        </pc:spChg>
        <pc:spChg chg="mod">
          <ac:chgData name="Oğuz Öztekin" userId="33c0df0f-d5fe-4bda-8f43-141ad7af67e3" providerId="ADAL" clId="{48B824AD-1B2A-47A8-8D92-6FE6E622A650}" dt="2024-12-16T18:17:31.889" v="177850"/>
          <ac:spMkLst>
            <pc:docMk/>
            <pc:sldMk cId="1206339914" sldId="291"/>
            <ac:spMk id="90" creationId="{A2F4E8C2-ED7A-AEC0-17F3-25A6CB6F6905}"/>
          </ac:spMkLst>
        </pc:spChg>
        <pc:spChg chg="mod">
          <ac:chgData name="Oğuz Öztekin" userId="33c0df0f-d5fe-4bda-8f43-141ad7af67e3" providerId="ADAL" clId="{48B824AD-1B2A-47A8-8D92-6FE6E622A650}" dt="2024-12-16T18:17:31.889" v="177851"/>
          <ac:spMkLst>
            <pc:docMk/>
            <pc:sldMk cId="1206339914" sldId="291"/>
            <ac:spMk id="91" creationId="{7AC5F6D3-EABE-E313-0F13-42E846163E3F}"/>
          </ac:spMkLst>
        </pc:spChg>
        <pc:spChg chg="mod">
          <ac:chgData name="Oğuz Öztekin" userId="33c0df0f-d5fe-4bda-8f43-141ad7af67e3" providerId="ADAL" clId="{48B824AD-1B2A-47A8-8D92-6FE6E622A650}" dt="2024-12-16T18:17:31.889" v="177852"/>
          <ac:spMkLst>
            <pc:docMk/>
            <pc:sldMk cId="1206339914" sldId="291"/>
            <ac:spMk id="92" creationId="{5CCBEBBD-F0AD-AE94-EC64-6BEAB803DC3D}"/>
          </ac:spMkLst>
        </pc:spChg>
        <pc:spChg chg="mod">
          <ac:chgData name="Oğuz Öztekin" userId="33c0df0f-d5fe-4bda-8f43-141ad7af67e3" providerId="ADAL" clId="{48B824AD-1B2A-47A8-8D92-6FE6E622A650}" dt="2024-12-16T18:17:31.890" v="177853"/>
          <ac:spMkLst>
            <pc:docMk/>
            <pc:sldMk cId="1206339914" sldId="291"/>
            <ac:spMk id="292" creationId="{59392633-ECAE-DF3A-9F81-B999F0C8DD52}"/>
          </ac:spMkLst>
        </pc:spChg>
        <pc:spChg chg="mod">
          <ac:chgData name="Oğuz Öztekin" userId="33c0df0f-d5fe-4bda-8f43-141ad7af67e3" providerId="ADAL" clId="{48B824AD-1B2A-47A8-8D92-6FE6E622A650}" dt="2024-12-16T18:17:31.890" v="177854"/>
          <ac:spMkLst>
            <pc:docMk/>
            <pc:sldMk cId="1206339914" sldId="291"/>
            <ac:spMk id="295" creationId="{21A44339-0965-65F2-01FD-5C9F1EC280B3}"/>
          </ac:spMkLst>
        </pc:spChg>
        <pc:spChg chg="mod">
          <ac:chgData name="Oğuz Öztekin" userId="33c0df0f-d5fe-4bda-8f43-141ad7af67e3" providerId="ADAL" clId="{48B824AD-1B2A-47A8-8D92-6FE6E622A650}" dt="2024-12-16T18:17:31.890" v="177856"/>
          <ac:spMkLst>
            <pc:docMk/>
            <pc:sldMk cId="1206339914" sldId="291"/>
            <ac:spMk id="298" creationId="{D3421608-29BA-8986-453E-59544B5016C9}"/>
          </ac:spMkLst>
        </pc:spChg>
        <pc:spChg chg="mod">
          <ac:chgData name="Oğuz Öztekin" userId="33c0df0f-d5fe-4bda-8f43-141ad7af67e3" providerId="ADAL" clId="{48B824AD-1B2A-47A8-8D92-6FE6E622A650}" dt="2024-12-16T18:17:31.890" v="177857"/>
          <ac:spMkLst>
            <pc:docMk/>
            <pc:sldMk cId="1206339914" sldId="291"/>
            <ac:spMk id="301" creationId="{F1B672FA-A80B-B7BC-06B6-8DCFB712349F}"/>
          </ac:spMkLst>
        </pc:spChg>
        <pc:spChg chg="mod">
          <ac:chgData name="Oğuz Öztekin" userId="33c0df0f-d5fe-4bda-8f43-141ad7af67e3" providerId="ADAL" clId="{48B824AD-1B2A-47A8-8D92-6FE6E622A650}" dt="2024-12-16T18:17:31.895" v="177875"/>
          <ac:spMkLst>
            <pc:docMk/>
            <pc:sldMk cId="1206339914" sldId="291"/>
            <ac:spMk id="304" creationId="{2DFB9B34-C7D7-30A0-B542-CA328E85D63F}"/>
          </ac:spMkLst>
        </pc:spChg>
        <pc:spChg chg="mod">
          <ac:chgData name="Oğuz Öztekin" userId="33c0df0f-d5fe-4bda-8f43-141ad7af67e3" providerId="ADAL" clId="{48B824AD-1B2A-47A8-8D92-6FE6E622A650}" dt="2024-12-16T18:17:31.891" v="177860"/>
          <ac:spMkLst>
            <pc:docMk/>
            <pc:sldMk cId="1206339914" sldId="291"/>
            <ac:spMk id="308" creationId="{27B95B30-AD48-5096-8FAD-989A18752C6B}"/>
          </ac:spMkLst>
        </pc:spChg>
        <pc:spChg chg="mod">
          <ac:chgData name="Oğuz Öztekin" userId="33c0df0f-d5fe-4bda-8f43-141ad7af67e3" providerId="ADAL" clId="{48B824AD-1B2A-47A8-8D92-6FE6E622A650}" dt="2024-12-16T18:17:31.892" v="177862"/>
          <ac:spMkLst>
            <pc:docMk/>
            <pc:sldMk cId="1206339914" sldId="291"/>
            <ac:spMk id="311" creationId="{0AE0D520-B6F2-BFDE-8291-2012DAED643E}"/>
          </ac:spMkLst>
        </pc:spChg>
        <pc:spChg chg="mod">
          <ac:chgData name="Oğuz Öztekin" userId="33c0df0f-d5fe-4bda-8f43-141ad7af67e3" providerId="ADAL" clId="{48B824AD-1B2A-47A8-8D92-6FE6E622A650}" dt="2024-12-16T18:17:31.892" v="177863"/>
          <ac:spMkLst>
            <pc:docMk/>
            <pc:sldMk cId="1206339914" sldId="291"/>
            <ac:spMk id="315" creationId="{773CE917-4C42-3E2A-B6BC-5EC78AF5B173}"/>
          </ac:spMkLst>
        </pc:spChg>
        <pc:spChg chg="mod">
          <ac:chgData name="Oğuz Öztekin" userId="33c0df0f-d5fe-4bda-8f43-141ad7af67e3" providerId="ADAL" clId="{48B824AD-1B2A-47A8-8D92-6FE6E622A650}" dt="2024-12-16T18:17:31.892" v="177865"/>
          <ac:spMkLst>
            <pc:docMk/>
            <pc:sldMk cId="1206339914" sldId="291"/>
            <ac:spMk id="319" creationId="{50A01AAD-D381-4C4D-B9AB-CDB525A9A588}"/>
          </ac:spMkLst>
        </pc:spChg>
        <pc:spChg chg="mod">
          <ac:chgData name="Oğuz Öztekin" userId="33c0df0f-d5fe-4bda-8f43-141ad7af67e3" providerId="ADAL" clId="{48B824AD-1B2A-47A8-8D92-6FE6E622A650}" dt="2024-12-16T18:17:31.893" v="177867"/>
          <ac:spMkLst>
            <pc:docMk/>
            <pc:sldMk cId="1206339914" sldId="291"/>
            <ac:spMk id="323" creationId="{953D1B1E-924D-0046-878F-3B084D62E5A1}"/>
          </ac:spMkLst>
        </pc:spChg>
        <pc:spChg chg="mod">
          <ac:chgData name="Oğuz Öztekin" userId="33c0df0f-d5fe-4bda-8f43-141ad7af67e3" providerId="ADAL" clId="{48B824AD-1B2A-47A8-8D92-6FE6E622A650}" dt="2024-12-16T18:17:31.893" v="177869"/>
          <ac:spMkLst>
            <pc:docMk/>
            <pc:sldMk cId="1206339914" sldId="291"/>
            <ac:spMk id="326" creationId="{329B8B81-49D5-E923-5BAA-C4B8DADE3384}"/>
          </ac:spMkLst>
        </pc:spChg>
        <pc:spChg chg="mod">
          <ac:chgData name="Oğuz Öztekin" userId="33c0df0f-d5fe-4bda-8f43-141ad7af67e3" providerId="ADAL" clId="{48B824AD-1B2A-47A8-8D92-6FE6E622A650}" dt="2024-12-16T18:17:31.894" v="177870"/>
          <ac:spMkLst>
            <pc:docMk/>
            <pc:sldMk cId="1206339914" sldId="291"/>
            <ac:spMk id="329" creationId="{CDD234C2-017D-90E8-A610-4A83D8E1D7B2}"/>
          </ac:spMkLst>
        </pc:spChg>
        <pc:spChg chg="mod">
          <ac:chgData name="Oğuz Öztekin" userId="33c0df0f-d5fe-4bda-8f43-141ad7af67e3" providerId="ADAL" clId="{48B824AD-1B2A-47A8-8D92-6FE6E622A650}" dt="2024-12-16T18:17:31.894" v="177871"/>
          <ac:spMkLst>
            <pc:docMk/>
            <pc:sldMk cId="1206339914" sldId="291"/>
            <ac:spMk id="332" creationId="{1BA182DF-80C1-5877-0B9B-1AE515C86497}"/>
          </ac:spMkLst>
        </pc:spChg>
        <pc:spChg chg="mod">
          <ac:chgData name="Oğuz Öztekin" userId="33c0df0f-d5fe-4bda-8f43-141ad7af67e3" providerId="ADAL" clId="{48B824AD-1B2A-47A8-8D92-6FE6E622A650}" dt="2024-12-16T18:17:31.894" v="177872"/>
          <ac:spMkLst>
            <pc:docMk/>
            <pc:sldMk cId="1206339914" sldId="291"/>
            <ac:spMk id="335" creationId="{F229F464-220A-1DC7-ED3F-E97F5E9EFCC0}"/>
          </ac:spMkLst>
        </pc:spChg>
        <pc:spChg chg="mod">
          <ac:chgData name="Oğuz Öztekin" userId="33c0df0f-d5fe-4bda-8f43-141ad7af67e3" providerId="ADAL" clId="{48B824AD-1B2A-47A8-8D92-6FE6E622A650}" dt="2024-12-16T18:17:31.890" v="177855"/>
          <ac:spMkLst>
            <pc:docMk/>
            <pc:sldMk cId="1206339914" sldId="291"/>
            <ac:spMk id="621" creationId="{F06DA4FB-BE49-6773-C93A-62302BF64AE7}"/>
          </ac:spMkLst>
        </pc:spChg>
        <pc:graphicFrameChg chg="mod">
          <ac:chgData name="Oğuz Öztekin" userId="33c0df0f-d5fe-4bda-8f43-141ad7af67e3" providerId="ADAL" clId="{48B824AD-1B2A-47A8-8D92-6FE6E622A650}" dt="2024-12-16T18:17:31.896" v="177879"/>
          <ac:graphicFrameMkLst>
            <pc:docMk/>
            <pc:sldMk cId="1206339914" sldId="291"/>
            <ac:graphicFrameMk id="3" creationId="{02867D29-3AE1-A82E-31EA-A1FC301096B9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17:31.886" v="177835"/>
          <ac:graphicFrameMkLst>
            <pc:docMk/>
            <pc:sldMk cId="1206339914" sldId="291"/>
            <ac:graphicFrameMk id="7" creationId="{BBBA2C03-33A9-758B-BAC0-C334CBBABBC7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17:31.868" v="177824"/>
          <ac:graphicFrameMkLst>
            <pc:docMk/>
            <pc:sldMk cId="1206339914" sldId="291"/>
            <ac:graphicFrameMk id="623" creationId="{B09BA47A-4DDC-9F06-734F-EFDF328E6A51}"/>
          </ac:graphicFrameMkLst>
        </pc:graphicFrameChg>
        <pc:cxnChg chg="add mod ord">
          <ac:chgData name="Oğuz Öztekin" userId="33c0df0f-d5fe-4bda-8f43-141ad7af67e3" providerId="ADAL" clId="{48B824AD-1B2A-47A8-8D92-6FE6E622A650}" dt="2024-12-16T18:17:31.888" v="177847"/>
          <ac:cxnSpMkLst>
            <pc:docMk/>
            <pc:sldMk cId="1206339914" sldId="291"/>
            <ac:cxnSpMk id="6" creationId="{5EF7C665-054E-036A-0497-86CD52D8974D}"/>
          </ac:cxnSpMkLst>
        </pc:cxnChg>
        <pc:cxnChg chg="mod ord">
          <ac:chgData name="Oğuz Öztekin" userId="33c0df0f-d5fe-4bda-8f43-141ad7af67e3" providerId="ADAL" clId="{48B824AD-1B2A-47A8-8D92-6FE6E622A650}" dt="2024-12-16T18:17:31.886" v="177837"/>
          <ac:cxnSpMkLst>
            <pc:docMk/>
            <pc:sldMk cId="1206339914" sldId="291"/>
            <ac:cxnSpMk id="306" creationId="{6234F1E6-A1CB-EDE4-A412-AB08F8F4DE9E}"/>
          </ac:cxnSpMkLst>
        </pc:cxnChg>
        <pc:cxnChg chg="mod ord">
          <ac:chgData name="Oğuz Öztekin" userId="33c0df0f-d5fe-4bda-8f43-141ad7af67e3" providerId="ADAL" clId="{48B824AD-1B2A-47A8-8D92-6FE6E622A650}" dt="2024-12-16T18:17:31.887" v="177841"/>
          <ac:cxnSpMkLst>
            <pc:docMk/>
            <pc:sldMk cId="1206339914" sldId="291"/>
            <ac:cxnSpMk id="317" creationId="{CD0620E8-0C9F-E0B8-D00B-1D03C75F98F2}"/>
          </ac:cxnSpMkLst>
        </pc:cxnChg>
        <pc:cxnChg chg="mod ord">
          <ac:chgData name="Oğuz Öztekin" userId="33c0df0f-d5fe-4bda-8f43-141ad7af67e3" providerId="ADAL" clId="{48B824AD-1B2A-47A8-8D92-6FE6E622A650}" dt="2024-12-16T18:17:31.887" v="177843"/>
          <ac:cxnSpMkLst>
            <pc:docMk/>
            <pc:sldMk cId="1206339914" sldId="291"/>
            <ac:cxnSpMk id="321" creationId="{F10E6A54-C5B4-8585-C874-7E07F6662371}"/>
          </ac:cxnSpMkLst>
        </pc:cxnChg>
        <pc:cxnChg chg="mod ord">
          <ac:chgData name="Oğuz Öztekin" userId="33c0df0f-d5fe-4bda-8f43-141ad7af67e3" providerId="ADAL" clId="{48B824AD-1B2A-47A8-8D92-6FE6E622A650}" dt="2024-12-16T18:17:31.887" v="177839"/>
          <ac:cxnSpMkLst>
            <pc:docMk/>
            <pc:sldMk cId="1206339914" sldId="291"/>
            <ac:cxnSpMk id="416" creationId="{A20A4B75-E032-4ACC-0BDB-F5886E40C167}"/>
          </ac:cxnSpMkLst>
        </pc:cxnChg>
        <pc:cxnChg chg="mod ord">
          <ac:chgData name="Oğuz Öztekin" userId="33c0df0f-d5fe-4bda-8f43-141ad7af67e3" providerId="ADAL" clId="{48B824AD-1B2A-47A8-8D92-6FE6E622A650}" dt="2024-12-16T18:17:31.888" v="177845"/>
          <ac:cxnSpMkLst>
            <pc:docMk/>
            <pc:sldMk cId="1206339914" sldId="291"/>
            <ac:cxnSpMk id="417" creationId="{05E08FFA-11DC-5596-3524-01AF2718AE63}"/>
          </ac:cxnSpMkLst>
        </pc:cxnChg>
      </pc:sldChg>
      <pc:sldChg chg="del">
        <pc:chgData name="Oğuz Öztekin" userId="33c0df0f-d5fe-4bda-8f43-141ad7af67e3" providerId="ADAL" clId="{48B824AD-1B2A-47A8-8D92-6FE6E622A650}" dt="2024-12-16T09:07:20.861" v="5" actId="2696"/>
        <pc:sldMkLst>
          <pc:docMk/>
          <pc:sldMk cId="1219213586" sldId="291"/>
        </pc:sldMkLst>
      </pc:sldChg>
      <pc:sldChg chg="addSp delSp modSp add del mod">
        <pc:chgData name="Oğuz Öztekin" userId="33c0df0f-d5fe-4bda-8f43-141ad7af67e3" providerId="ADAL" clId="{48B824AD-1B2A-47A8-8D92-6FE6E622A650}" dt="2024-12-16T18:18:04.123" v="178194" actId="2696"/>
        <pc:sldMkLst>
          <pc:docMk/>
          <pc:sldMk cId="3830733687" sldId="292"/>
        </pc:sldMkLst>
        <pc:spChg chg="mod ord">
          <ac:chgData name="Oğuz Öztekin" userId="33c0df0f-d5fe-4bda-8f43-141ad7af67e3" providerId="ADAL" clId="{48B824AD-1B2A-47A8-8D92-6FE6E622A650}" dt="2024-12-16T18:12:43.332" v="157830"/>
          <ac:spMkLst>
            <pc:docMk/>
            <pc:sldMk cId="3830733687" sldId="292"/>
            <ac:spMk id="2" creationId="{FEBFEEEA-3C07-BDA3-F405-8981CEB2C758}"/>
          </ac:spMkLst>
        </pc:spChg>
        <pc:spChg chg="add del mod modVis">
          <ac:chgData name="Oğuz Öztekin" userId="33c0df0f-d5fe-4bda-8f43-141ad7af67e3" providerId="ADAL" clId="{48B824AD-1B2A-47A8-8D92-6FE6E622A650}" dt="2024-12-16T18:10:07.745" v="148341"/>
          <ac:spMkLst>
            <pc:docMk/>
            <pc:sldMk cId="3830733687" sldId="292"/>
            <ac:spMk id="4" creationId="{1AD262B5-0ED5-A23C-77F6-1DE3803E0C34}"/>
          </ac:spMkLst>
        </pc:spChg>
        <pc:spChg chg="add mod">
          <ac:chgData name="Oğuz Öztekin" userId="33c0df0f-d5fe-4bda-8f43-141ad7af67e3" providerId="ADAL" clId="{48B824AD-1B2A-47A8-8D92-6FE6E622A650}" dt="2024-12-16T18:12:43.412" v="158209"/>
          <ac:spMkLst>
            <pc:docMk/>
            <pc:sldMk cId="3830733687" sldId="292"/>
            <ac:spMk id="6" creationId="{A4DADD30-733D-52C0-FCD9-80CC9922566C}"/>
          </ac:spMkLst>
        </pc:spChg>
        <pc:spChg chg="add mod">
          <ac:chgData name="Oğuz Öztekin" userId="33c0df0f-d5fe-4bda-8f43-141ad7af67e3" providerId="ADAL" clId="{48B824AD-1B2A-47A8-8D92-6FE6E622A650}" dt="2024-12-16T18:12:43.412" v="158210"/>
          <ac:spMkLst>
            <pc:docMk/>
            <pc:sldMk cId="3830733687" sldId="292"/>
            <ac:spMk id="7" creationId="{6018A2FB-D78A-B240-6F56-2E5664B7A9C8}"/>
          </ac:spMkLst>
        </pc:spChg>
        <pc:spChg chg="add mod">
          <ac:chgData name="Oğuz Öztekin" userId="33c0df0f-d5fe-4bda-8f43-141ad7af67e3" providerId="ADAL" clId="{48B824AD-1B2A-47A8-8D92-6FE6E622A650}" dt="2024-12-16T18:12:43.413" v="158211"/>
          <ac:spMkLst>
            <pc:docMk/>
            <pc:sldMk cId="3830733687" sldId="292"/>
            <ac:spMk id="8" creationId="{0C86C9A8-8713-50D2-3CB2-9C5E7D8BBF28}"/>
          </ac:spMkLst>
        </pc:spChg>
        <pc:spChg chg="add mod">
          <ac:chgData name="Oğuz Öztekin" userId="33c0df0f-d5fe-4bda-8f43-141ad7af67e3" providerId="ADAL" clId="{48B824AD-1B2A-47A8-8D92-6FE6E622A650}" dt="2024-12-16T18:12:43.413" v="158212"/>
          <ac:spMkLst>
            <pc:docMk/>
            <pc:sldMk cId="3830733687" sldId="292"/>
            <ac:spMk id="9" creationId="{506AE8AD-F6B9-9485-6E98-E04DC8F61393}"/>
          </ac:spMkLst>
        </pc:spChg>
        <pc:spChg chg="add mod">
          <ac:chgData name="Oğuz Öztekin" userId="33c0df0f-d5fe-4bda-8f43-141ad7af67e3" providerId="ADAL" clId="{48B824AD-1B2A-47A8-8D92-6FE6E622A650}" dt="2024-12-16T18:12:43.413" v="158213"/>
          <ac:spMkLst>
            <pc:docMk/>
            <pc:sldMk cId="3830733687" sldId="292"/>
            <ac:spMk id="10" creationId="{EDC04C72-A8C6-3E14-4CFE-BDB7EBCD2BC6}"/>
          </ac:spMkLst>
        </pc:spChg>
        <pc:spChg chg="add mod">
          <ac:chgData name="Oğuz Öztekin" userId="33c0df0f-d5fe-4bda-8f43-141ad7af67e3" providerId="ADAL" clId="{48B824AD-1B2A-47A8-8D92-6FE6E622A650}" dt="2024-12-16T18:12:43.413" v="158214"/>
          <ac:spMkLst>
            <pc:docMk/>
            <pc:sldMk cId="3830733687" sldId="292"/>
            <ac:spMk id="11" creationId="{044EBA76-FA2D-BB57-BC2E-31C1D4E6AAAC}"/>
          </ac:spMkLst>
        </pc:spChg>
        <pc:spChg chg="add mod">
          <ac:chgData name="Oğuz Öztekin" userId="33c0df0f-d5fe-4bda-8f43-141ad7af67e3" providerId="ADAL" clId="{48B824AD-1B2A-47A8-8D92-6FE6E622A650}" dt="2024-12-16T18:12:43.415" v="158215"/>
          <ac:spMkLst>
            <pc:docMk/>
            <pc:sldMk cId="3830733687" sldId="292"/>
            <ac:spMk id="12" creationId="{2E244F5E-B59B-AE20-A31D-370ED11B9C83}"/>
          </ac:spMkLst>
        </pc:spChg>
        <pc:spChg chg="add mod">
          <ac:chgData name="Oğuz Öztekin" userId="33c0df0f-d5fe-4bda-8f43-141ad7af67e3" providerId="ADAL" clId="{48B824AD-1B2A-47A8-8D92-6FE6E622A650}" dt="2024-12-16T18:12:43.415" v="158216"/>
          <ac:spMkLst>
            <pc:docMk/>
            <pc:sldMk cId="3830733687" sldId="292"/>
            <ac:spMk id="13" creationId="{167039C4-038A-EA95-6F54-8D7B567A8843}"/>
          </ac:spMkLst>
        </pc:spChg>
        <pc:spChg chg="add mod">
          <ac:chgData name="Oğuz Öztekin" userId="33c0df0f-d5fe-4bda-8f43-141ad7af67e3" providerId="ADAL" clId="{48B824AD-1B2A-47A8-8D92-6FE6E622A650}" dt="2024-12-16T18:12:43.415" v="158217"/>
          <ac:spMkLst>
            <pc:docMk/>
            <pc:sldMk cId="3830733687" sldId="292"/>
            <ac:spMk id="14" creationId="{27935342-ECD3-5675-4A07-9A47D53D436A}"/>
          </ac:spMkLst>
        </pc:spChg>
        <pc:spChg chg="add mod">
          <ac:chgData name="Oğuz Öztekin" userId="33c0df0f-d5fe-4bda-8f43-141ad7af67e3" providerId="ADAL" clId="{48B824AD-1B2A-47A8-8D92-6FE6E622A650}" dt="2024-12-16T18:12:43.416" v="158218"/>
          <ac:spMkLst>
            <pc:docMk/>
            <pc:sldMk cId="3830733687" sldId="292"/>
            <ac:spMk id="15" creationId="{31476B1D-6C56-D83F-6789-F833C60C6AED}"/>
          </ac:spMkLst>
        </pc:spChg>
        <pc:spChg chg="add mod">
          <ac:chgData name="Oğuz Öztekin" userId="33c0df0f-d5fe-4bda-8f43-141ad7af67e3" providerId="ADAL" clId="{48B824AD-1B2A-47A8-8D92-6FE6E622A650}" dt="2024-12-16T18:12:43.416" v="158219"/>
          <ac:spMkLst>
            <pc:docMk/>
            <pc:sldMk cId="3830733687" sldId="292"/>
            <ac:spMk id="16" creationId="{858ED3F9-BBE1-67F5-D1F3-53C65468D4C9}"/>
          </ac:spMkLst>
        </pc:spChg>
        <pc:spChg chg="add mod">
          <ac:chgData name="Oğuz Öztekin" userId="33c0df0f-d5fe-4bda-8f43-141ad7af67e3" providerId="ADAL" clId="{48B824AD-1B2A-47A8-8D92-6FE6E622A650}" dt="2024-12-16T18:12:43.416" v="158220"/>
          <ac:spMkLst>
            <pc:docMk/>
            <pc:sldMk cId="3830733687" sldId="292"/>
            <ac:spMk id="17" creationId="{6BDDBC3E-F624-6D17-10DF-CEC69AAC3813}"/>
          </ac:spMkLst>
        </pc:spChg>
        <pc:spChg chg="add mod">
          <ac:chgData name="Oğuz Öztekin" userId="33c0df0f-d5fe-4bda-8f43-141ad7af67e3" providerId="ADAL" clId="{48B824AD-1B2A-47A8-8D92-6FE6E622A650}" dt="2024-12-16T18:12:43.417" v="158221"/>
          <ac:spMkLst>
            <pc:docMk/>
            <pc:sldMk cId="3830733687" sldId="292"/>
            <ac:spMk id="18" creationId="{F77E58AE-A2B0-AFD2-8D79-2A1A3FD07A08}"/>
          </ac:spMkLst>
        </pc:spChg>
        <pc:spChg chg="add mod">
          <ac:chgData name="Oğuz Öztekin" userId="33c0df0f-d5fe-4bda-8f43-141ad7af67e3" providerId="ADAL" clId="{48B824AD-1B2A-47A8-8D92-6FE6E622A650}" dt="2024-12-16T18:12:43.417" v="158222"/>
          <ac:spMkLst>
            <pc:docMk/>
            <pc:sldMk cId="3830733687" sldId="292"/>
            <ac:spMk id="19" creationId="{01C12E9C-D07E-8790-9D19-2170B0AE7702}"/>
          </ac:spMkLst>
        </pc:spChg>
        <pc:spChg chg="mod">
          <ac:chgData name="Oğuz Öztekin" userId="33c0df0f-d5fe-4bda-8f43-141ad7af67e3" providerId="ADAL" clId="{48B824AD-1B2A-47A8-8D92-6FE6E622A650}" dt="2024-12-16T18:12:43.406" v="158191"/>
          <ac:spMkLst>
            <pc:docMk/>
            <pc:sldMk cId="3830733687" sldId="292"/>
            <ac:spMk id="20" creationId="{7AF05297-B7D2-C892-C01D-31108AE36EB5}"/>
          </ac:spMkLst>
        </pc:spChg>
        <pc:spChg chg="add mod">
          <ac:chgData name="Oğuz Öztekin" userId="33c0df0f-d5fe-4bda-8f43-141ad7af67e3" providerId="ADAL" clId="{48B824AD-1B2A-47A8-8D92-6FE6E622A650}" dt="2024-12-16T18:12:43.417" v="158223"/>
          <ac:spMkLst>
            <pc:docMk/>
            <pc:sldMk cId="3830733687" sldId="292"/>
            <ac:spMk id="21" creationId="{8A079052-84DE-7897-DFAB-3E4FC6569800}"/>
          </ac:spMkLst>
        </pc:spChg>
        <pc:spChg chg="add mod">
          <ac:chgData name="Oğuz Öztekin" userId="33c0df0f-d5fe-4bda-8f43-141ad7af67e3" providerId="ADAL" clId="{48B824AD-1B2A-47A8-8D92-6FE6E622A650}" dt="2024-12-16T18:12:43.418" v="158224"/>
          <ac:spMkLst>
            <pc:docMk/>
            <pc:sldMk cId="3830733687" sldId="292"/>
            <ac:spMk id="22" creationId="{6A3AD074-0FA4-6D3C-9F3E-3B7C3ED06A27}"/>
          </ac:spMkLst>
        </pc:spChg>
        <pc:spChg chg="add mod">
          <ac:chgData name="Oğuz Öztekin" userId="33c0df0f-d5fe-4bda-8f43-141ad7af67e3" providerId="ADAL" clId="{48B824AD-1B2A-47A8-8D92-6FE6E622A650}" dt="2024-12-16T18:12:43.418" v="158225"/>
          <ac:spMkLst>
            <pc:docMk/>
            <pc:sldMk cId="3830733687" sldId="292"/>
            <ac:spMk id="23" creationId="{2F3F40AA-C384-8679-066F-463977FE49FA}"/>
          </ac:spMkLst>
        </pc:spChg>
        <pc:spChg chg="add mod">
          <ac:chgData name="Oğuz Öztekin" userId="33c0df0f-d5fe-4bda-8f43-141ad7af67e3" providerId="ADAL" clId="{48B824AD-1B2A-47A8-8D92-6FE6E622A650}" dt="2024-12-16T18:12:43.418" v="158226"/>
          <ac:spMkLst>
            <pc:docMk/>
            <pc:sldMk cId="3830733687" sldId="292"/>
            <ac:spMk id="24" creationId="{E2954457-383A-478D-DF8A-00DE261D549E}"/>
          </ac:spMkLst>
        </pc:spChg>
        <pc:spChg chg="add mod">
          <ac:chgData name="Oğuz Öztekin" userId="33c0df0f-d5fe-4bda-8f43-141ad7af67e3" providerId="ADAL" clId="{48B824AD-1B2A-47A8-8D92-6FE6E622A650}" dt="2024-12-16T18:12:43.419" v="158227"/>
          <ac:spMkLst>
            <pc:docMk/>
            <pc:sldMk cId="3830733687" sldId="292"/>
            <ac:spMk id="25" creationId="{6C5E756B-9389-83EE-6C98-5953EABE01AF}"/>
          </ac:spMkLst>
        </pc:spChg>
        <pc:spChg chg="add mod">
          <ac:chgData name="Oğuz Öztekin" userId="33c0df0f-d5fe-4bda-8f43-141ad7af67e3" providerId="ADAL" clId="{48B824AD-1B2A-47A8-8D92-6FE6E622A650}" dt="2024-12-16T18:12:43.419" v="158228"/>
          <ac:spMkLst>
            <pc:docMk/>
            <pc:sldMk cId="3830733687" sldId="292"/>
            <ac:spMk id="26" creationId="{39C81C84-5524-5FE6-EC86-AA14632C7EF3}"/>
          </ac:spMkLst>
        </pc:spChg>
        <pc:spChg chg="add mod">
          <ac:chgData name="Oğuz Öztekin" userId="33c0df0f-d5fe-4bda-8f43-141ad7af67e3" providerId="ADAL" clId="{48B824AD-1B2A-47A8-8D92-6FE6E622A650}" dt="2024-12-16T18:12:43.419" v="158229"/>
          <ac:spMkLst>
            <pc:docMk/>
            <pc:sldMk cId="3830733687" sldId="292"/>
            <ac:spMk id="27" creationId="{78A03350-EDAB-EC7E-E407-6D1765EEF373}"/>
          </ac:spMkLst>
        </pc:spChg>
        <pc:spChg chg="add mod">
          <ac:chgData name="Oğuz Öztekin" userId="33c0df0f-d5fe-4bda-8f43-141ad7af67e3" providerId="ADAL" clId="{48B824AD-1B2A-47A8-8D92-6FE6E622A650}" dt="2024-12-16T18:12:43.420" v="158230"/>
          <ac:spMkLst>
            <pc:docMk/>
            <pc:sldMk cId="3830733687" sldId="292"/>
            <ac:spMk id="28" creationId="{50A96826-124C-EBC3-9DE5-95676C3CD3AB}"/>
          </ac:spMkLst>
        </pc:spChg>
        <pc:spChg chg="mod">
          <ac:chgData name="Oğuz Öztekin" userId="33c0df0f-d5fe-4bda-8f43-141ad7af67e3" providerId="ADAL" clId="{48B824AD-1B2A-47A8-8D92-6FE6E622A650}" dt="2024-12-16T18:12:43.406" v="158192"/>
          <ac:spMkLst>
            <pc:docMk/>
            <pc:sldMk cId="3830733687" sldId="292"/>
            <ac:spMk id="29" creationId="{AD53C683-9FA2-C1DD-ECAB-A16BA4156952}"/>
          </ac:spMkLst>
        </pc:spChg>
        <pc:spChg chg="add mod">
          <ac:chgData name="Oğuz Öztekin" userId="33c0df0f-d5fe-4bda-8f43-141ad7af67e3" providerId="ADAL" clId="{48B824AD-1B2A-47A8-8D92-6FE6E622A650}" dt="2024-12-16T18:12:43.420" v="158231"/>
          <ac:spMkLst>
            <pc:docMk/>
            <pc:sldMk cId="3830733687" sldId="292"/>
            <ac:spMk id="30" creationId="{116712F8-523F-F05F-039F-61B11E58A5C3}"/>
          </ac:spMkLst>
        </pc:spChg>
        <pc:spChg chg="add mod">
          <ac:chgData name="Oğuz Öztekin" userId="33c0df0f-d5fe-4bda-8f43-141ad7af67e3" providerId="ADAL" clId="{48B824AD-1B2A-47A8-8D92-6FE6E622A650}" dt="2024-12-16T18:12:43.420" v="158232"/>
          <ac:spMkLst>
            <pc:docMk/>
            <pc:sldMk cId="3830733687" sldId="292"/>
            <ac:spMk id="31" creationId="{D750EEEB-2EC9-FAD1-7EC4-2D2998EF0492}"/>
          </ac:spMkLst>
        </pc:spChg>
        <pc:spChg chg="add mod">
          <ac:chgData name="Oğuz Öztekin" userId="33c0df0f-d5fe-4bda-8f43-141ad7af67e3" providerId="ADAL" clId="{48B824AD-1B2A-47A8-8D92-6FE6E622A650}" dt="2024-12-16T18:12:43.421" v="158233"/>
          <ac:spMkLst>
            <pc:docMk/>
            <pc:sldMk cId="3830733687" sldId="292"/>
            <ac:spMk id="32" creationId="{CE031FF5-1E58-BE61-3F5A-2D91E07EFA7F}"/>
          </ac:spMkLst>
        </pc:spChg>
        <pc:spChg chg="add mod">
          <ac:chgData name="Oğuz Öztekin" userId="33c0df0f-d5fe-4bda-8f43-141ad7af67e3" providerId="ADAL" clId="{48B824AD-1B2A-47A8-8D92-6FE6E622A650}" dt="2024-12-16T18:12:43.421" v="158234"/>
          <ac:spMkLst>
            <pc:docMk/>
            <pc:sldMk cId="3830733687" sldId="292"/>
            <ac:spMk id="33" creationId="{68DE8E02-4DD6-CB0D-0C7C-6836C20C44D1}"/>
          </ac:spMkLst>
        </pc:spChg>
        <pc:spChg chg="add mod">
          <ac:chgData name="Oğuz Öztekin" userId="33c0df0f-d5fe-4bda-8f43-141ad7af67e3" providerId="ADAL" clId="{48B824AD-1B2A-47A8-8D92-6FE6E622A650}" dt="2024-12-16T18:12:43.421" v="158235"/>
          <ac:spMkLst>
            <pc:docMk/>
            <pc:sldMk cId="3830733687" sldId="292"/>
            <ac:spMk id="34" creationId="{7E8900A6-F0D6-E361-0713-1E68725B361B}"/>
          </ac:spMkLst>
        </pc:spChg>
        <pc:spChg chg="mod">
          <ac:chgData name="Oğuz Öztekin" userId="33c0df0f-d5fe-4bda-8f43-141ad7af67e3" providerId="ADAL" clId="{48B824AD-1B2A-47A8-8D92-6FE6E622A650}" dt="2024-12-16T18:12:43.406" v="158193"/>
          <ac:spMkLst>
            <pc:docMk/>
            <pc:sldMk cId="3830733687" sldId="292"/>
            <ac:spMk id="35" creationId="{878F4E58-6BB5-0EA3-ED22-A30BAC5296B5}"/>
          </ac:spMkLst>
        </pc:spChg>
        <pc:spChg chg="mod">
          <ac:chgData name="Oğuz Öztekin" userId="33c0df0f-d5fe-4bda-8f43-141ad7af67e3" providerId="ADAL" clId="{48B824AD-1B2A-47A8-8D92-6FE6E622A650}" dt="2024-12-16T18:12:43.406" v="158194"/>
          <ac:spMkLst>
            <pc:docMk/>
            <pc:sldMk cId="3830733687" sldId="292"/>
            <ac:spMk id="36" creationId="{0B9550D3-8B4A-6D27-8DB8-FF9A5BFBDEB3}"/>
          </ac:spMkLst>
        </pc:spChg>
        <pc:spChg chg="mod">
          <ac:chgData name="Oğuz Öztekin" userId="33c0df0f-d5fe-4bda-8f43-141ad7af67e3" providerId="ADAL" clId="{48B824AD-1B2A-47A8-8D92-6FE6E622A650}" dt="2024-12-16T18:12:43.406" v="158195"/>
          <ac:spMkLst>
            <pc:docMk/>
            <pc:sldMk cId="3830733687" sldId="292"/>
            <ac:spMk id="37" creationId="{5BCC1B57-1082-162B-7C43-7ABCFF3C4F6D}"/>
          </ac:spMkLst>
        </pc:spChg>
        <pc:spChg chg="add mod">
          <ac:chgData name="Oğuz Öztekin" userId="33c0df0f-d5fe-4bda-8f43-141ad7af67e3" providerId="ADAL" clId="{48B824AD-1B2A-47A8-8D92-6FE6E622A650}" dt="2024-12-16T18:12:43.469" v="158372"/>
          <ac:spMkLst>
            <pc:docMk/>
            <pc:sldMk cId="3830733687" sldId="292"/>
            <ac:spMk id="38" creationId="{B4C3CDCC-BF52-60AD-8469-C9DE24BA96A6}"/>
          </ac:spMkLst>
        </pc:spChg>
        <pc:spChg chg="add mod">
          <ac:chgData name="Oğuz Öztekin" userId="33c0df0f-d5fe-4bda-8f43-141ad7af67e3" providerId="ADAL" clId="{48B824AD-1B2A-47A8-8D92-6FE6E622A650}" dt="2024-12-16T18:12:43.422" v="158236"/>
          <ac:spMkLst>
            <pc:docMk/>
            <pc:sldMk cId="3830733687" sldId="292"/>
            <ac:spMk id="39" creationId="{1BAA7F0B-1B2B-2A37-CCC8-4E74A6BF450F}"/>
          </ac:spMkLst>
        </pc:spChg>
        <pc:spChg chg="add mod">
          <ac:chgData name="Oğuz Öztekin" userId="33c0df0f-d5fe-4bda-8f43-141ad7af67e3" providerId="ADAL" clId="{48B824AD-1B2A-47A8-8D92-6FE6E622A650}" dt="2024-12-16T18:12:43.422" v="158237"/>
          <ac:spMkLst>
            <pc:docMk/>
            <pc:sldMk cId="3830733687" sldId="292"/>
            <ac:spMk id="40" creationId="{F63641DF-FD89-C692-50E7-06E1447C5146}"/>
          </ac:spMkLst>
        </pc:spChg>
        <pc:spChg chg="add mod">
          <ac:chgData name="Oğuz Öztekin" userId="33c0df0f-d5fe-4bda-8f43-141ad7af67e3" providerId="ADAL" clId="{48B824AD-1B2A-47A8-8D92-6FE6E622A650}" dt="2024-12-16T18:12:43.422" v="158238"/>
          <ac:spMkLst>
            <pc:docMk/>
            <pc:sldMk cId="3830733687" sldId="292"/>
            <ac:spMk id="41" creationId="{E5960AD6-D725-4238-A744-8EE890CB4FDB}"/>
          </ac:spMkLst>
        </pc:spChg>
        <pc:spChg chg="add mod">
          <ac:chgData name="Oğuz Öztekin" userId="33c0df0f-d5fe-4bda-8f43-141ad7af67e3" providerId="ADAL" clId="{48B824AD-1B2A-47A8-8D92-6FE6E622A650}" dt="2024-12-16T18:12:43.423" v="158239"/>
          <ac:spMkLst>
            <pc:docMk/>
            <pc:sldMk cId="3830733687" sldId="292"/>
            <ac:spMk id="42" creationId="{478C1C0E-50F3-B33A-96CD-294FC680C1E0}"/>
          </ac:spMkLst>
        </pc:spChg>
        <pc:spChg chg="add mod">
          <ac:chgData name="Oğuz Öztekin" userId="33c0df0f-d5fe-4bda-8f43-141ad7af67e3" providerId="ADAL" clId="{48B824AD-1B2A-47A8-8D92-6FE6E622A650}" dt="2024-12-16T18:12:43.423" v="158240"/>
          <ac:spMkLst>
            <pc:docMk/>
            <pc:sldMk cId="3830733687" sldId="292"/>
            <ac:spMk id="43" creationId="{8F08C2B6-84D9-4DFA-1D83-2A1EB855907D}"/>
          </ac:spMkLst>
        </pc:spChg>
        <pc:spChg chg="add mod">
          <ac:chgData name="Oğuz Öztekin" userId="33c0df0f-d5fe-4bda-8f43-141ad7af67e3" providerId="ADAL" clId="{48B824AD-1B2A-47A8-8D92-6FE6E622A650}" dt="2024-12-16T18:12:43.423" v="158241"/>
          <ac:spMkLst>
            <pc:docMk/>
            <pc:sldMk cId="3830733687" sldId="292"/>
            <ac:spMk id="44" creationId="{0E6B8E97-FD58-D687-2485-C6DCF9A330DD}"/>
          </ac:spMkLst>
        </pc:spChg>
        <pc:spChg chg="add mod">
          <ac:chgData name="Oğuz Öztekin" userId="33c0df0f-d5fe-4bda-8f43-141ad7af67e3" providerId="ADAL" clId="{48B824AD-1B2A-47A8-8D92-6FE6E622A650}" dt="2024-12-16T18:12:43.423" v="158242"/>
          <ac:spMkLst>
            <pc:docMk/>
            <pc:sldMk cId="3830733687" sldId="292"/>
            <ac:spMk id="45" creationId="{89D162B7-CBAF-D429-5972-F79FAE9EB8A7}"/>
          </ac:spMkLst>
        </pc:spChg>
        <pc:spChg chg="add mod">
          <ac:chgData name="Oğuz Öztekin" userId="33c0df0f-d5fe-4bda-8f43-141ad7af67e3" providerId="ADAL" clId="{48B824AD-1B2A-47A8-8D92-6FE6E622A650}" dt="2024-12-16T18:12:43.424" v="158243"/>
          <ac:spMkLst>
            <pc:docMk/>
            <pc:sldMk cId="3830733687" sldId="292"/>
            <ac:spMk id="46" creationId="{BF34286F-B00B-FC3C-3877-B468B6B61BB6}"/>
          </ac:spMkLst>
        </pc:spChg>
        <pc:spChg chg="add mod">
          <ac:chgData name="Oğuz Öztekin" userId="33c0df0f-d5fe-4bda-8f43-141ad7af67e3" providerId="ADAL" clId="{48B824AD-1B2A-47A8-8D92-6FE6E622A650}" dt="2024-12-16T18:12:43.425" v="158244"/>
          <ac:spMkLst>
            <pc:docMk/>
            <pc:sldMk cId="3830733687" sldId="292"/>
            <ac:spMk id="47" creationId="{9B14E72D-A539-670B-DAF4-55CA17FB1444}"/>
          </ac:spMkLst>
        </pc:spChg>
        <pc:spChg chg="add mod">
          <ac:chgData name="Oğuz Öztekin" userId="33c0df0f-d5fe-4bda-8f43-141ad7af67e3" providerId="ADAL" clId="{48B824AD-1B2A-47A8-8D92-6FE6E622A650}" dt="2024-12-16T18:12:43.425" v="158245"/>
          <ac:spMkLst>
            <pc:docMk/>
            <pc:sldMk cId="3830733687" sldId="292"/>
            <ac:spMk id="48" creationId="{0BE1A7B4-43FB-2C3C-10AC-C1E99AA7C504}"/>
          </ac:spMkLst>
        </pc:spChg>
        <pc:spChg chg="add mod">
          <ac:chgData name="Oğuz Öztekin" userId="33c0df0f-d5fe-4bda-8f43-141ad7af67e3" providerId="ADAL" clId="{48B824AD-1B2A-47A8-8D92-6FE6E622A650}" dt="2024-12-16T18:12:43.426" v="158246"/>
          <ac:spMkLst>
            <pc:docMk/>
            <pc:sldMk cId="3830733687" sldId="292"/>
            <ac:spMk id="49" creationId="{D2B1AE48-B033-14FA-3196-B9CB05F20268}"/>
          </ac:spMkLst>
        </pc:spChg>
        <pc:spChg chg="add mod">
          <ac:chgData name="Oğuz Öztekin" userId="33c0df0f-d5fe-4bda-8f43-141ad7af67e3" providerId="ADAL" clId="{48B824AD-1B2A-47A8-8D92-6FE6E622A650}" dt="2024-12-16T18:12:43.426" v="158247"/>
          <ac:spMkLst>
            <pc:docMk/>
            <pc:sldMk cId="3830733687" sldId="292"/>
            <ac:spMk id="50" creationId="{E1B88C39-15AB-D09D-89CC-6806D589C8AF}"/>
          </ac:spMkLst>
        </pc:spChg>
        <pc:spChg chg="add mod">
          <ac:chgData name="Oğuz Öztekin" userId="33c0df0f-d5fe-4bda-8f43-141ad7af67e3" providerId="ADAL" clId="{48B824AD-1B2A-47A8-8D92-6FE6E622A650}" dt="2024-12-16T18:12:43.426" v="158248"/>
          <ac:spMkLst>
            <pc:docMk/>
            <pc:sldMk cId="3830733687" sldId="292"/>
            <ac:spMk id="51" creationId="{A7AC452F-A070-591C-7319-65ED0F6A04E5}"/>
          </ac:spMkLst>
        </pc:spChg>
        <pc:spChg chg="add mod">
          <ac:chgData name="Oğuz Öztekin" userId="33c0df0f-d5fe-4bda-8f43-141ad7af67e3" providerId="ADAL" clId="{48B824AD-1B2A-47A8-8D92-6FE6E622A650}" dt="2024-12-16T18:12:43.426" v="158249"/>
          <ac:spMkLst>
            <pc:docMk/>
            <pc:sldMk cId="3830733687" sldId="292"/>
            <ac:spMk id="52" creationId="{60FEA560-DC6B-C3A0-58CA-C63C41A9AA1C}"/>
          </ac:spMkLst>
        </pc:spChg>
        <pc:spChg chg="add mod">
          <ac:chgData name="Oğuz Öztekin" userId="33c0df0f-d5fe-4bda-8f43-141ad7af67e3" providerId="ADAL" clId="{48B824AD-1B2A-47A8-8D92-6FE6E622A650}" dt="2024-12-16T18:12:43.428" v="158250"/>
          <ac:spMkLst>
            <pc:docMk/>
            <pc:sldMk cId="3830733687" sldId="292"/>
            <ac:spMk id="53" creationId="{B3B09612-3346-D6D9-B130-209D36C1FA9C}"/>
          </ac:spMkLst>
        </pc:spChg>
        <pc:spChg chg="add mod">
          <ac:chgData name="Oğuz Öztekin" userId="33c0df0f-d5fe-4bda-8f43-141ad7af67e3" providerId="ADAL" clId="{48B824AD-1B2A-47A8-8D92-6FE6E622A650}" dt="2024-12-16T18:12:43.428" v="158251"/>
          <ac:spMkLst>
            <pc:docMk/>
            <pc:sldMk cId="3830733687" sldId="292"/>
            <ac:spMk id="54" creationId="{18747F93-E6B6-C377-FA13-BBA0E0E09A42}"/>
          </ac:spMkLst>
        </pc:spChg>
        <pc:spChg chg="add mod">
          <ac:chgData name="Oğuz Öztekin" userId="33c0df0f-d5fe-4bda-8f43-141ad7af67e3" providerId="ADAL" clId="{48B824AD-1B2A-47A8-8D92-6FE6E622A650}" dt="2024-12-16T18:12:43.428" v="158252"/>
          <ac:spMkLst>
            <pc:docMk/>
            <pc:sldMk cId="3830733687" sldId="292"/>
            <ac:spMk id="55" creationId="{509B3B57-BDC7-DCB3-6D12-B9C5A631EC7E}"/>
          </ac:spMkLst>
        </pc:spChg>
        <pc:spChg chg="add mod">
          <ac:chgData name="Oğuz Öztekin" userId="33c0df0f-d5fe-4bda-8f43-141ad7af67e3" providerId="ADAL" clId="{48B824AD-1B2A-47A8-8D92-6FE6E622A650}" dt="2024-12-16T18:12:43.429" v="158253"/>
          <ac:spMkLst>
            <pc:docMk/>
            <pc:sldMk cId="3830733687" sldId="292"/>
            <ac:spMk id="56" creationId="{BE9A20D1-1142-1CDE-67F8-77596ECDB08B}"/>
          </ac:spMkLst>
        </pc:spChg>
        <pc:spChg chg="add mod">
          <ac:chgData name="Oğuz Öztekin" userId="33c0df0f-d5fe-4bda-8f43-141ad7af67e3" providerId="ADAL" clId="{48B824AD-1B2A-47A8-8D92-6FE6E622A650}" dt="2024-12-16T18:12:43.429" v="158254"/>
          <ac:spMkLst>
            <pc:docMk/>
            <pc:sldMk cId="3830733687" sldId="292"/>
            <ac:spMk id="57" creationId="{175B0817-7714-4363-C4EB-A8168B675B4A}"/>
          </ac:spMkLst>
        </pc:spChg>
        <pc:spChg chg="add mod">
          <ac:chgData name="Oğuz Öztekin" userId="33c0df0f-d5fe-4bda-8f43-141ad7af67e3" providerId="ADAL" clId="{48B824AD-1B2A-47A8-8D92-6FE6E622A650}" dt="2024-12-16T18:12:43.429" v="158255"/>
          <ac:spMkLst>
            <pc:docMk/>
            <pc:sldMk cId="3830733687" sldId="292"/>
            <ac:spMk id="58" creationId="{075DBECF-2CDB-B257-FD6E-02F19F30C168}"/>
          </ac:spMkLst>
        </pc:spChg>
        <pc:spChg chg="add mod">
          <ac:chgData name="Oğuz Öztekin" userId="33c0df0f-d5fe-4bda-8f43-141ad7af67e3" providerId="ADAL" clId="{48B824AD-1B2A-47A8-8D92-6FE6E622A650}" dt="2024-12-16T18:12:43.430" v="158256"/>
          <ac:spMkLst>
            <pc:docMk/>
            <pc:sldMk cId="3830733687" sldId="292"/>
            <ac:spMk id="59" creationId="{73E3218F-01C3-E950-D600-19990CFED2A4}"/>
          </ac:spMkLst>
        </pc:spChg>
        <pc:spChg chg="add mod">
          <ac:chgData name="Oğuz Öztekin" userId="33c0df0f-d5fe-4bda-8f43-141ad7af67e3" providerId="ADAL" clId="{48B824AD-1B2A-47A8-8D92-6FE6E622A650}" dt="2024-12-16T18:12:43.430" v="158257"/>
          <ac:spMkLst>
            <pc:docMk/>
            <pc:sldMk cId="3830733687" sldId="292"/>
            <ac:spMk id="60" creationId="{F4C1DA70-0487-60BF-6EA4-5D2607C0EC3C}"/>
          </ac:spMkLst>
        </pc:spChg>
        <pc:spChg chg="add mod">
          <ac:chgData name="Oğuz Öztekin" userId="33c0df0f-d5fe-4bda-8f43-141ad7af67e3" providerId="ADAL" clId="{48B824AD-1B2A-47A8-8D92-6FE6E622A650}" dt="2024-12-16T18:12:43.430" v="158258"/>
          <ac:spMkLst>
            <pc:docMk/>
            <pc:sldMk cId="3830733687" sldId="292"/>
            <ac:spMk id="61" creationId="{C2ADE1F8-1AE8-E721-8F2B-9586137F838F}"/>
          </ac:spMkLst>
        </pc:spChg>
        <pc:spChg chg="add mod">
          <ac:chgData name="Oğuz Öztekin" userId="33c0df0f-d5fe-4bda-8f43-141ad7af67e3" providerId="ADAL" clId="{48B824AD-1B2A-47A8-8D92-6FE6E622A650}" dt="2024-12-16T18:12:43.431" v="158259"/>
          <ac:spMkLst>
            <pc:docMk/>
            <pc:sldMk cId="3830733687" sldId="292"/>
            <ac:spMk id="62" creationId="{4D5B61A3-8195-DDDD-5009-BE9BB7D17317}"/>
          </ac:spMkLst>
        </pc:spChg>
        <pc:spChg chg="add mod">
          <ac:chgData name="Oğuz Öztekin" userId="33c0df0f-d5fe-4bda-8f43-141ad7af67e3" providerId="ADAL" clId="{48B824AD-1B2A-47A8-8D92-6FE6E622A650}" dt="2024-12-16T18:12:43.431" v="158260"/>
          <ac:spMkLst>
            <pc:docMk/>
            <pc:sldMk cId="3830733687" sldId="292"/>
            <ac:spMk id="63" creationId="{A76A2DC4-2AD0-6A5A-C305-DB571C72E803}"/>
          </ac:spMkLst>
        </pc:spChg>
        <pc:spChg chg="add mod">
          <ac:chgData name="Oğuz Öztekin" userId="33c0df0f-d5fe-4bda-8f43-141ad7af67e3" providerId="ADAL" clId="{48B824AD-1B2A-47A8-8D92-6FE6E622A650}" dt="2024-12-16T18:12:43.438" v="158280"/>
          <ac:spMkLst>
            <pc:docMk/>
            <pc:sldMk cId="3830733687" sldId="292"/>
            <ac:spMk id="64" creationId="{78B137A4-0DDD-CDD8-44B2-094722ACDFE9}"/>
          </ac:spMkLst>
        </pc:spChg>
        <pc:spChg chg="add mod">
          <ac:chgData name="Oğuz Öztekin" userId="33c0df0f-d5fe-4bda-8f43-141ad7af67e3" providerId="ADAL" clId="{48B824AD-1B2A-47A8-8D92-6FE6E622A650}" dt="2024-12-16T18:12:43.438" v="158281"/>
          <ac:spMkLst>
            <pc:docMk/>
            <pc:sldMk cId="3830733687" sldId="292"/>
            <ac:spMk id="65" creationId="{48065F35-CB4E-6574-A3C5-FBF21AE0BDC0}"/>
          </ac:spMkLst>
        </pc:spChg>
        <pc:spChg chg="add mod">
          <ac:chgData name="Oğuz Öztekin" userId="33c0df0f-d5fe-4bda-8f43-141ad7af67e3" providerId="ADAL" clId="{48B824AD-1B2A-47A8-8D92-6FE6E622A650}" dt="2024-12-16T18:12:43.439" v="158282"/>
          <ac:spMkLst>
            <pc:docMk/>
            <pc:sldMk cId="3830733687" sldId="292"/>
            <ac:spMk id="66" creationId="{3D5C002E-55CB-70BF-E419-D872BA5E53E6}"/>
          </ac:spMkLst>
        </pc:spChg>
        <pc:spChg chg="add mod">
          <ac:chgData name="Oğuz Öztekin" userId="33c0df0f-d5fe-4bda-8f43-141ad7af67e3" providerId="ADAL" clId="{48B824AD-1B2A-47A8-8D92-6FE6E622A650}" dt="2024-12-16T18:12:43.439" v="158283"/>
          <ac:spMkLst>
            <pc:docMk/>
            <pc:sldMk cId="3830733687" sldId="292"/>
            <ac:spMk id="67" creationId="{26A9A0C5-69F0-F7A0-3802-A6B5603B29A9}"/>
          </ac:spMkLst>
        </pc:spChg>
        <pc:spChg chg="add mod">
          <ac:chgData name="Oğuz Öztekin" userId="33c0df0f-d5fe-4bda-8f43-141ad7af67e3" providerId="ADAL" clId="{48B824AD-1B2A-47A8-8D92-6FE6E622A650}" dt="2024-12-16T18:12:43.439" v="158284"/>
          <ac:spMkLst>
            <pc:docMk/>
            <pc:sldMk cId="3830733687" sldId="292"/>
            <ac:spMk id="68" creationId="{FBDD4ED7-E2F2-D896-C57C-443C0AA9F100}"/>
          </ac:spMkLst>
        </pc:spChg>
        <pc:spChg chg="add mod">
          <ac:chgData name="Oğuz Öztekin" userId="33c0df0f-d5fe-4bda-8f43-141ad7af67e3" providerId="ADAL" clId="{48B824AD-1B2A-47A8-8D92-6FE6E622A650}" dt="2024-12-16T18:12:43.439" v="158285"/>
          <ac:spMkLst>
            <pc:docMk/>
            <pc:sldMk cId="3830733687" sldId="292"/>
            <ac:spMk id="69" creationId="{97C091EE-3B1E-7231-617F-DE07CC5D927B}"/>
          </ac:spMkLst>
        </pc:spChg>
        <pc:spChg chg="add mod">
          <ac:chgData name="Oğuz Öztekin" userId="33c0df0f-d5fe-4bda-8f43-141ad7af67e3" providerId="ADAL" clId="{48B824AD-1B2A-47A8-8D92-6FE6E622A650}" dt="2024-12-16T18:12:43.440" v="158286"/>
          <ac:spMkLst>
            <pc:docMk/>
            <pc:sldMk cId="3830733687" sldId="292"/>
            <ac:spMk id="70" creationId="{969B8AB7-426C-BEA1-DC89-1E8DA58E5B5C}"/>
          </ac:spMkLst>
        </pc:spChg>
        <pc:spChg chg="add mod">
          <ac:chgData name="Oğuz Öztekin" userId="33c0df0f-d5fe-4bda-8f43-141ad7af67e3" providerId="ADAL" clId="{48B824AD-1B2A-47A8-8D92-6FE6E622A650}" dt="2024-12-16T18:12:43.440" v="158287"/>
          <ac:spMkLst>
            <pc:docMk/>
            <pc:sldMk cId="3830733687" sldId="292"/>
            <ac:spMk id="71" creationId="{15CF8985-A76F-BE8C-D68F-7C5823E07804}"/>
          </ac:spMkLst>
        </pc:spChg>
        <pc:spChg chg="add mod">
          <ac:chgData name="Oğuz Öztekin" userId="33c0df0f-d5fe-4bda-8f43-141ad7af67e3" providerId="ADAL" clId="{48B824AD-1B2A-47A8-8D92-6FE6E622A650}" dt="2024-12-16T18:12:43.440" v="158288"/>
          <ac:spMkLst>
            <pc:docMk/>
            <pc:sldMk cId="3830733687" sldId="292"/>
            <ac:spMk id="72" creationId="{8080CA1F-9D57-018E-A1D9-683D802C2575}"/>
          </ac:spMkLst>
        </pc:spChg>
        <pc:spChg chg="add mod">
          <ac:chgData name="Oğuz Öztekin" userId="33c0df0f-d5fe-4bda-8f43-141ad7af67e3" providerId="ADAL" clId="{48B824AD-1B2A-47A8-8D92-6FE6E622A650}" dt="2024-12-16T18:12:43.441" v="158289"/>
          <ac:spMkLst>
            <pc:docMk/>
            <pc:sldMk cId="3830733687" sldId="292"/>
            <ac:spMk id="73" creationId="{7BC093B4-0A84-DB20-672F-76DA502EF092}"/>
          </ac:spMkLst>
        </pc:spChg>
        <pc:spChg chg="add mod">
          <ac:chgData name="Oğuz Öztekin" userId="33c0df0f-d5fe-4bda-8f43-141ad7af67e3" providerId="ADAL" clId="{48B824AD-1B2A-47A8-8D92-6FE6E622A650}" dt="2024-12-16T18:12:43.441" v="158290"/>
          <ac:spMkLst>
            <pc:docMk/>
            <pc:sldMk cId="3830733687" sldId="292"/>
            <ac:spMk id="74" creationId="{530F23E2-33D7-6480-5684-0E719AE6BCE4}"/>
          </ac:spMkLst>
        </pc:spChg>
        <pc:spChg chg="add mod">
          <ac:chgData name="Oğuz Öztekin" userId="33c0df0f-d5fe-4bda-8f43-141ad7af67e3" providerId="ADAL" clId="{48B824AD-1B2A-47A8-8D92-6FE6E622A650}" dt="2024-12-16T18:12:43.441" v="158291"/>
          <ac:spMkLst>
            <pc:docMk/>
            <pc:sldMk cId="3830733687" sldId="292"/>
            <ac:spMk id="75" creationId="{F705793B-A7AF-4484-2F9A-A21EF0E33641}"/>
          </ac:spMkLst>
        </pc:spChg>
        <pc:spChg chg="add mod">
          <ac:chgData name="Oğuz Öztekin" userId="33c0df0f-d5fe-4bda-8f43-141ad7af67e3" providerId="ADAL" clId="{48B824AD-1B2A-47A8-8D92-6FE6E622A650}" dt="2024-12-16T18:12:43.442" v="158292"/>
          <ac:spMkLst>
            <pc:docMk/>
            <pc:sldMk cId="3830733687" sldId="292"/>
            <ac:spMk id="76" creationId="{3DC96BD9-8473-EE86-8367-471AD3B0543F}"/>
          </ac:spMkLst>
        </pc:spChg>
        <pc:spChg chg="add mod">
          <ac:chgData name="Oğuz Öztekin" userId="33c0df0f-d5fe-4bda-8f43-141ad7af67e3" providerId="ADAL" clId="{48B824AD-1B2A-47A8-8D92-6FE6E622A650}" dt="2024-12-16T18:12:43.442" v="158293"/>
          <ac:spMkLst>
            <pc:docMk/>
            <pc:sldMk cId="3830733687" sldId="292"/>
            <ac:spMk id="77" creationId="{ECEF1ACD-9F9C-A2D4-585C-9986761324DE}"/>
          </ac:spMkLst>
        </pc:spChg>
        <pc:spChg chg="add mod">
          <ac:chgData name="Oğuz Öztekin" userId="33c0df0f-d5fe-4bda-8f43-141ad7af67e3" providerId="ADAL" clId="{48B824AD-1B2A-47A8-8D92-6FE6E622A650}" dt="2024-12-16T18:12:43.442" v="158294"/>
          <ac:spMkLst>
            <pc:docMk/>
            <pc:sldMk cId="3830733687" sldId="292"/>
            <ac:spMk id="78" creationId="{E807A042-7B56-33E3-9544-9FCE50D3A38C}"/>
          </ac:spMkLst>
        </pc:spChg>
        <pc:spChg chg="add mod">
          <ac:chgData name="Oğuz Öztekin" userId="33c0df0f-d5fe-4bda-8f43-141ad7af67e3" providerId="ADAL" clId="{48B824AD-1B2A-47A8-8D92-6FE6E622A650}" dt="2024-12-16T18:12:43.443" v="158295"/>
          <ac:spMkLst>
            <pc:docMk/>
            <pc:sldMk cId="3830733687" sldId="292"/>
            <ac:spMk id="79" creationId="{A7E0C07F-E74B-0635-3FB4-293DB1902F67}"/>
          </ac:spMkLst>
        </pc:spChg>
        <pc:spChg chg="add mod">
          <ac:chgData name="Oğuz Öztekin" userId="33c0df0f-d5fe-4bda-8f43-141ad7af67e3" providerId="ADAL" clId="{48B824AD-1B2A-47A8-8D92-6FE6E622A650}" dt="2024-12-16T18:12:43.443" v="158296"/>
          <ac:spMkLst>
            <pc:docMk/>
            <pc:sldMk cId="3830733687" sldId="292"/>
            <ac:spMk id="80" creationId="{9085B575-B792-26D6-4BA9-AD77704E23DA}"/>
          </ac:spMkLst>
        </pc:spChg>
        <pc:spChg chg="add mod">
          <ac:chgData name="Oğuz Öztekin" userId="33c0df0f-d5fe-4bda-8f43-141ad7af67e3" providerId="ADAL" clId="{48B824AD-1B2A-47A8-8D92-6FE6E622A650}" dt="2024-12-16T18:12:43.444" v="158297"/>
          <ac:spMkLst>
            <pc:docMk/>
            <pc:sldMk cId="3830733687" sldId="292"/>
            <ac:spMk id="81" creationId="{3F178D2C-F5C2-7F61-AE0B-EDC9969225D0}"/>
          </ac:spMkLst>
        </pc:spChg>
        <pc:spChg chg="add mod">
          <ac:chgData name="Oğuz Öztekin" userId="33c0df0f-d5fe-4bda-8f43-141ad7af67e3" providerId="ADAL" clId="{48B824AD-1B2A-47A8-8D92-6FE6E622A650}" dt="2024-12-16T18:12:43.444" v="158298"/>
          <ac:spMkLst>
            <pc:docMk/>
            <pc:sldMk cId="3830733687" sldId="292"/>
            <ac:spMk id="82" creationId="{DB4B5D82-84E1-0009-A86C-E25E09789DF9}"/>
          </ac:spMkLst>
        </pc:spChg>
        <pc:spChg chg="add mod">
          <ac:chgData name="Oğuz Öztekin" userId="33c0df0f-d5fe-4bda-8f43-141ad7af67e3" providerId="ADAL" clId="{48B824AD-1B2A-47A8-8D92-6FE6E622A650}" dt="2024-12-16T18:12:43.444" v="158299"/>
          <ac:spMkLst>
            <pc:docMk/>
            <pc:sldMk cId="3830733687" sldId="292"/>
            <ac:spMk id="83" creationId="{291047B4-D897-F140-7373-BC3B2B7D3B31}"/>
          </ac:spMkLst>
        </pc:spChg>
        <pc:spChg chg="add mod">
          <ac:chgData name="Oğuz Öztekin" userId="33c0df0f-d5fe-4bda-8f43-141ad7af67e3" providerId="ADAL" clId="{48B824AD-1B2A-47A8-8D92-6FE6E622A650}" dt="2024-12-16T18:12:43.445" v="158300"/>
          <ac:spMkLst>
            <pc:docMk/>
            <pc:sldMk cId="3830733687" sldId="292"/>
            <ac:spMk id="84" creationId="{98C8DEC1-08B5-C53C-A481-165426318D8C}"/>
          </ac:spMkLst>
        </pc:spChg>
        <pc:spChg chg="add mod">
          <ac:chgData name="Oğuz Öztekin" userId="33c0df0f-d5fe-4bda-8f43-141ad7af67e3" providerId="ADAL" clId="{48B824AD-1B2A-47A8-8D92-6FE6E622A650}" dt="2024-12-16T18:12:43.445" v="158301"/>
          <ac:spMkLst>
            <pc:docMk/>
            <pc:sldMk cId="3830733687" sldId="292"/>
            <ac:spMk id="85" creationId="{A0BDCC24-DEA4-5262-F519-BB6EFB3CF3B4}"/>
          </ac:spMkLst>
        </pc:spChg>
        <pc:spChg chg="mod">
          <ac:chgData name="Oğuz Öztekin" userId="33c0df0f-d5fe-4bda-8f43-141ad7af67e3" providerId="ADAL" clId="{48B824AD-1B2A-47A8-8D92-6FE6E622A650}" dt="2024-12-16T18:12:43.408" v="158196"/>
          <ac:spMkLst>
            <pc:docMk/>
            <pc:sldMk cId="3830733687" sldId="292"/>
            <ac:spMk id="86" creationId="{080C1EE6-8A26-6F80-0AC4-94B35A2AD0AB}"/>
          </ac:spMkLst>
        </pc:spChg>
        <pc:spChg chg="mod">
          <ac:chgData name="Oğuz Öztekin" userId="33c0df0f-d5fe-4bda-8f43-141ad7af67e3" providerId="ADAL" clId="{48B824AD-1B2A-47A8-8D92-6FE6E622A650}" dt="2024-12-16T18:12:43.408" v="158197"/>
          <ac:spMkLst>
            <pc:docMk/>
            <pc:sldMk cId="3830733687" sldId="292"/>
            <ac:spMk id="87" creationId="{40A3655E-652B-83FE-A6A0-0C5C69EDDA4F}"/>
          </ac:spMkLst>
        </pc:spChg>
        <pc:spChg chg="mod">
          <ac:chgData name="Oğuz Öztekin" userId="33c0df0f-d5fe-4bda-8f43-141ad7af67e3" providerId="ADAL" clId="{48B824AD-1B2A-47A8-8D92-6FE6E622A650}" dt="2024-12-16T18:12:43.408" v="158198"/>
          <ac:spMkLst>
            <pc:docMk/>
            <pc:sldMk cId="3830733687" sldId="292"/>
            <ac:spMk id="88" creationId="{D4C9B393-4429-C1B8-1576-4EC5A28633D4}"/>
          </ac:spMkLst>
        </pc:spChg>
        <pc:spChg chg="mod">
          <ac:chgData name="Oğuz Öztekin" userId="33c0df0f-d5fe-4bda-8f43-141ad7af67e3" providerId="ADAL" clId="{48B824AD-1B2A-47A8-8D92-6FE6E622A650}" dt="2024-12-16T18:12:43.409" v="158199"/>
          <ac:spMkLst>
            <pc:docMk/>
            <pc:sldMk cId="3830733687" sldId="292"/>
            <ac:spMk id="89" creationId="{B9A27E51-657E-FEF2-EFD8-0541DF52B34F}"/>
          </ac:spMkLst>
        </pc:spChg>
        <pc:spChg chg="mod">
          <ac:chgData name="Oğuz Öztekin" userId="33c0df0f-d5fe-4bda-8f43-141ad7af67e3" providerId="ADAL" clId="{48B824AD-1B2A-47A8-8D92-6FE6E622A650}" dt="2024-12-16T18:12:43.409" v="158200"/>
          <ac:spMkLst>
            <pc:docMk/>
            <pc:sldMk cId="3830733687" sldId="292"/>
            <ac:spMk id="90" creationId="{ADAE834F-095A-CA4C-14AE-6DEC0A857682}"/>
          </ac:spMkLst>
        </pc:spChg>
        <pc:spChg chg="mod">
          <ac:chgData name="Oğuz Öztekin" userId="33c0df0f-d5fe-4bda-8f43-141ad7af67e3" providerId="ADAL" clId="{48B824AD-1B2A-47A8-8D92-6FE6E622A650}" dt="2024-12-16T18:12:43.410" v="158201"/>
          <ac:spMkLst>
            <pc:docMk/>
            <pc:sldMk cId="3830733687" sldId="292"/>
            <ac:spMk id="91" creationId="{7F1E1C27-34AD-ECB1-D5FC-963FAC7B5FCA}"/>
          </ac:spMkLst>
        </pc:spChg>
        <pc:spChg chg="mod">
          <ac:chgData name="Oğuz Öztekin" userId="33c0df0f-d5fe-4bda-8f43-141ad7af67e3" providerId="ADAL" clId="{48B824AD-1B2A-47A8-8D92-6FE6E622A650}" dt="2024-12-16T18:12:43.410" v="158202"/>
          <ac:spMkLst>
            <pc:docMk/>
            <pc:sldMk cId="3830733687" sldId="292"/>
            <ac:spMk id="92" creationId="{76509511-12A4-F9EB-7BF0-591286753488}"/>
          </ac:spMkLst>
        </pc:spChg>
        <pc:spChg chg="add mod">
          <ac:chgData name="Oğuz Öztekin" userId="33c0df0f-d5fe-4bda-8f43-141ad7af67e3" providerId="ADAL" clId="{48B824AD-1B2A-47A8-8D92-6FE6E622A650}" dt="2024-12-16T18:12:43.445" v="158302"/>
          <ac:spMkLst>
            <pc:docMk/>
            <pc:sldMk cId="3830733687" sldId="292"/>
            <ac:spMk id="93" creationId="{D1B460EB-2F77-2F72-FB81-AE2A0AC92627}"/>
          </ac:spMkLst>
        </pc:spChg>
        <pc:spChg chg="add mod">
          <ac:chgData name="Oğuz Öztekin" userId="33c0df0f-d5fe-4bda-8f43-141ad7af67e3" providerId="ADAL" clId="{48B824AD-1B2A-47A8-8D92-6FE6E622A650}" dt="2024-12-16T18:12:43.445" v="158303"/>
          <ac:spMkLst>
            <pc:docMk/>
            <pc:sldMk cId="3830733687" sldId="292"/>
            <ac:spMk id="94" creationId="{99108522-1F86-46B4-7D65-46B0B199A09E}"/>
          </ac:spMkLst>
        </pc:spChg>
        <pc:spChg chg="add mod">
          <ac:chgData name="Oğuz Öztekin" userId="33c0df0f-d5fe-4bda-8f43-141ad7af67e3" providerId="ADAL" clId="{48B824AD-1B2A-47A8-8D92-6FE6E622A650}" dt="2024-12-16T18:12:43.445" v="158304"/>
          <ac:spMkLst>
            <pc:docMk/>
            <pc:sldMk cId="3830733687" sldId="292"/>
            <ac:spMk id="95" creationId="{9614A265-A6CA-3925-B69E-995A51467E24}"/>
          </ac:spMkLst>
        </pc:spChg>
        <pc:spChg chg="add mod">
          <ac:chgData name="Oğuz Öztekin" userId="33c0df0f-d5fe-4bda-8f43-141ad7af67e3" providerId="ADAL" clId="{48B824AD-1B2A-47A8-8D92-6FE6E622A650}" dt="2024-12-16T18:12:43.431" v="158261"/>
          <ac:spMkLst>
            <pc:docMk/>
            <pc:sldMk cId="3830733687" sldId="292"/>
            <ac:spMk id="288" creationId="{6E570FDE-816E-CBF0-F07D-EFADAE941F53}"/>
          </ac:spMkLst>
        </pc:spChg>
        <pc:spChg chg="add mod">
          <ac:chgData name="Oğuz Öztekin" userId="33c0df0f-d5fe-4bda-8f43-141ad7af67e3" providerId="ADAL" clId="{48B824AD-1B2A-47A8-8D92-6FE6E622A650}" dt="2024-12-16T18:12:43.432" v="158262"/>
          <ac:spMkLst>
            <pc:docMk/>
            <pc:sldMk cId="3830733687" sldId="292"/>
            <ac:spMk id="289" creationId="{3FCBDC6A-EEB5-E4CF-9E36-1029958C551F}"/>
          </ac:spMkLst>
        </pc:spChg>
        <pc:spChg chg="add mod">
          <ac:chgData name="Oğuz Öztekin" userId="33c0df0f-d5fe-4bda-8f43-141ad7af67e3" providerId="ADAL" clId="{48B824AD-1B2A-47A8-8D92-6FE6E622A650}" dt="2024-12-16T18:12:43.432" v="158263"/>
          <ac:spMkLst>
            <pc:docMk/>
            <pc:sldMk cId="3830733687" sldId="292"/>
            <ac:spMk id="290" creationId="{EA132700-7307-F8A0-2F3C-33DA6B594740}"/>
          </ac:spMkLst>
        </pc:spChg>
        <pc:spChg chg="add mod">
          <ac:chgData name="Oğuz Öztekin" userId="33c0df0f-d5fe-4bda-8f43-141ad7af67e3" providerId="ADAL" clId="{48B824AD-1B2A-47A8-8D92-6FE6E622A650}" dt="2024-12-16T18:12:43.432" v="158264"/>
          <ac:spMkLst>
            <pc:docMk/>
            <pc:sldMk cId="3830733687" sldId="292"/>
            <ac:spMk id="291" creationId="{F0394AE0-7357-89C5-4A80-FECE9243D7CD}"/>
          </ac:spMkLst>
        </pc:spChg>
        <pc:spChg chg="del mod">
          <ac:chgData name="Oğuz Öztekin" userId="33c0df0f-d5fe-4bda-8f43-141ad7af67e3" providerId="ADAL" clId="{48B824AD-1B2A-47A8-8D92-6FE6E622A650}" dt="2024-12-16T18:12:37.816" v="156501"/>
          <ac:spMkLst>
            <pc:docMk/>
            <pc:sldMk cId="3830733687" sldId="292"/>
            <ac:spMk id="292" creationId="{C6C3D3B3-286A-4C32-36E4-08F30EBB36E3}"/>
          </ac:spMkLst>
        </pc:spChg>
        <pc:spChg chg="add mod">
          <ac:chgData name="Oğuz Öztekin" userId="33c0df0f-d5fe-4bda-8f43-141ad7af67e3" providerId="ADAL" clId="{48B824AD-1B2A-47A8-8D92-6FE6E622A650}" dt="2024-12-16T18:12:43.432" v="158265"/>
          <ac:spMkLst>
            <pc:docMk/>
            <pc:sldMk cId="3830733687" sldId="292"/>
            <ac:spMk id="294" creationId="{02BC000F-7965-89A1-C4B1-EBB9CA2F126A}"/>
          </ac:spMkLst>
        </pc:spChg>
        <pc:spChg chg="del mod">
          <ac:chgData name="Oğuz Öztekin" userId="33c0df0f-d5fe-4bda-8f43-141ad7af67e3" providerId="ADAL" clId="{48B824AD-1B2A-47A8-8D92-6FE6E622A650}" dt="2024-12-16T18:12:37.821" v="156505"/>
          <ac:spMkLst>
            <pc:docMk/>
            <pc:sldMk cId="3830733687" sldId="292"/>
            <ac:spMk id="295" creationId="{A3E3DD7A-AE6A-BC2E-DAFC-BC161BBA0611}"/>
          </ac:spMkLst>
        </pc:spChg>
        <pc:spChg chg="add mod">
          <ac:chgData name="Oğuz Öztekin" userId="33c0df0f-d5fe-4bda-8f43-141ad7af67e3" providerId="ADAL" clId="{48B824AD-1B2A-47A8-8D92-6FE6E622A650}" dt="2024-12-16T18:12:43.433" v="158266"/>
          <ac:spMkLst>
            <pc:docMk/>
            <pc:sldMk cId="3830733687" sldId="292"/>
            <ac:spMk id="296" creationId="{0DB714F5-0BAC-62CE-28E1-7D3B38F454CC}"/>
          </ac:spMkLst>
        </pc:spChg>
        <pc:spChg chg="add mod">
          <ac:chgData name="Oğuz Öztekin" userId="33c0df0f-d5fe-4bda-8f43-141ad7af67e3" providerId="ADAL" clId="{48B824AD-1B2A-47A8-8D92-6FE6E622A650}" dt="2024-12-16T18:12:43.433" v="158267"/>
          <ac:spMkLst>
            <pc:docMk/>
            <pc:sldMk cId="3830733687" sldId="292"/>
            <ac:spMk id="297" creationId="{00C5096B-0F39-C772-C92D-42B842DF2BDF}"/>
          </ac:spMkLst>
        </pc:spChg>
        <pc:spChg chg="del mod">
          <ac:chgData name="Oğuz Öztekin" userId="33c0df0f-d5fe-4bda-8f43-141ad7af67e3" providerId="ADAL" clId="{48B824AD-1B2A-47A8-8D92-6FE6E622A650}" dt="2024-12-16T18:12:37.825" v="156513"/>
          <ac:spMkLst>
            <pc:docMk/>
            <pc:sldMk cId="3830733687" sldId="292"/>
            <ac:spMk id="298" creationId="{1C7001B4-2410-3423-4593-AC2C9CC30840}"/>
          </ac:spMkLst>
        </pc:spChg>
        <pc:spChg chg="add mod">
          <ac:chgData name="Oğuz Öztekin" userId="33c0df0f-d5fe-4bda-8f43-141ad7af67e3" providerId="ADAL" clId="{48B824AD-1B2A-47A8-8D92-6FE6E622A650}" dt="2024-12-16T18:12:43.433" v="158268"/>
          <ac:spMkLst>
            <pc:docMk/>
            <pc:sldMk cId="3830733687" sldId="292"/>
            <ac:spMk id="299" creationId="{DA953294-EF91-9DF2-AC5E-2FA0713D57A5}"/>
          </ac:spMkLst>
        </pc:spChg>
        <pc:spChg chg="add mod">
          <ac:chgData name="Oğuz Öztekin" userId="33c0df0f-d5fe-4bda-8f43-141ad7af67e3" providerId="ADAL" clId="{48B824AD-1B2A-47A8-8D92-6FE6E622A650}" dt="2024-12-16T18:12:43.433" v="158269"/>
          <ac:spMkLst>
            <pc:docMk/>
            <pc:sldMk cId="3830733687" sldId="292"/>
            <ac:spMk id="300" creationId="{7DDCF9BE-C355-EE47-E56F-27BA07182E02}"/>
          </ac:spMkLst>
        </pc:spChg>
        <pc:spChg chg="del mod">
          <ac:chgData name="Oğuz Öztekin" userId="33c0df0f-d5fe-4bda-8f43-141ad7af67e3" providerId="ADAL" clId="{48B824AD-1B2A-47A8-8D92-6FE6E622A650}" dt="2024-12-16T18:12:37.827" v="156517"/>
          <ac:spMkLst>
            <pc:docMk/>
            <pc:sldMk cId="3830733687" sldId="292"/>
            <ac:spMk id="301" creationId="{CAEC26A9-05FB-2D37-901B-5C619F9BC769}"/>
          </ac:spMkLst>
        </pc:spChg>
        <pc:spChg chg="add mod">
          <ac:chgData name="Oğuz Öztekin" userId="33c0df0f-d5fe-4bda-8f43-141ad7af67e3" providerId="ADAL" clId="{48B824AD-1B2A-47A8-8D92-6FE6E622A650}" dt="2024-12-16T18:12:43.435" v="158270"/>
          <ac:spMkLst>
            <pc:docMk/>
            <pc:sldMk cId="3830733687" sldId="292"/>
            <ac:spMk id="302" creationId="{3A459F38-13B8-3AC3-CC00-D1B2D5310699}"/>
          </ac:spMkLst>
        </pc:spChg>
        <pc:spChg chg="add mod">
          <ac:chgData name="Oğuz Öztekin" userId="33c0df0f-d5fe-4bda-8f43-141ad7af67e3" providerId="ADAL" clId="{48B824AD-1B2A-47A8-8D92-6FE6E622A650}" dt="2024-12-16T18:12:43.435" v="158271"/>
          <ac:spMkLst>
            <pc:docMk/>
            <pc:sldMk cId="3830733687" sldId="292"/>
            <ac:spMk id="303" creationId="{F340EACE-DD31-DD24-F337-8C1C5CD29DB5}"/>
          </ac:spMkLst>
        </pc:spChg>
        <pc:spChg chg="del mod">
          <ac:chgData name="Oğuz Öztekin" userId="33c0df0f-d5fe-4bda-8f43-141ad7af67e3" providerId="ADAL" clId="{48B824AD-1B2A-47A8-8D92-6FE6E622A650}" dt="2024-12-16T18:12:37.829" v="156521"/>
          <ac:spMkLst>
            <pc:docMk/>
            <pc:sldMk cId="3830733687" sldId="292"/>
            <ac:spMk id="304" creationId="{07B53806-7F7C-AB6A-D98A-695D4B483693}"/>
          </ac:spMkLst>
        </pc:spChg>
        <pc:spChg chg="add mod">
          <ac:chgData name="Oğuz Öztekin" userId="33c0df0f-d5fe-4bda-8f43-141ad7af67e3" providerId="ADAL" clId="{48B824AD-1B2A-47A8-8D92-6FE6E622A650}" dt="2024-12-16T18:12:43.435" v="158272"/>
          <ac:spMkLst>
            <pc:docMk/>
            <pc:sldMk cId="3830733687" sldId="292"/>
            <ac:spMk id="305" creationId="{85D09170-084E-CE85-2F29-C99375381C3B}"/>
          </ac:spMkLst>
        </pc:spChg>
        <pc:spChg chg="add mod">
          <ac:chgData name="Oğuz Öztekin" userId="33c0df0f-d5fe-4bda-8f43-141ad7af67e3" providerId="ADAL" clId="{48B824AD-1B2A-47A8-8D92-6FE6E622A650}" dt="2024-12-16T18:12:43.436" v="158273"/>
          <ac:spMkLst>
            <pc:docMk/>
            <pc:sldMk cId="3830733687" sldId="292"/>
            <ac:spMk id="307" creationId="{CC0223DA-9A5D-5F7B-9187-C7517D5F49E1}"/>
          </ac:spMkLst>
        </pc:spChg>
        <pc:spChg chg="del mod">
          <ac:chgData name="Oğuz Öztekin" userId="33c0df0f-d5fe-4bda-8f43-141ad7af67e3" providerId="ADAL" clId="{48B824AD-1B2A-47A8-8D92-6FE6E622A650}" dt="2024-12-16T18:12:37.829" v="156525"/>
          <ac:spMkLst>
            <pc:docMk/>
            <pc:sldMk cId="3830733687" sldId="292"/>
            <ac:spMk id="308" creationId="{AFB05F29-CE74-21AE-02F0-59729C13831F}"/>
          </ac:spMkLst>
        </pc:spChg>
        <pc:spChg chg="add mod">
          <ac:chgData name="Oğuz Öztekin" userId="33c0df0f-d5fe-4bda-8f43-141ad7af67e3" providerId="ADAL" clId="{48B824AD-1B2A-47A8-8D92-6FE6E622A650}" dt="2024-12-16T18:12:43.436" v="158274"/>
          <ac:spMkLst>
            <pc:docMk/>
            <pc:sldMk cId="3830733687" sldId="292"/>
            <ac:spMk id="309" creationId="{FEFD9521-44F7-8575-BF6C-3A023E0B390D}"/>
          </ac:spMkLst>
        </pc:spChg>
        <pc:spChg chg="add mod">
          <ac:chgData name="Oğuz Öztekin" userId="33c0df0f-d5fe-4bda-8f43-141ad7af67e3" providerId="ADAL" clId="{48B824AD-1B2A-47A8-8D92-6FE6E622A650}" dt="2024-12-16T18:12:43.436" v="158275"/>
          <ac:spMkLst>
            <pc:docMk/>
            <pc:sldMk cId="3830733687" sldId="292"/>
            <ac:spMk id="310" creationId="{9788C9C6-4C8C-9892-6698-9F11C654ABE4}"/>
          </ac:spMkLst>
        </pc:spChg>
        <pc:spChg chg="del mod">
          <ac:chgData name="Oğuz Öztekin" userId="33c0df0f-d5fe-4bda-8f43-141ad7af67e3" providerId="ADAL" clId="{48B824AD-1B2A-47A8-8D92-6FE6E622A650}" dt="2024-12-16T18:12:37.831" v="156529"/>
          <ac:spMkLst>
            <pc:docMk/>
            <pc:sldMk cId="3830733687" sldId="292"/>
            <ac:spMk id="311" creationId="{076FD1E0-2FE8-F6F1-5F06-3A5BB72BA074}"/>
          </ac:spMkLst>
        </pc:spChg>
        <pc:spChg chg="add mod">
          <ac:chgData name="Oğuz Öztekin" userId="33c0df0f-d5fe-4bda-8f43-141ad7af67e3" providerId="ADAL" clId="{48B824AD-1B2A-47A8-8D92-6FE6E622A650}" dt="2024-12-16T18:12:43.437" v="158276"/>
          <ac:spMkLst>
            <pc:docMk/>
            <pc:sldMk cId="3830733687" sldId="292"/>
            <ac:spMk id="312" creationId="{98B6EEE4-0BCB-DED7-CD96-3F84217E9C1A}"/>
          </ac:spMkLst>
        </pc:spChg>
        <pc:spChg chg="add mod">
          <ac:chgData name="Oğuz Öztekin" userId="33c0df0f-d5fe-4bda-8f43-141ad7af67e3" providerId="ADAL" clId="{48B824AD-1B2A-47A8-8D92-6FE6E622A650}" dt="2024-12-16T18:12:43.437" v="158277"/>
          <ac:spMkLst>
            <pc:docMk/>
            <pc:sldMk cId="3830733687" sldId="292"/>
            <ac:spMk id="314" creationId="{93936C80-B664-13F0-95D3-01AD1B87DB49}"/>
          </ac:spMkLst>
        </pc:spChg>
        <pc:spChg chg="del mod">
          <ac:chgData name="Oğuz Öztekin" userId="33c0df0f-d5fe-4bda-8f43-141ad7af67e3" providerId="ADAL" clId="{48B824AD-1B2A-47A8-8D92-6FE6E622A650}" dt="2024-12-16T18:12:37.831" v="156533"/>
          <ac:spMkLst>
            <pc:docMk/>
            <pc:sldMk cId="3830733687" sldId="292"/>
            <ac:spMk id="315" creationId="{45FB7218-698C-6372-7CF3-0E7E3FBD8D17}"/>
          </ac:spMkLst>
        </pc:spChg>
        <pc:spChg chg="add mod">
          <ac:chgData name="Oğuz Öztekin" userId="33c0df0f-d5fe-4bda-8f43-141ad7af67e3" providerId="ADAL" clId="{48B824AD-1B2A-47A8-8D92-6FE6E622A650}" dt="2024-12-16T18:12:43.437" v="158278"/>
          <ac:spMkLst>
            <pc:docMk/>
            <pc:sldMk cId="3830733687" sldId="292"/>
            <ac:spMk id="316" creationId="{1AA36569-55E6-F8F3-B770-F9DA63B62928}"/>
          </ac:spMkLst>
        </pc:spChg>
        <pc:spChg chg="add mod">
          <ac:chgData name="Oğuz Öztekin" userId="33c0df0f-d5fe-4bda-8f43-141ad7af67e3" providerId="ADAL" clId="{48B824AD-1B2A-47A8-8D92-6FE6E622A650}" dt="2024-12-16T18:12:43.438" v="158279"/>
          <ac:spMkLst>
            <pc:docMk/>
            <pc:sldMk cId="3830733687" sldId="292"/>
            <ac:spMk id="318" creationId="{53D2CA2E-12E4-D8BC-5534-FC2155F13D26}"/>
          </ac:spMkLst>
        </pc:spChg>
        <pc:spChg chg="mod">
          <ac:chgData name="Oğuz Öztekin" userId="33c0df0f-d5fe-4bda-8f43-141ad7af67e3" providerId="ADAL" clId="{48B824AD-1B2A-47A8-8D92-6FE6E622A650}" dt="2024-12-16T18:12:43.410" v="158203"/>
          <ac:spMkLst>
            <pc:docMk/>
            <pc:sldMk cId="3830733687" sldId="292"/>
            <ac:spMk id="319" creationId="{DA9BD3C0-F3A2-6C8A-064C-F5723903A8BE}"/>
          </ac:spMkLst>
        </pc:spChg>
        <pc:spChg chg="add mod">
          <ac:chgData name="Oğuz Öztekin" userId="33c0df0f-d5fe-4bda-8f43-141ad7af67e3" providerId="ADAL" clId="{48B824AD-1B2A-47A8-8D92-6FE6E622A650}" dt="2024-12-16T18:12:43.447" v="158305"/>
          <ac:spMkLst>
            <pc:docMk/>
            <pc:sldMk cId="3830733687" sldId="292"/>
            <ac:spMk id="320" creationId="{CCB3C3CD-864E-1B78-1420-FB606B364C88}"/>
          </ac:spMkLst>
        </pc:spChg>
        <pc:spChg chg="add mod">
          <ac:chgData name="Oğuz Öztekin" userId="33c0df0f-d5fe-4bda-8f43-141ad7af67e3" providerId="ADAL" clId="{48B824AD-1B2A-47A8-8D92-6FE6E622A650}" dt="2024-12-16T18:12:43.447" v="158306"/>
          <ac:spMkLst>
            <pc:docMk/>
            <pc:sldMk cId="3830733687" sldId="292"/>
            <ac:spMk id="322" creationId="{D90F01FE-33B4-C3CD-9C10-A3FF5A9277C5}"/>
          </ac:spMkLst>
        </pc:spChg>
        <pc:spChg chg="mod">
          <ac:chgData name="Oğuz Öztekin" userId="33c0df0f-d5fe-4bda-8f43-141ad7af67e3" providerId="ADAL" clId="{48B824AD-1B2A-47A8-8D92-6FE6E622A650}" dt="2024-12-16T18:12:43.411" v="158204"/>
          <ac:spMkLst>
            <pc:docMk/>
            <pc:sldMk cId="3830733687" sldId="292"/>
            <ac:spMk id="323" creationId="{8D8394AB-157A-B0C3-026B-EC7599431607}"/>
          </ac:spMkLst>
        </pc:spChg>
        <pc:spChg chg="add mod">
          <ac:chgData name="Oğuz Öztekin" userId="33c0df0f-d5fe-4bda-8f43-141ad7af67e3" providerId="ADAL" clId="{48B824AD-1B2A-47A8-8D92-6FE6E622A650}" dt="2024-12-16T18:12:43.448" v="158307"/>
          <ac:spMkLst>
            <pc:docMk/>
            <pc:sldMk cId="3830733687" sldId="292"/>
            <ac:spMk id="324" creationId="{930D5D6B-A7A9-964D-14EC-2ABAE3849284}"/>
          </ac:spMkLst>
        </pc:spChg>
        <pc:spChg chg="add mod">
          <ac:chgData name="Oğuz Öztekin" userId="33c0df0f-d5fe-4bda-8f43-141ad7af67e3" providerId="ADAL" clId="{48B824AD-1B2A-47A8-8D92-6FE6E622A650}" dt="2024-12-16T18:12:43.448" v="158308"/>
          <ac:spMkLst>
            <pc:docMk/>
            <pc:sldMk cId="3830733687" sldId="292"/>
            <ac:spMk id="325" creationId="{66B7E4AF-8BC0-9ED0-A591-9014BBF1A035}"/>
          </ac:spMkLst>
        </pc:spChg>
        <pc:spChg chg="mod">
          <ac:chgData name="Oğuz Öztekin" userId="33c0df0f-d5fe-4bda-8f43-141ad7af67e3" providerId="ADAL" clId="{48B824AD-1B2A-47A8-8D92-6FE6E622A650}" dt="2024-12-16T18:12:43.411" v="158205"/>
          <ac:spMkLst>
            <pc:docMk/>
            <pc:sldMk cId="3830733687" sldId="292"/>
            <ac:spMk id="326" creationId="{2FBC453F-C3D9-A5D4-6C9F-4D5530686D8F}"/>
          </ac:spMkLst>
        </pc:spChg>
        <pc:spChg chg="add mod">
          <ac:chgData name="Oğuz Öztekin" userId="33c0df0f-d5fe-4bda-8f43-141ad7af67e3" providerId="ADAL" clId="{48B824AD-1B2A-47A8-8D92-6FE6E622A650}" dt="2024-12-16T18:12:43.448" v="158309"/>
          <ac:spMkLst>
            <pc:docMk/>
            <pc:sldMk cId="3830733687" sldId="292"/>
            <ac:spMk id="327" creationId="{AA620F51-0A9F-A403-4997-6277BD544B89}"/>
          </ac:spMkLst>
        </pc:spChg>
        <pc:spChg chg="add mod">
          <ac:chgData name="Oğuz Öztekin" userId="33c0df0f-d5fe-4bda-8f43-141ad7af67e3" providerId="ADAL" clId="{48B824AD-1B2A-47A8-8D92-6FE6E622A650}" dt="2024-12-16T18:12:43.449" v="158310"/>
          <ac:spMkLst>
            <pc:docMk/>
            <pc:sldMk cId="3830733687" sldId="292"/>
            <ac:spMk id="328" creationId="{E6E451F0-2E84-E2F0-5038-998A421916B1}"/>
          </ac:spMkLst>
        </pc:spChg>
        <pc:spChg chg="mod">
          <ac:chgData name="Oğuz Öztekin" userId="33c0df0f-d5fe-4bda-8f43-141ad7af67e3" providerId="ADAL" clId="{48B824AD-1B2A-47A8-8D92-6FE6E622A650}" dt="2024-12-16T18:12:43.412" v="158206"/>
          <ac:spMkLst>
            <pc:docMk/>
            <pc:sldMk cId="3830733687" sldId="292"/>
            <ac:spMk id="329" creationId="{9FD20978-BC22-8F7C-212B-08A70B9967F6}"/>
          </ac:spMkLst>
        </pc:spChg>
        <pc:spChg chg="add mod">
          <ac:chgData name="Oğuz Öztekin" userId="33c0df0f-d5fe-4bda-8f43-141ad7af67e3" providerId="ADAL" clId="{48B824AD-1B2A-47A8-8D92-6FE6E622A650}" dt="2024-12-16T18:12:43.449" v="158311"/>
          <ac:spMkLst>
            <pc:docMk/>
            <pc:sldMk cId="3830733687" sldId="292"/>
            <ac:spMk id="330" creationId="{F09FF4CF-4BD9-BFCB-DBDD-71D5F1C03210}"/>
          </ac:spMkLst>
        </pc:spChg>
        <pc:spChg chg="add mod">
          <ac:chgData name="Oğuz Öztekin" userId="33c0df0f-d5fe-4bda-8f43-141ad7af67e3" providerId="ADAL" clId="{48B824AD-1B2A-47A8-8D92-6FE6E622A650}" dt="2024-12-16T18:12:43.449" v="158312"/>
          <ac:spMkLst>
            <pc:docMk/>
            <pc:sldMk cId="3830733687" sldId="292"/>
            <ac:spMk id="331" creationId="{E579CA41-BFFC-CD57-7FC3-89B9D391EEEC}"/>
          </ac:spMkLst>
        </pc:spChg>
        <pc:spChg chg="mod">
          <ac:chgData name="Oğuz Öztekin" userId="33c0df0f-d5fe-4bda-8f43-141ad7af67e3" providerId="ADAL" clId="{48B824AD-1B2A-47A8-8D92-6FE6E622A650}" dt="2024-12-16T18:12:43.412" v="158207"/>
          <ac:spMkLst>
            <pc:docMk/>
            <pc:sldMk cId="3830733687" sldId="292"/>
            <ac:spMk id="332" creationId="{F938CF06-8FEE-1421-DB3E-FCA583A84FD5}"/>
          </ac:spMkLst>
        </pc:spChg>
        <pc:spChg chg="add mod">
          <ac:chgData name="Oğuz Öztekin" userId="33c0df0f-d5fe-4bda-8f43-141ad7af67e3" providerId="ADAL" clId="{48B824AD-1B2A-47A8-8D92-6FE6E622A650}" dt="2024-12-16T18:12:43.450" v="158313"/>
          <ac:spMkLst>
            <pc:docMk/>
            <pc:sldMk cId="3830733687" sldId="292"/>
            <ac:spMk id="333" creationId="{D60F922F-587A-69B2-0D07-DA512C973EF2}"/>
          </ac:spMkLst>
        </pc:spChg>
        <pc:spChg chg="add mod">
          <ac:chgData name="Oğuz Öztekin" userId="33c0df0f-d5fe-4bda-8f43-141ad7af67e3" providerId="ADAL" clId="{48B824AD-1B2A-47A8-8D92-6FE6E622A650}" dt="2024-12-16T18:12:43.450" v="158314"/>
          <ac:spMkLst>
            <pc:docMk/>
            <pc:sldMk cId="3830733687" sldId="292"/>
            <ac:spMk id="334" creationId="{52476DB4-4976-A4C3-C3F5-C6E80F568E9C}"/>
          </ac:spMkLst>
        </pc:spChg>
        <pc:spChg chg="mod">
          <ac:chgData name="Oğuz Öztekin" userId="33c0df0f-d5fe-4bda-8f43-141ad7af67e3" providerId="ADAL" clId="{48B824AD-1B2A-47A8-8D92-6FE6E622A650}" dt="2024-12-16T18:12:43.412" v="158208"/>
          <ac:spMkLst>
            <pc:docMk/>
            <pc:sldMk cId="3830733687" sldId="292"/>
            <ac:spMk id="335" creationId="{64B90B69-4957-7204-DFA5-A20F9762CB5E}"/>
          </ac:spMkLst>
        </pc:spChg>
        <pc:spChg chg="add mod">
          <ac:chgData name="Oğuz Öztekin" userId="33c0df0f-d5fe-4bda-8f43-141ad7af67e3" providerId="ADAL" clId="{48B824AD-1B2A-47A8-8D92-6FE6E622A650}" dt="2024-12-16T18:12:43.450" v="158315"/>
          <ac:spMkLst>
            <pc:docMk/>
            <pc:sldMk cId="3830733687" sldId="292"/>
            <ac:spMk id="336" creationId="{17EBB630-5A2A-4FBF-D90B-2DABA941F96B}"/>
          </ac:spMkLst>
        </pc:spChg>
        <pc:spChg chg="add mod">
          <ac:chgData name="Oğuz Öztekin" userId="33c0df0f-d5fe-4bda-8f43-141ad7af67e3" providerId="ADAL" clId="{48B824AD-1B2A-47A8-8D92-6FE6E622A650}" dt="2024-12-16T18:12:43.450" v="158316"/>
          <ac:spMkLst>
            <pc:docMk/>
            <pc:sldMk cId="3830733687" sldId="292"/>
            <ac:spMk id="337" creationId="{F65DD776-1707-5C04-4D0B-4525207D3D22}"/>
          </ac:spMkLst>
        </pc:spChg>
        <pc:spChg chg="add mod">
          <ac:chgData name="Oğuz Öztekin" userId="33c0df0f-d5fe-4bda-8f43-141ad7af67e3" providerId="ADAL" clId="{48B824AD-1B2A-47A8-8D92-6FE6E622A650}" dt="2024-12-16T18:12:43.451" v="158317"/>
          <ac:spMkLst>
            <pc:docMk/>
            <pc:sldMk cId="3830733687" sldId="292"/>
            <ac:spMk id="338" creationId="{64D9BE0D-AA55-9894-F006-7BC8CFFBCA85}"/>
          </ac:spMkLst>
        </pc:spChg>
        <pc:spChg chg="add mod">
          <ac:chgData name="Oğuz Öztekin" userId="33c0df0f-d5fe-4bda-8f43-141ad7af67e3" providerId="ADAL" clId="{48B824AD-1B2A-47A8-8D92-6FE6E622A650}" dt="2024-12-16T18:12:43.451" v="158318"/>
          <ac:spMkLst>
            <pc:docMk/>
            <pc:sldMk cId="3830733687" sldId="292"/>
            <ac:spMk id="339" creationId="{39FFA884-E126-CC8F-1DCF-E0159D564269}"/>
          </ac:spMkLst>
        </pc:spChg>
        <pc:spChg chg="add mod">
          <ac:chgData name="Oğuz Öztekin" userId="33c0df0f-d5fe-4bda-8f43-141ad7af67e3" providerId="ADAL" clId="{48B824AD-1B2A-47A8-8D92-6FE6E622A650}" dt="2024-12-16T18:12:43.451" v="158319"/>
          <ac:spMkLst>
            <pc:docMk/>
            <pc:sldMk cId="3830733687" sldId="292"/>
            <ac:spMk id="340" creationId="{85766051-B383-B272-1AE9-9DB5BE0EFAE5}"/>
          </ac:spMkLst>
        </pc:spChg>
        <pc:spChg chg="add mod">
          <ac:chgData name="Oğuz Öztekin" userId="33c0df0f-d5fe-4bda-8f43-141ad7af67e3" providerId="ADAL" clId="{48B824AD-1B2A-47A8-8D92-6FE6E622A650}" dt="2024-12-16T18:12:43.452" v="158320"/>
          <ac:spMkLst>
            <pc:docMk/>
            <pc:sldMk cId="3830733687" sldId="292"/>
            <ac:spMk id="341" creationId="{7F830665-4DB5-AF17-5E18-365614C5CC7C}"/>
          </ac:spMkLst>
        </pc:spChg>
        <pc:spChg chg="add mod">
          <ac:chgData name="Oğuz Öztekin" userId="33c0df0f-d5fe-4bda-8f43-141ad7af67e3" providerId="ADAL" clId="{48B824AD-1B2A-47A8-8D92-6FE6E622A650}" dt="2024-12-16T18:12:43.452" v="158321"/>
          <ac:spMkLst>
            <pc:docMk/>
            <pc:sldMk cId="3830733687" sldId="292"/>
            <ac:spMk id="342" creationId="{485C4FEE-8019-E681-50F0-349E8E52838B}"/>
          </ac:spMkLst>
        </pc:spChg>
        <pc:spChg chg="add mod">
          <ac:chgData name="Oğuz Öztekin" userId="33c0df0f-d5fe-4bda-8f43-141ad7af67e3" providerId="ADAL" clId="{48B824AD-1B2A-47A8-8D92-6FE6E622A650}" dt="2024-12-16T18:12:43.452" v="158322"/>
          <ac:spMkLst>
            <pc:docMk/>
            <pc:sldMk cId="3830733687" sldId="292"/>
            <ac:spMk id="343" creationId="{CBDDC662-82B7-2698-8B7F-91466361009B}"/>
          </ac:spMkLst>
        </pc:spChg>
        <pc:spChg chg="add mod">
          <ac:chgData name="Oğuz Öztekin" userId="33c0df0f-d5fe-4bda-8f43-141ad7af67e3" providerId="ADAL" clId="{48B824AD-1B2A-47A8-8D92-6FE6E622A650}" dt="2024-12-16T18:12:43.453" v="158323"/>
          <ac:spMkLst>
            <pc:docMk/>
            <pc:sldMk cId="3830733687" sldId="292"/>
            <ac:spMk id="344" creationId="{6D1ECE24-F764-FA7B-FA19-F0639A66CC16}"/>
          </ac:spMkLst>
        </pc:spChg>
        <pc:spChg chg="add mod">
          <ac:chgData name="Oğuz Öztekin" userId="33c0df0f-d5fe-4bda-8f43-141ad7af67e3" providerId="ADAL" clId="{48B824AD-1B2A-47A8-8D92-6FE6E622A650}" dt="2024-12-16T18:12:43.453" v="158324"/>
          <ac:spMkLst>
            <pc:docMk/>
            <pc:sldMk cId="3830733687" sldId="292"/>
            <ac:spMk id="345" creationId="{471F506D-E179-2F53-FD8C-69EA5774DE7E}"/>
          </ac:spMkLst>
        </pc:spChg>
        <pc:spChg chg="add mod">
          <ac:chgData name="Oğuz Öztekin" userId="33c0df0f-d5fe-4bda-8f43-141ad7af67e3" providerId="ADAL" clId="{48B824AD-1B2A-47A8-8D92-6FE6E622A650}" dt="2024-12-16T18:12:43.453" v="158325"/>
          <ac:spMkLst>
            <pc:docMk/>
            <pc:sldMk cId="3830733687" sldId="292"/>
            <ac:spMk id="346" creationId="{341B1A37-2CFD-3CC8-5BEA-F4FB77610219}"/>
          </ac:spMkLst>
        </pc:spChg>
        <pc:spChg chg="add mod">
          <ac:chgData name="Oğuz Öztekin" userId="33c0df0f-d5fe-4bda-8f43-141ad7af67e3" providerId="ADAL" clId="{48B824AD-1B2A-47A8-8D92-6FE6E622A650}" dt="2024-12-16T18:12:43.454" v="158326"/>
          <ac:spMkLst>
            <pc:docMk/>
            <pc:sldMk cId="3830733687" sldId="292"/>
            <ac:spMk id="347" creationId="{F1ADD447-A93D-A097-C945-82DB0782880D}"/>
          </ac:spMkLst>
        </pc:spChg>
        <pc:spChg chg="add mod">
          <ac:chgData name="Oğuz Öztekin" userId="33c0df0f-d5fe-4bda-8f43-141ad7af67e3" providerId="ADAL" clId="{48B824AD-1B2A-47A8-8D92-6FE6E622A650}" dt="2024-12-16T18:12:43.454" v="158327"/>
          <ac:spMkLst>
            <pc:docMk/>
            <pc:sldMk cId="3830733687" sldId="292"/>
            <ac:spMk id="348" creationId="{206F944C-1377-4D8D-94F1-432D8B7BEEAA}"/>
          </ac:spMkLst>
        </pc:spChg>
        <pc:spChg chg="add mod">
          <ac:chgData name="Oğuz Öztekin" userId="33c0df0f-d5fe-4bda-8f43-141ad7af67e3" providerId="ADAL" clId="{48B824AD-1B2A-47A8-8D92-6FE6E622A650}" dt="2024-12-16T18:12:43.469" v="158371"/>
          <ac:spMkLst>
            <pc:docMk/>
            <pc:sldMk cId="3830733687" sldId="292"/>
            <ac:spMk id="349" creationId="{D92C84F1-2723-9E0E-D9C4-847BCA1AB035}"/>
          </ac:spMkLst>
        </pc:spChg>
        <pc:spChg chg="add mod">
          <ac:chgData name="Oğuz Öztekin" userId="33c0df0f-d5fe-4bda-8f43-141ad7af67e3" providerId="ADAL" clId="{48B824AD-1B2A-47A8-8D92-6FE6E622A650}" dt="2024-12-16T18:12:43.454" v="158328"/>
          <ac:spMkLst>
            <pc:docMk/>
            <pc:sldMk cId="3830733687" sldId="292"/>
            <ac:spMk id="350" creationId="{E1147AEF-40AF-23FC-83C4-4C35585F2677}"/>
          </ac:spMkLst>
        </pc:spChg>
        <pc:spChg chg="add mod">
          <ac:chgData name="Oğuz Öztekin" userId="33c0df0f-d5fe-4bda-8f43-141ad7af67e3" providerId="ADAL" clId="{48B824AD-1B2A-47A8-8D92-6FE6E622A650}" dt="2024-12-16T18:12:43.455" v="158329"/>
          <ac:spMkLst>
            <pc:docMk/>
            <pc:sldMk cId="3830733687" sldId="292"/>
            <ac:spMk id="351" creationId="{799E082D-93C5-D064-5049-12718FE164EC}"/>
          </ac:spMkLst>
        </pc:spChg>
        <pc:spChg chg="add mod">
          <ac:chgData name="Oğuz Öztekin" userId="33c0df0f-d5fe-4bda-8f43-141ad7af67e3" providerId="ADAL" clId="{48B824AD-1B2A-47A8-8D92-6FE6E622A650}" dt="2024-12-16T18:12:43.455" v="158330"/>
          <ac:spMkLst>
            <pc:docMk/>
            <pc:sldMk cId="3830733687" sldId="292"/>
            <ac:spMk id="352" creationId="{766FB5BA-856E-0A75-A162-859B455985D0}"/>
          </ac:spMkLst>
        </pc:spChg>
        <pc:spChg chg="add mod">
          <ac:chgData name="Oğuz Öztekin" userId="33c0df0f-d5fe-4bda-8f43-141ad7af67e3" providerId="ADAL" clId="{48B824AD-1B2A-47A8-8D92-6FE6E622A650}" dt="2024-12-16T18:12:43.455" v="158331"/>
          <ac:spMkLst>
            <pc:docMk/>
            <pc:sldMk cId="3830733687" sldId="292"/>
            <ac:spMk id="353" creationId="{37593123-D2DD-1433-70E3-408BD77C7372}"/>
          </ac:spMkLst>
        </pc:spChg>
        <pc:spChg chg="add mod">
          <ac:chgData name="Oğuz Öztekin" userId="33c0df0f-d5fe-4bda-8f43-141ad7af67e3" providerId="ADAL" clId="{48B824AD-1B2A-47A8-8D92-6FE6E622A650}" dt="2024-12-16T18:12:43.456" v="158332"/>
          <ac:spMkLst>
            <pc:docMk/>
            <pc:sldMk cId="3830733687" sldId="292"/>
            <ac:spMk id="354" creationId="{31FF7651-B613-5FE8-17A5-BF2C567425F9}"/>
          </ac:spMkLst>
        </pc:spChg>
        <pc:spChg chg="add mod">
          <ac:chgData name="Oğuz Öztekin" userId="33c0df0f-d5fe-4bda-8f43-141ad7af67e3" providerId="ADAL" clId="{48B824AD-1B2A-47A8-8D92-6FE6E622A650}" dt="2024-12-16T18:12:43.456" v="158333"/>
          <ac:spMkLst>
            <pc:docMk/>
            <pc:sldMk cId="3830733687" sldId="292"/>
            <ac:spMk id="355" creationId="{983FF10D-44E1-138A-BD12-CC322FD2EAAC}"/>
          </ac:spMkLst>
        </pc:spChg>
        <pc:spChg chg="add mod">
          <ac:chgData name="Oğuz Öztekin" userId="33c0df0f-d5fe-4bda-8f43-141ad7af67e3" providerId="ADAL" clId="{48B824AD-1B2A-47A8-8D92-6FE6E622A650}" dt="2024-12-16T18:12:43.456" v="158334"/>
          <ac:spMkLst>
            <pc:docMk/>
            <pc:sldMk cId="3830733687" sldId="292"/>
            <ac:spMk id="356" creationId="{BEC32097-E5C7-9594-0900-B12BA820A44E}"/>
          </ac:spMkLst>
        </pc:spChg>
        <pc:spChg chg="add mod">
          <ac:chgData name="Oğuz Öztekin" userId="33c0df0f-d5fe-4bda-8f43-141ad7af67e3" providerId="ADAL" clId="{48B824AD-1B2A-47A8-8D92-6FE6E622A650}" dt="2024-12-16T18:12:43.456" v="158335"/>
          <ac:spMkLst>
            <pc:docMk/>
            <pc:sldMk cId="3830733687" sldId="292"/>
            <ac:spMk id="357" creationId="{5BB99584-111E-F7FD-ED20-49C1ABDC65AC}"/>
          </ac:spMkLst>
        </pc:spChg>
        <pc:spChg chg="add mod">
          <ac:chgData name="Oğuz Öztekin" userId="33c0df0f-d5fe-4bda-8f43-141ad7af67e3" providerId="ADAL" clId="{48B824AD-1B2A-47A8-8D92-6FE6E622A650}" dt="2024-12-16T18:12:43.457" v="158336"/>
          <ac:spMkLst>
            <pc:docMk/>
            <pc:sldMk cId="3830733687" sldId="292"/>
            <ac:spMk id="358" creationId="{A71665CB-A123-CC03-F10B-C8BDF638B726}"/>
          </ac:spMkLst>
        </pc:spChg>
        <pc:spChg chg="add mod">
          <ac:chgData name="Oğuz Öztekin" userId="33c0df0f-d5fe-4bda-8f43-141ad7af67e3" providerId="ADAL" clId="{48B824AD-1B2A-47A8-8D92-6FE6E622A650}" dt="2024-12-16T18:12:43.457" v="158337"/>
          <ac:spMkLst>
            <pc:docMk/>
            <pc:sldMk cId="3830733687" sldId="292"/>
            <ac:spMk id="359" creationId="{86CB46F9-1F4B-36C5-F4E5-01A63BEA3268}"/>
          </ac:spMkLst>
        </pc:spChg>
        <pc:spChg chg="add mod">
          <ac:chgData name="Oğuz Öztekin" userId="33c0df0f-d5fe-4bda-8f43-141ad7af67e3" providerId="ADAL" clId="{48B824AD-1B2A-47A8-8D92-6FE6E622A650}" dt="2024-12-16T18:12:43.457" v="158338"/>
          <ac:spMkLst>
            <pc:docMk/>
            <pc:sldMk cId="3830733687" sldId="292"/>
            <ac:spMk id="360" creationId="{BD007DBC-1688-6ACD-E69E-CA16BCBE1199}"/>
          </ac:spMkLst>
        </pc:spChg>
        <pc:spChg chg="add mod">
          <ac:chgData name="Oğuz Öztekin" userId="33c0df0f-d5fe-4bda-8f43-141ad7af67e3" providerId="ADAL" clId="{48B824AD-1B2A-47A8-8D92-6FE6E622A650}" dt="2024-12-16T18:12:43.459" v="158339"/>
          <ac:spMkLst>
            <pc:docMk/>
            <pc:sldMk cId="3830733687" sldId="292"/>
            <ac:spMk id="361" creationId="{5D98764F-3BE2-2A60-BEC1-C4E8544E7C8D}"/>
          </ac:spMkLst>
        </pc:spChg>
        <pc:spChg chg="add mod">
          <ac:chgData name="Oğuz Öztekin" userId="33c0df0f-d5fe-4bda-8f43-141ad7af67e3" providerId="ADAL" clId="{48B824AD-1B2A-47A8-8D92-6FE6E622A650}" dt="2024-12-16T18:12:43.459" v="158340"/>
          <ac:spMkLst>
            <pc:docMk/>
            <pc:sldMk cId="3830733687" sldId="292"/>
            <ac:spMk id="362" creationId="{23892108-EECF-2D54-46B5-FFA7C4ED4959}"/>
          </ac:spMkLst>
        </pc:spChg>
        <pc:spChg chg="del mod">
          <ac:chgData name="Oğuz Öztekin" userId="33c0df0f-d5fe-4bda-8f43-141ad7af67e3" providerId="ADAL" clId="{48B824AD-1B2A-47A8-8D92-6FE6E622A650}" dt="2024-12-16T18:12:37.824" v="156509"/>
          <ac:spMkLst>
            <pc:docMk/>
            <pc:sldMk cId="3830733687" sldId="292"/>
            <ac:spMk id="363" creationId="{4730D46D-9279-05F6-747B-561278397395}"/>
          </ac:spMkLst>
        </pc:spChg>
        <pc:spChg chg="add mod">
          <ac:chgData name="Oğuz Öztekin" userId="33c0df0f-d5fe-4bda-8f43-141ad7af67e3" providerId="ADAL" clId="{48B824AD-1B2A-47A8-8D92-6FE6E622A650}" dt="2024-12-16T18:12:43.459" v="158341"/>
          <ac:spMkLst>
            <pc:docMk/>
            <pc:sldMk cId="3830733687" sldId="292"/>
            <ac:spMk id="364" creationId="{F12E39B7-4FCC-8399-957A-7ADF9A50C4D8}"/>
          </ac:spMkLst>
        </pc:spChg>
        <pc:spChg chg="add mod">
          <ac:chgData name="Oğuz Öztekin" userId="33c0df0f-d5fe-4bda-8f43-141ad7af67e3" providerId="ADAL" clId="{48B824AD-1B2A-47A8-8D92-6FE6E622A650}" dt="2024-12-16T18:12:43.460" v="158342"/>
          <ac:spMkLst>
            <pc:docMk/>
            <pc:sldMk cId="3830733687" sldId="292"/>
            <ac:spMk id="365" creationId="{E4BA7CA8-253D-0B9A-1269-D5A8CAC2DEB3}"/>
          </ac:spMkLst>
        </pc:spChg>
        <pc:spChg chg="add mod">
          <ac:chgData name="Oğuz Öztekin" userId="33c0df0f-d5fe-4bda-8f43-141ad7af67e3" providerId="ADAL" clId="{48B824AD-1B2A-47A8-8D92-6FE6E622A650}" dt="2024-12-16T18:12:43.460" v="158343"/>
          <ac:spMkLst>
            <pc:docMk/>
            <pc:sldMk cId="3830733687" sldId="292"/>
            <ac:spMk id="366" creationId="{82BC94A9-2AF2-0944-9D98-400C4CEFDE9A}"/>
          </ac:spMkLst>
        </pc:spChg>
        <pc:spChg chg="add mod">
          <ac:chgData name="Oğuz Öztekin" userId="33c0df0f-d5fe-4bda-8f43-141ad7af67e3" providerId="ADAL" clId="{48B824AD-1B2A-47A8-8D92-6FE6E622A650}" dt="2024-12-16T18:12:43.460" v="158344"/>
          <ac:spMkLst>
            <pc:docMk/>
            <pc:sldMk cId="3830733687" sldId="292"/>
            <ac:spMk id="372" creationId="{0949DBBC-A500-970F-ECD0-C3AEC2E6D293}"/>
          </ac:spMkLst>
        </pc:spChg>
        <pc:spChg chg="add mod">
          <ac:chgData name="Oğuz Öztekin" userId="33c0df0f-d5fe-4bda-8f43-141ad7af67e3" providerId="ADAL" clId="{48B824AD-1B2A-47A8-8D92-6FE6E622A650}" dt="2024-12-16T18:12:43.461" v="158345"/>
          <ac:spMkLst>
            <pc:docMk/>
            <pc:sldMk cId="3830733687" sldId="292"/>
            <ac:spMk id="373" creationId="{C3AA2421-1B09-68E6-19E2-C2073E7177F5}"/>
          </ac:spMkLst>
        </pc:spChg>
        <pc:spChg chg="add mod">
          <ac:chgData name="Oğuz Öztekin" userId="33c0df0f-d5fe-4bda-8f43-141ad7af67e3" providerId="ADAL" clId="{48B824AD-1B2A-47A8-8D92-6FE6E622A650}" dt="2024-12-16T18:12:43.461" v="158346"/>
          <ac:spMkLst>
            <pc:docMk/>
            <pc:sldMk cId="3830733687" sldId="292"/>
            <ac:spMk id="374" creationId="{0433A547-1EB4-D8A0-B8B5-A410FD4AA0B7}"/>
          </ac:spMkLst>
        </pc:spChg>
        <pc:spChg chg="add mod">
          <ac:chgData name="Oğuz Öztekin" userId="33c0df0f-d5fe-4bda-8f43-141ad7af67e3" providerId="ADAL" clId="{48B824AD-1B2A-47A8-8D92-6FE6E622A650}" dt="2024-12-16T18:12:43.461" v="158347"/>
          <ac:spMkLst>
            <pc:docMk/>
            <pc:sldMk cId="3830733687" sldId="292"/>
            <ac:spMk id="375" creationId="{997EF705-B66E-2F03-B1A5-44A209197FE2}"/>
          </ac:spMkLst>
        </pc:spChg>
        <pc:spChg chg="add mod">
          <ac:chgData name="Oğuz Öztekin" userId="33c0df0f-d5fe-4bda-8f43-141ad7af67e3" providerId="ADAL" clId="{48B824AD-1B2A-47A8-8D92-6FE6E622A650}" dt="2024-12-16T18:12:43.461" v="158348"/>
          <ac:spMkLst>
            <pc:docMk/>
            <pc:sldMk cId="3830733687" sldId="292"/>
            <ac:spMk id="376" creationId="{0420926B-7B8A-4A72-2EFB-3D1B66EE26DD}"/>
          </ac:spMkLst>
        </pc:spChg>
        <pc:spChg chg="add mod">
          <ac:chgData name="Oğuz Öztekin" userId="33c0df0f-d5fe-4bda-8f43-141ad7af67e3" providerId="ADAL" clId="{48B824AD-1B2A-47A8-8D92-6FE6E622A650}" dt="2024-12-16T18:12:43.463" v="158349"/>
          <ac:spMkLst>
            <pc:docMk/>
            <pc:sldMk cId="3830733687" sldId="292"/>
            <ac:spMk id="377" creationId="{AEF47CC3-E697-87AE-A864-F15ECCFC5161}"/>
          </ac:spMkLst>
        </pc:spChg>
        <pc:spChg chg="add mod">
          <ac:chgData name="Oğuz Öztekin" userId="33c0df0f-d5fe-4bda-8f43-141ad7af67e3" providerId="ADAL" clId="{48B824AD-1B2A-47A8-8D92-6FE6E622A650}" dt="2024-12-16T18:12:43.463" v="158350"/>
          <ac:spMkLst>
            <pc:docMk/>
            <pc:sldMk cId="3830733687" sldId="292"/>
            <ac:spMk id="378" creationId="{D3CE4490-A0B2-8554-DCB5-D3AE4058185B}"/>
          </ac:spMkLst>
        </pc:spChg>
        <pc:spChg chg="add mod">
          <ac:chgData name="Oğuz Öztekin" userId="33c0df0f-d5fe-4bda-8f43-141ad7af67e3" providerId="ADAL" clId="{48B824AD-1B2A-47A8-8D92-6FE6E622A650}" dt="2024-12-16T18:12:43.463" v="158351"/>
          <ac:spMkLst>
            <pc:docMk/>
            <pc:sldMk cId="3830733687" sldId="292"/>
            <ac:spMk id="379" creationId="{C29D65BC-ECC7-6417-C50B-89657A50503A}"/>
          </ac:spMkLst>
        </pc:spChg>
        <pc:spChg chg="add mod">
          <ac:chgData name="Oğuz Öztekin" userId="33c0df0f-d5fe-4bda-8f43-141ad7af67e3" providerId="ADAL" clId="{48B824AD-1B2A-47A8-8D92-6FE6E622A650}" dt="2024-12-16T18:12:43.463" v="158352"/>
          <ac:spMkLst>
            <pc:docMk/>
            <pc:sldMk cId="3830733687" sldId="292"/>
            <ac:spMk id="380" creationId="{CCF71039-5F27-C466-444A-A2E08CDB1606}"/>
          </ac:spMkLst>
        </pc:spChg>
        <pc:spChg chg="add mod">
          <ac:chgData name="Oğuz Öztekin" userId="33c0df0f-d5fe-4bda-8f43-141ad7af67e3" providerId="ADAL" clId="{48B824AD-1B2A-47A8-8D92-6FE6E622A650}" dt="2024-12-16T18:12:43.464" v="158353"/>
          <ac:spMkLst>
            <pc:docMk/>
            <pc:sldMk cId="3830733687" sldId="292"/>
            <ac:spMk id="381" creationId="{06AA1DD1-C9AB-189E-1F4A-E4A9184154B1}"/>
          </ac:spMkLst>
        </pc:spChg>
        <pc:spChg chg="add mod">
          <ac:chgData name="Oğuz Öztekin" userId="33c0df0f-d5fe-4bda-8f43-141ad7af67e3" providerId="ADAL" clId="{48B824AD-1B2A-47A8-8D92-6FE6E622A650}" dt="2024-12-16T18:12:43.464" v="158354"/>
          <ac:spMkLst>
            <pc:docMk/>
            <pc:sldMk cId="3830733687" sldId="292"/>
            <ac:spMk id="382" creationId="{C4BB5878-85F5-A032-C2D0-22C881D6576E}"/>
          </ac:spMkLst>
        </pc:spChg>
        <pc:spChg chg="add mod">
          <ac:chgData name="Oğuz Öztekin" userId="33c0df0f-d5fe-4bda-8f43-141ad7af67e3" providerId="ADAL" clId="{48B824AD-1B2A-47A8-8D92-6FE6E622A650}" dt="2024-12-16T18:12:43.464" v="158355"/>
          <ac:spMkLst>
            <pc:docMk/>
            <pc:sldMk cId="3830733687" sldId="292"/>
            <ac:spMk id="383" creationId="{605AACBE-C2F8-39A8-68E4-1C515A67D07A}"/>
          </ac:spMkLst>
        </pc:spChg>
        <pc:spChg chg="add mod">
          <ac:chgData name="Oğuz Öztekin" userId="33c0df0f-d5fe-4bda-8f43-141ad7af67e3" providerId="ADAL" clId="{48B824AD-1B2A-47A8-8D92-6FE6E622A650}" dt="2024-12-16T18:12:43.465" v="158356"/>
          <ac:spMkLst>
            <pc:docMk/>
            <pc:sldMk cId="3830733687" sldId="292"/>
            <ac:spMk id="384" creationId="{A736E412-3F45-12F7-661B-CF6E5728AE5F}"/>
          </ac:spMkLst>
        </pc:spChg>
        <pc:spChg chg="add mod">
          <ac:chgData name="Oğuz Öztekin" userId="33c0df0f-d5fe-4bda-8f43-141ad7af67e3" providerId="ADAL" clId="{48B824AD-1B2A-47A8-8D92-6FE6E622A650}" dt="2024-12-16T18:12:43.465" v="158357"/>
          <ac:spMkLst>
            <pc:docMk/>
            <pc:sldMk cId="3830733687" sldId="292"/>
            <ac:spMk id="385" creationId="{10F0BD61-F908-0AE9-1769-46814B8C2755}"/>
          </ac:spMkLst>
        </pc:spChg>
        <pc:spChg chg="add mod">
          <ac:chgData name="Oğuz Öztekin" userId="33c0df0f-d5fe-4bda-8f43-141ad7af67e3" providerId="ADAL" clId="{48B824AD-1B2A-47A8-8D92-6FE6E622A650}" dt="2024-12-16T18:12:43.465" v="158358"/>
          <ac:spMkLst>
            <pc:docMk/>
            <pc:sldMk cId="3830733687" sldId="292"/>
            <ac:spMk id="386" creationId="{B94FFA80-F103-FC22-3962-721C83C1FEE4}"/>
          </ac:spMkLst>
        </pc:spChg>
        <pc:spChg chg="add mod">
          <ac:chgData name="Oğuz Öztekin" userId="33c0df0f-d5fe-4bda-8f43-141ad7af67e3" providerId="ADAL" clId="{48B824AD-1B2A-47A8-8D92-6FE6E622A650}" dt="2024-12-16T18:12:43.466" v="158359"/>
          <ac:spMkLst>
            <pc:docMk/>
            <pc:sldMk cId="3830733687" sldId="292"/>
            <ac:spMk id="387" creationId="{44E1E278-A8E0-5CAB-3744-46BC0EA97BFA}"/>
          </ac:spMkLst>
        </pc:spChg>
        <pc:spChg chg="add mod">
          <ac:chgData name="Oğuz Öztekin" userId="33c0df0f-d5fe-4bda-8f43-141ad7af67e3" providerId="ADAL" clId="{48B824AD-1B2A-47A8-8D92-6FE6E622A650}" dt="2024-12-16T18:12:43.466" v="158360"/>
          <ac:spMkLst>
            <pc:docMk/>
            <pc:sldMk cId="3830733687" sldId="292"/>
            <ac:spMk id="388" creationId="{D1ED2011-5E64-C8B0-431B-9AA5A273431F}"/>
          </ac:spMkLst>
        </pc:spChg>
        <pc:spChg chg="add mod">
          <ac:chgData name="Oğuz Öztekin" userId="33c0df0f-d5fe-4bda-8f43-141ad7af67e3" providerId="ADAL" clId="{48B824AD-1B2A-47A8-8D92-6FE6E622A650}" dt="2024-12-16T18:12:43.466" v="158361"/>
          <ac:spMkLst>
            <pc:docMk/>
            <pc:sldMk cId="3830733687" sldId="292"/>
            <ac:spMk id="389" creationId="{4BC6E4DB-F562-ADBD-5D49-D07887541D69}"/>
          </ac:spMkLst>
        </pc:spChg>
        <pc:spChg chg="add mod">
          <ac:chgData name="Oğuz Öztekin" userId="33c0df0f-d5fe-4bda-8f43-141ad7af67e3" providerId="ADAL" clId="{48B824AD-1B2A-47A8-8D92-6FE6E622A650}" dt="2024-12-16T18:12:43.467" v="158362"/>
          <ac:spMkLst>
            <pc:docMk/>
            <pc:sldMk cId="3830733687" sldId="292"/>
            <ac:spMk id="390" creationId="{C2FC9CC9-047E-3A18-7A0A-1D2887EBCFAE}"/>
          </ac:spMkLst>
        </pc:spChg>
        <pc:spChg chg="add mod">
          <ac:chgData name="Oğuz Öztekin" userId="33c0df0f-d5fe-4bda-8f43-141ad7af67e3" providerId="ADAL" clId="{48B824AD-1B2A-47A8-8D92-6FE6E622A650}" dt="2024-12-16T18:12:43.467" v="158363"/>
          <ac:spMkLst>
            <pc:docMk/>
            <pc:sldMk cId="3830733687" sldId="292"/>
            <ac:spMk id="391" creationId="{7061F944-210F-F07D-004E-48DE78A1A457}"/>
          </ac:spMkLst>
        </pc:spChg>
        <pc:spChg chg="add mod">
          <ac:chgData name="Oğuz Öztekin" userId="33c0df0f-d5fe-4bda-8f43-141ad7af67e3" providerId="ADAL" clId="{48B824AD-1B2A-47A8-8D92-6FE6E622A650}" dt="2024-12-16T18:12:43.467" v="158364"/>
          <ac:spMkLst>
            <pc:docMk/>
            <pc:sldMk cId="3830733687" sldId="292"/>
            <ac:spMk id="392" creationId="{7E91972F-5C04-79AE-E85F-7FF282F28A30}"/>
          </ac:spMkLst>
        </pc:spChg>
        <pc:spChg chg="add mod">
          <ac:chgData name="Oğuz Öztekin" userId="33c0df0f-d5fe-4bda-8f43-141ad7af67e3" providerId="ADAL" clId="{48B824AD-1B2A-47A8-8D92-6FE6E622A650}" dt="2024-12-16T18:12:43.468" v="158365"/>
          <ac:spMkLst>
            <pc:docMk/>
            <pc:sldMk cId="3830733687" sldId="292"/>
            <ac:spMk id="393" creationId="{8A09EEA9-E6F8-330C-F15A-14F7397DEC84}"/>
          </ac:spMkLst>
        </pc:spChg>
        <pc:spChg chg="add mod">
          <ac:chgData name="Oğuz Öztekin" userId="33c0df0f-d5fe-4bda-8f43-141ad7af67e3" providerId="ADAL" clId="{48B824AD-1B2A-47A8-8D92-6FE6E622A650}" dt="2024-12-16T18:12:43.468" v="158366"/>
          <ac:spMkLst>
            <pc:docMk/>
            <pc:sldMk cId="3830733687" sldId="292"/>
            <ac:spMk id="394" creationId="{AF481EE9-3EAD-DDC4-EB9B-EE4E7D1CAA68}"/>
          </ac:spMkLst>
        </pc:spChg>
        <pc:spChg chg="add mod">
          <ac:chgData name="Oğuz Öztekin" userId="33c0df0f-d5fe-4bda-8f43-141ad7af67e3" providerId="ADAL" clId="{48B824AD-1B2A-47A8-8D92-6FE6E622A650}" dt="2024-12-16T18:12:43.468" v="158367"/>
          <ac:spMkLst>
            <pc:docMk/>
            <pc:sldMk cId="3830733687" sldId="292"/>
            <ac:spMk id="395" creationId="{E81FE128-7F3D-A2EA-80B5-7D4C07E20A03}"/>
          </ac:spMkLst>
        </pc:spChg>
        <pc:spChg chg="add mod">
          <ac:chgData name="Oğuz Öztekin" userId="33c0df0f-d5fe-4bda-8f43-141ad7af67e3" providerId="ADAL" clId="{48B824AD-1B2A-47A8-8D92-6FE6E622A650}" dt="2024-12-16T18:12:43.468" v="158368"/>
          <ac:spMkLst>
            <pc:docMk/>
            <pc:sldMk cId="3830733687" sldId="292"/>
            <ac:spMk id="396" creationId="{B58D5D74-5634-22F7-3B86-C53DBC8A2B59}"/>
          </ac:spMkLst>
        </pc:spChg>
        <pc:spChg chg="add mod">
          <ac:chgData name="Oğuz Öztekin" userId="33c0df0f-d5fe-4bda-8f43-141ad7af67e3" providerId="ADAL" clId="{48B824AD-1B2A-47A8-8D92-6FE6E622A650}" dt="2024-12-16T18:12:43.470" v="158373"/>
          <ac:spMkLst>
            <pc:docMk/>
            <pc:sldMk cId="3830733687" sldId="292"/>
            <ac:spMk id="397" creationId="{4CB6FF68-02D4-6205-4278-9B0A038CA8D2}"/>
          </ac:spMkLst>
        </pc:spChg>
        <pc:spChg chg="add del mod modVis">
          <ac:chgData name="Oğuz Öztekin" userId="33c0df0f-d5fe-4bda-8f43-141ad7af67e3" providerId="ADAL" clId="{48B824AD-1B2A-47A8-8D92-6FE6E622A650}" dt="2024-12-16T18:10:37.743" v="154854"/>
          <ac:spMkLst>
            <pc:docMk/>
            <pc:sldMk cId="3830733687" sldId="292"/>
            <ac:spMk id="398" creationId="{94556337-D4C0-0291-2296-70BEBAB005D1}"/>
          </ac:spMkLst>
        </pc:spChg>
        <pc:spChg chg="add del mod modVis">
          <ac:chgData name="Oğuz Öztekin" userId="33c0df0f-d5fe-4bda-8f43-141ad7af67e3" providerId="ADAL" clId="{48B824AD-1B2A-47A8-8D92-6FE6E622A650}" dt="2024-12-16T18:11:31.885" v="155645"/>
          <ac:spMkLst>
            <pc:docMk/>
            <pc:sldMk cId="3830733687" sldId="292"/>
            <ac:spMk id="569" creationId="{3C79DF2C-6DB1-28AF-B2D3-C9BAF62ECFF7}"/>
          </ac:spMkLst>
        </pc:spChg>
        <pc:spChg chg="add del mod modVis">
          <ac:chgData name="Oğuz Öztekin" userId="33c0df0f-d5fe-4bda-8f43-141ad7af67e3" providerId="ADAL" clId="{48B824AD-1B2A-47A8-8D92-6FE6E622A650}" dt="2024-12-16T18:11:57.858" v="156436"/>
          <ac:spMkLst>
            <pc:docMk/>
            <pc:sldMk cId="3830733687" sldId="292"/>
            <ac:spMk id="571" creationId="{29696A67-8F07-622F-E278-68D6013C4DEE}"/>
          </ac:spMkLst>
        </pc:spChg>
        <pc:spChg chg="add del mod modVis">
          <ac:chgData name="Oğuz Öztekin" userId="33c0df0f-d5fe-4bda-8f43-141ad7af67e3" providerId="ADAL" clId="{48B824AD-1B2A-47A8-8D92-6FE6E622A650}" dt="2024-12-16T18:12:38.098" v="157236"/>
          <ac:spMkLst>
            <pc:docMk/>
            <pc:sldMk cId="3830733687" sldId="292"/>
            <ac:spMk id="573" creationId="{AAF83651-D393-3C20-EABA-516BC1A26D17}"/>
          </ac:spMkLst>
        </pc:spChg>
        <pc:spChg chg="add mod">
          <ac:chgData name="Oğuz Öztekin" userId="33c0df0f-d5fe-4bda-8f43-141ad7af67e3" providerId="ADAL" clId="{48B824AD-1B2A-47A8-8D92-6FE6E622A650}" dt="2024-12-16T18:12:43.470" v="158374"/>
          <ac:spMkLst>
            <pc:docMk/>
            <pc:sldMk cId="3830733687" sldId="292"/>
            <ac:spMk id="575" creationId="{65311DD0-DE49-99DC-92B0-273BFB5F6B0F}"/>
          </ac:spMkLst>
        </pc:spChg>
        <pc:spChg chg="add mod">
          <ac:chgData name="Oğuz Öztekin" userId="33c0df0f-d5fe-4bda-8f43-141ad7af67e3" providerId="ADAL" clId="{48B824AD-1B2A-47A8-8D92-6FE6E622A650}" dt="2024-12-16T18:12:43.470" v="158375"/>
          <ac:spMkLst>
            <pc:docMk/>
            <pc:sldMk cId="3830733687" sldId="292"/>
            <ac:spMk id="576" creationId="{04FDFDA4-11F4-52EF-C25A-04C439D1993A}"/>
          </ac:spMkLst>
        </pc:spChg>
        <pc:spChg chg="add mod">
          <ac:chgData name="Oğuz Öztekin" userId="33c0df0f-d5fe-4bda-8f43-141ad7af67e3" providerId="ADAL" clId="{48B824AD-1B2A-47A8-8D92-6FE6E622A650}" dt="2024-12-16T18:12:43.471" v="158376"/>
          <ac:spMkLst>
            <pc:docMk/>
            <pc:sldMk cId="3830733687" sldId="292"/>
            <ac:spMk id="577" creationId="{B86A3765-5BDA-CAF3-2592-30FE1F2E7106}"/>
          </ac:spMkLst>
        </pc:spChg>
        <pc:spChg chg="add mod">
          <ac:chgData name="Oğuz Öztekin" userId="33c0df0f-d5fe-4bda-8f43-141ad7af67e3" providerId="ADAL" clId="{48B824AD-1B2A-47A8-8D92-6FE6E622A650}" dt="2024-12-16T18:12:43.471" v="158377"/>
          <ac:spMkLst>
            <pc:docMk/>
            <pc:sldMk cId="3830733687" sldId="292"/>
            <ac:spMk id="578" creationId="{AD014BE5-C8C1-67FF-908B-4002A4362697}"/>
          </ac:spMkLst>
        </pc:spChg>
        <pc:spChg chg="add mod">
          <ac:chgData name="Oğuz Öztekin" userId="33c0df0f-d5fe-4bda-8f43-141ad7af67e3" providerId="ADAL" clId="{48B824AD-1B2A-47A8-8D92-6FE6E622A650}" dt="2024-12-16T18:12:43.471" v="158378"/>
          <ac:spMkLst>
            <pc:docMk/>
            <pc:sldMk cId="3830733687" sldId="292"/>
            <ac:spMk id="579" creationId="{F590EB18-1012-A24A-4269-EEAEF9DE6EFD}"/>
          </ac:spMkLst>
        </pc:spChg>
        <pc:spChg chg="add mod">
          <ac:chgData name="Oğuz Öztekin" userId="33c0df0f-d5fe-4bda-8f43-141ad7af67e3" providerId="ADAL" clId="{48B824AD-1B2A-47A8-8D92-6FE6E622A650}" dt="2024-12-16T18:12:43.472" v="158379"/>
          <ac:spMkLst>
            <pc:docMk/>
            <pc:sldMk cId="3830733687" sldId="292"/>
            <ac:spMk id="580" creationId="{6F746EDB-2094-7425-2727-25A1490BD4DD}"/>
          </ac:spMkLst>
        </pc:spChg>
        <pc:spChg chg="add mod">
          <ac:chgData name="Oğuz Öztekin" userId="33c0df0f-d5fe-4bda-8f43-141ad7af67e3" providerId="ADAL" clId="{48B824AD-1B2A-47A8-8D92-6FE6E622A650}" dt="2024-12-16T18:12:43.472" v="158380"/>
          <ac:spMkLst>
            <pc:docMk/>
            <pc:sldMk cId="3830733687" sldId="292"/>
            <ac:spMk id="581" creationId="{0BB49850-AB28-2C8A-38FB-1991760923FD}"/>
          </ac:spMkLst>
        </pc:spChg>
        <pc:spChg chg="add mod">
          <ac:chgData name="Oğuz Öztekin" userId="33c0df0f-d5fe-4bda-8f43-141ad7af67e3" providerId="ADAL" clId="{48B824AD-1B2A-47A8-8D92-6FE6E622A650}" dt="2024-12-16T18:12:43.472" v="158381"/>
          <ac:spMkLst>
            <pc:docMk/>
            <pc:sldMk cId="3830733687" sldId="292"/>
            <ac:spMk id="582" creationId="{598A74CD-2E92-891D-4812-04D84277D619}"/>
          </ac:spMkLst>
        </pc:spChg>
        <pc:spChg chg="add mod">
          <ac:chgData name="Oğuz Öztekin" userId="33c0df0f-d5fe-4bda-8f43-141ad7af67e3" providerId="ADAL" clId="{48B824AD-1B2A-47A8-8D92-6FE6E622A650}" dt="2024-12-16T18:12:43.468" v="158369"/>
          <ac:spMkLst>
            <pc:docMk/>
            <pc:sldMk cId="3830733687" sldId="292"/>
            <ac:spMk id="583" creationId="{42A7BF8A-6640-D1E5-1CC5-A2E17133FD68}"/>
          </ac:spMkLst>
        </pc:spChg>
        <pc:spChg chg="add mod">
          <ac:chgData name="Oğuz Öztekin" userId="33c0df0f-d5fe-4bda-8f43-141ad7af67e3" providerId="ADAL" clId="{48B824AD-1B2A-47A8-8D92-6FE6E622A650}" dt="2024-12-16T18:12:43.469" v="158370"/>
          <ac:spMkLst>
            <pc:docMk/>
            <pc:sldMk cId="3830733687" sldId="292"/>
            <ac:spMk id="584" creationId="{69E23BA6-5FB4-3278-6F97-27C9E21461E3}"/>
          </ac:spMkLst>
        </pc:spChg>
        <pc:spChg chg="add del mod modVis">
          <ac:chgData name="Oğuz Öztekin" userId="33c0df0f-d5fe-4bda-8f43-141ad7af67e3" providerId="ADAL" clId="{48B824AD-1B2A-47A8-8D92-6FE6E622A650}" dt="2024-12-16T18:12:43.473" v="158383"/>
          <ac:spMkLst>
            <pc:docMk/>
            <pc:sldMk cId="3830733687" sldId="292"/>
            <ac:spMk id="585" creationId="{A7A0D181-126C-4D01-EDD2-0823DD8E1155}"/>
          </ac:spMkLst>
        </pc:spChg>
        <pc:graphicFrameChg chg="mod">
          <ac:chgData name="Oğuz Öztekin" userId="33c0df0f-d5fe-4bda-8f43-141ad7af67e3" providerId="ADAL" clId="{48B824AD-1B2A-47A8-8D92-6FE6E622A650}" dt="2024-12-16T18:12:43.474" v="158385"/>
          <ac:graphicFrameMkLst>
            <pc:docMk/>
            <pc:sldMk cId="3830733687" sldId="292"/>
            <ac:graphicFrameMk id="3" creationId="{47EDE610-1C63-8813-6490-A4C4B800D05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0:37.502" v="154289"/>
          <ac:graphicFrameMkLst>
            <pc:docMk/>
            <pc:sldMk cId="3830733687" sldId="292"/>
            <ac:graphicFrameMk id="5" creationId="{859B069F-6857-995B-8E92-E0DC0352051C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10:07.712" v="148283"/>
          <ac:graphicFrameMkLst>
            <pc:docMk/>
            <pc:sldMk cId="3830733687" sldId="292"/>
            <ac:graphicFrameMk id="371" creationId="{83FC8E6C-E807-D3A4-748F-4676876DF93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1:31.706" v="155088"/>
          <ac:graphicFrameMkLst>
            <pc:docMk/>
            <pc:sldMk cId="3830733687" sldId="292"/>
            <ac:graphicFrameMk id="568" creationId="{4D5987B1-D4A9-4A2A-86E2-937BDB5B1DA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1:57.686" v="155879"/>
          <ac:graphicFrameMkLst>
            <pc:docMk/>
            <pc:sldMk cId="3830733687" sldId="292"/>
            <ac:graphicFrameMk id="570" creationId="{FAF31A45-4CE5-195E-9B8B-DC0BBD22E5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2:37.933" v="156706"/>
          <ac:graphicFrameMkLst>
            <pc:docMk/>
            <pc:sldMk cId="3830733687" sldId="292"/>
            <ac:graphicFrameMk id="572" creationId="{FD2CE9A1-7CE3-26F7-AC92-82CA3C19444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2:43.285" v="157815"/>
          <ac:graphicFrameMkLst>
            <pc:docMk/>
            <pc:sldMk cId="3830733687" sldId="292"/>
            <ac:graphicFrameMk id="574" creationId="{259A3127-1BE7-6BC9-66C5-0A3F32DEA6D3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12:43.332" v="157832"/>
          <ac:graphicFrameMkLst>
            <pc:docMk/>
            <pc:sldMk cId="3830733687" sldId="292"/>
            <ac:graphicFrameMk id="596" creationId="{6656BBEB-8DCF-4145-A448-1F3A8982BDE5}"/>
          </ac:graphicFrameMkLst>
        </pc:graphicFrameChg>
        <pc:cxnChg chg="del mod ord">
          <ac:chgData name="Oğuz Öztekin" userId="33c0df0f-d5fe-4bda-8f43-141ad7af67e3" providerId="ADAL" clId="{48B824AD-1B2A-47A8-8D92-6FE6E622A650}" dt="2024-12-16T18:12:37.816" v="156500"/>
          <ac:cxnSpMkLst>
            <pc:docMk/>
            <pc:sldMk cId="3830733687" sldId="292"/>
            <ac:cxnSpMk id="293" creationId="{0CBCB9B4-44A2-24B0-56B1-1DCB0E810CE2}"/>
          </ac:cxnSpMkLst>
        </pc:cxnChg>
        <pc:cxnChg chg="del mod ord">
          <ac:chgData name="Oğuz Öztekin" userId="33c0df0f-d5fe-4bda-8f43-141ad7af67e3" providerId="ADAL" clId="{48B824AD-1B2A-47A8-8D92-6FE6E622A650}" dt="2024-12-16T18:12:37.829" v="156520"/>
          <ac:cxnSpMkLst>
            <pc:docMk/>
            <pc:sldMk cId="3830733687" sldId="292"/>
            <ac:cxnSpMk id="306" creationId="{9DE02799-B6C4-A090-8BC2-0C3B6EBC0FD6}"/>
          </ac:cxnSpMkLst>
        </pc:cxnChg>
        <pc:cxnChg chg="del mod ord">
          <ac:chgData name="Oğuz Öztekin" userId="33c0df0f-d5fe-4bda-8f43-141ad7af67e3" providerId="ADAL" clId="{48B824AD-1B2A-47A8-8D92-6FE6E622A650}" dt="2024-12-16T18:12:37.831" v="156528"/>
          <ac:cxnSpMkLst>
            <pc:docMk/>
            <pc:sldMk cId="3830733687" sldId="292"/>
            <ac:cxnSpMk id="313" creationId="{AD12F5F7-4084-9F62-5BE0-409982D6306B}"/>
          </ac:cxnSpMkLst>
        </pc:cxnChg>
        <pc:cxnChg chg="del mod ord">
          <ac:chgData name="Oğuz Öztekin" userId="33c0df0f-d5fe-4bda-8f43-141ad7af67e3" providerId="ADAL" clId="{48B824AD-1B2A-47A8-8D92-6FE6E622A650}" dt="2024-12-16T18:12:37.831" v="156532"/>
          <ac:cxnSpMkLst>
            <pc:docMk/>
            <pc:sldMk cId="3830733687" sldId="292"/>
            <ac:cxnSpMk id="317" creationId="{C0A4856D-82FB-16AF-8042-BF9313AD371B}"/>
          </ac:cxnSpMkLst>
        </pc:cxnChg>
        <pc:cxnChg chg="mod ord">
          <ac:chgData name="Oğuz Öztekin" userId="33c0df0f-d5fe-4bda-8f43-141ad7af67e3" providerId="ADAL" clId="{48B824AD-1B2A-47A8-8D92-6FE6E622A650}" dt="2024-12-16T18:12:43.337" v="157860"/>
          <ac:cxnSpMkLst>
            <pc:docMk/>
            <pc:sldMk cId="3830733687" sldId="292"/>
            <ac:cxnSpMk id="321" creationId="{1B8B9529-A125-F1AF-EBA5-92EA953505F5}"/>
          </ac:cxnSpMkLst>
        </pc:cxnChg>
        <pc:cxnChg chg="del mod ord">
          <ac:chgData name="Oğuz Öztekin" userId="33c0df0f-d5fe-4bda-8f43-141ad7af67e3" providerId="ADAL" clId="{48B824AD-1B2A-47A8-8D92-6FE6E622A650}" dt="2024-12-16T18:12:37.824" v="156508"/>
          <ac:cxnSpMkLst>
            <pc:docMk/>
            <pc:sldMk cId="3830733687" sldId="292"/>
            <ac:cxnSpMk id="367" creationId="{84963A25-5F60-D089-31AF-A0363F19F33F}"/>
          </ac:cxnSpMkLst>
        </pc:cxnChg>
        <pc:cxnChg chg="del mod ord">
          <ac:chgData name="Oğuz Öztekin" userId="33c0df0f-d5fe-4bda-8f43-141ad7af67e3" providerId="ADAL" clId="{48B824AD-1B2A-47A8-8D92-6FE6E622A650}" dt="2024-12-16T18:12:37.825" v="156512"/>
          <ac:cxnSpMkLst>
            <pc:docMk/>
            <pc:sldMk cId="3830733687" sldId="292"/>
            <ac:cxnSpMk id="368" creationId="{6F7A8893-7532-FFB5-6020-D6D3FDBEB978}"/>
          </ac:cxnSpMkLst>
        </pc:cxnChg>
        <pc:cxnChg chg="del mod ord">
          <ac:chgData name="Oğuz Öztekin" userId="33c0df0f-d5fe-4bda-8f43-141ad7af67e3" providerId="ADAL" clId="{48B824AD-1B2A-47A8-8D92-6FE6E622A650}" dt="2024-12-16T18:12:37.827" v="156516"/>
          <ac:cxnSpMkLst>
            <pc:docMk/>
            <pc:sldMk cId="3830733687" sldId="292"/>
            <ac:cxnSpMk id="369" creationId="{1A3014A3-00F1-42CB-AF79-4633F1C845E2}"/>
          </ac:cxnSpMkLst>
        </pc:cxnChg>
        <pc:cxnChg chg="del mod ord">
          <ac:chgData name="Oğuz Öztekin" userId="33c0df0f-d5fe-4bda-8f43-141ad7af67e3" providerId="ADAL" clId="{48B824AD-1B2A-47A8-8D92-6FE6E622A650}" dt="2024-12-16T18:12:37.829" v="156524"/>
          <ac:cxnSpMkLst>
            <pc:docMk/>
            <pc:sldMk cId="3830733687" sldId="292"/>
            <ac:cxnSpMk id="370" creationId="{2DAFEB9A-124E-D442-07A7-20252914CCE7}"/>
          </ac:cxnSpMkLst>
        </pc:cxnChg>
        <pc:cxnChg chg="add del mod ord">
          <ac:chgData name="Oğuz Öztekin" userId="33c0df0f-d5fe-4bda-8f43-141ad7af67e3" providerId="ADAL" clId="{48B824AD-1B2A-47A8-8D92-6FE6E622A650}" dt="2024-12-16T18:12:37.821" v="156504"/>
          <ac:cxnSpMkLst>
            <pc:docMk/>
            <pc:sldMk cId="3830733687" sldId="292"/>
            <ac:cxnSpMk id="399" creationId="{839911F1-A9AC-28DA-F85E-802E8626D2EA}"/>
          </ac:cxnSpMkLst>
        </pc:cxnChg>
        <pc:cxnChg chg="add mod ord">
          <ac:chgData name="Oğuz Öztekin" userId="33c0df0f-d5fe-4bda-8f43-141ad7af67e3" providerId="ADAL" clId="{48B824AD-1B2A-47A8-8D92-6FE6E622A650}" dt="2024-12-16T18:12:43.333" v="157838"/>
          <ac:cxnSpMkLst>
            <pc:docMk/>
            <pc:sldMk cId="3830733687" sldId="292"/>
            <ac:cxnSpMk id="400" creationId="{1D6C78B4-671E-4297-7D45-2AA2F1EE2BBE}"/>
          </ac:cxnSpMkLst>
        </pc:cxnChg>
        <pc:cxnChg chg="add mod ord">
          <ac:chgData name="Oğuz Öztekin" userId="33c0df0f-d5fe-4bda-8f43-141ad7af67e3" providerId="ADAL" clId="{48B824AD-1B2A-47A8-8D92-6FE6E622A650}" dt="2024-12-16T18:12:43.334" v="157840"/>
          <ac:cxnSpMkLst>
            <pc:docMk/>
            <pc:sldMk cId="3830733687" sldId="292"/>
            <ac:cxnSpMk id="401" creationId="{7A7C4C2C-F4E1-8580-1372-1FEE69B7D1B7}"/>
          </ac:cxnSpMkLst>
        </pc:cxnChg>
        <pc:cxnChg chg="add mod ord">
          <ac:chgData name="Oğuz Öztekin" userId="33c0df0f-d5fe-4bda-8f43-141ad7af67e3" providerId="ADAL" clId="{48B824AD-1B2A-47A8-8D92-6FE6E622A650}" dt="2024-12-16T18:12:43.334" v="157842"/>
          <ac:cxnSpMkLst>
            <pc:docMk/>
            <pc:sldMk cId="3830733687" sldId="292"/>
            <ac:cxnSpMk id="402" creationId="{75FA7E66-6043-86AC-63B3-026EAD1CE5E1}"/>
          </ac:cxnSpMkLst>
        </pc:cxnChg>
        <pc:cxnChg chg="add mod ord">
          <ac:chgData name="Oğuz Öztekin" userId="33c0df0f-d5fe-4bda-8f43-141ad7af67e3" providerId="ADAL" clId="{48B824AD-1B2A-47A8-8D92-6FE6E622A650}" dt="2024-12-16T18:12:43.390" v="158112"/>
          <ac:cxnSpMkLst>
            <pc:docMk/>
            <pc:sldMk cId="3830733687" sldId="292"/>
            <ac:cxnSpMk id="403" creationId="{518BAF96-41C3-784A-4A15-CBBAB907D244}"/>
          </ac:cxnSpMkLst>
        </pc:cxnChg>
        <pc:cxnChg chg="add mod ord">
          <ac:chgData name="Oğuz Öztekin" userId="33c0df0f-d5fe-4bda-8f43-141ad7af67e3" providerId="ADAL" clId="{48B824AD-1B2A-47A8-8D92-6FE6E622A650}" dt="2024-12-16T18:12:43.335" v="157846"/>
          <ac:cxnSpMkLst>
            <pc:docMk/>
            <pc:sldMk cId="3830733687" sldId="292"/>
            <ac:cxnSpMk id="404" creationId="{DDCE45FF-047F-3BCE-81E2-AB28F3A92094}"/>
          </ac:cxnSpMkLst>
        </pc:cxnChg>
        <pc:cxnChg chg="add mod ord">
          <ac:chgData name="Oğuz Öztekin" userId="33c0df0f-d5fe-4bda-8f43-141ad7af67e3" providerId="ADAL" clId="{48B824AD-1B2A-47A8-8D92-6FE6E622A650}" dt="2024-12-16T18:12:43.335" v="157848"/>
          <ac:cxnSpMkLst>
            <pc:docMk/>
            <pc:sldMk cId="3830733687" sldId="292"/>
            <ac:cxnSpMk id="405" creationId="{4D63B4E9-88A7-0789-01C9-73DB31886AB1}"/>
          </ac:cxnSpMkLst>
        </pc:cxnChg>
        <pc:cxnChg chg="add mod ord">
          <ac:chgData name="Oğuz Öztekin" userId="33c0df0f-d5fe-4bda-8f43-141ad7af67e3" providerId="ADAL" clId="{48B824AD-1B2A-47A8-8D92-6FE6E622A650}" dt="2024-12-16T18:12:43.335" v="157850"/>
          <ac:cxnSpMkLst>
            <pc:docMk/>
            <pc:sldMk cId="3830733687" sldId="292"/>
            <ac:cxnSpMk id="406" creationId="{E50C1C40-0913-84F7-3D37-C10A5809A913}"/>
          </ac:cxnSpMkLst>
        </pc:cxnChg>
        <pc:cxnChg chg="add mod ord">
          <ac:chgData name="Oğuz Öztekin" userId="33c0df0f-d5fe-4bda-8f43-141ad7af67e3" providerId="ADAL" clId="{48B824AD-1B2A-47A8-8D92-6FE6E622A650}" dt="2024-12-16T18:12:43.336" v="157852"/>
          <ac:cxnSpMkLst>
            <pc:docMk/>
            <pc:sldMk cId="3830733687" sldId="292"/>
            <ac:cxnSpMk id="407" creationId="{38BA20A0-3B6F-DE5A-EB30-ED1A1FDD9FCB}"/>
          </ac:cxnSpMkLst>
        </pc:cxnChg>
        <pc:cxnChg chg="add mod ord">
          <ac:chgData name="Oğuz Öztekin" userId="33c0df0f-d5fe-4bda-8f43-141ad7af67e3" providerId="ADAL" clId="{48B824AD-1B2A-47A8-8D92-6FE6E622A650}" dt="2024-12-16T18:12:43.336" v="157854"/>
          <ac:cxnSpMkLst>
            <pc:docMk/>
            <pc:sldMk cId="3830733687" sldId="292"/>
            <ac:cxnSpMk id="408" creationId="{D57765B0-694A-0BA6-E488-E8B5AD1AEB0D}"/>
          </ac:cxnSpMkLst>
        </pc:cxnChg>
        <pc:cxnChg chg="add mod ord">
          <ac:chgData name="Oğuz Öztekin" userId="33c0df0f-d5fe-4bda-8f43-141ad7af67e3" providerId="ADAL" clId="{48B824AD-1B2A-47A8-8D92-6FE6E622A650}" dt="2024-12-16T18:12:43.337" v="157856"/>
          <ac:cxnSpMkLst>
            <pc:docMk/>
            <pc:sldMk cId="3830733687" sldId="292"/>
            <ac:cxnSpMk id="409" creationId="{E4098A8E-3105-020C-AA18-8DE2B963F50F}"/>
          </ac:cxnSpMkLst>
        </pc:cxnChg>
        <pc:cxnChg chg="add mod ord">
          <ac:chgData name="Oğuz Öztekin" userId="33c0df0f-d5fe-4bda-8f43-141ad7af67e3" providerId="ADAL" clId="{48B824AD-1B2A-47A8-8D92-6FE6E622A650}" dt="2024-12-16T18:12:43.337" v="157858"/>
          <ac:cxnSpMkLst>
            <pc:docMk/>
            <pc:sldMk cId="3830733687" sldId="292"/>
            <ac:cxnSpMk id="410" creationId="{D182078F-BE96-3E07-7088-A71E70CE5692}"/>
          </ac:cxnSpMkLst>
        </pc:cxnChg>
        <pc:cxnChg chg="add mod ord">
          <ac:chgData name="Oğuz Öztekin" userId="33c0df0f-d5fe-4bda-8f43-141ad7af67e3" providerId="ADAL" clId="{48B824AD-1B2A-47A8-8D92-6FE6E622A650}" dt="2024-12-16T18:12:43.338" v="157862"/>
          <ac:cxnSpMkLst>
            <pc:docMk/>
            <pc:sldMk cId="3830733687" sldId="292"/>
            <ac:cxnSpMk id="411" creationId="{4E7842E2-E025-84CE-5A63-71A5F0D6F8E0}"/>
          </ac:cxnSpMkLst>
        </pc:cxnChg>
        <pc:cxnChg chg="add mod ord">
          <ac:chgData name="Oğuz Öztekin" userId="33c0df0f-d5fe-4bda-8f43-141ad7af67e3" providerId="ADAL" clId="{48B824AD-1B2A-47A8-8D92-6FE6E622A650}" dt="2024-12-16T18:12:43.338" v="157864"/>
          <ac:cxnSpMkLst>
            <pc:docMk/>
            <pc:sldMk cId="3830733687" sldId="292"/>
            <ac:cxnSpMk id="412" creationId="{1A79CCD6-26A3-4E07-A30A-360C93EF79CF}"/>
          </ac:cxnSpMkLst>
        </pc:cxnChg>
        <pc:cxnChg chg="add mod ord">
          <ac:chgData name="Oğuz Öztekin" userId="33c0df0f-d5fe-4bda-8f43-141ad7af67e3" providerId="ADAL" clId="{48B824AD-1B2A-47A8-8D92-6FE6E622A650}" dt="2024-12-16T18:12:43.339" v="157866"/>
          <ac:cxnSpMkLst>
            <pc:docMk/>
            <pc:sldMk cId="3830733687" sldId="292"/>
            <ac:cxnSpMk id="413" creationId="{FDF4D518-AA0C-F00C-FDE5-8A98830F3E9A}"/>
          </ac:cxnSpMkLst>
        </pc:cxnChg>
        <pc:cxnChg chg="add mod ord">
          <ac:chgData name="Oğuz Öztekin" userId="33c0df0f-d5fe-4bda-8f43-141ad7af67e3" providerId="ADAL" clId="{48B824AD-1B2A-47A8-8D92-6FE6E622A650}" dt="2024-12-16T18:12:43.339" v="157868"/>
          <ac:cxnSpMkLst>
            <pc:docMk/>
            <pc:sldMk cId="3830733687" sldId="292"/>
            <ac:cxnSpMk id="414" creationId="{3ABFEF8F-D72E-FBDC-4DD2-174C7922F034}"/>
          </ac:cxnSpMkLst>
        </pc:cxnChg>
        <pc:cxnChg chg="add mod ord">
          <ac:chgData name="Oğuz Öztekin" userId="33c0df0f-d5fe-4bda-8f43-141ad7af67e3" providerId="ADAL" clId="{48B824AD-1B2A-47A8-8D92-6FE6E622A650}" dt="2024-12-16T18:12:43.340" v="157870"/>
          <ac:cxnSpMkLst>
            <pc:docMk/>
            <pc:sldMk cId="3830733687" sldId="292"/>
            <ac:cxnSpMk id="415" creationId="{BCC8469E-E917-4027-5A0D-78ED7F512FE4}"/>
          </ac:cxnSpMkLst>
        </pc:cxnChg>
        <pc:cxnChg chg="add mod ord">
          <ac:chgData name="Oğuz Öztekin" userId="33c0df0f-d5fe-4bda-8f43-141ad7af67e3" providerId="ADAL" clId="{48B824AD-1B2A-47A8-8D92-6FE6E622A650}" dt="2024-12-16T18:12:43.341" v="157872"/>
          <ac:cxnSpMkLst>
            <pc:docMk/>
            <pc:sldMk cId="3830733687" sldId="292"/>
            <ac:cxnSpMk id="416" creationId="{C407B0F9-54EB-1CDD-7DA9-65A6616EDBE4}"/>
          </ac:cxnSpMkLst>
        </pc:cxnChg>
        <pc:cxnChg chg="add mod ord">
          <ac:chgData name="Oğuz Öztekin" userId="33c0df0f-d5fe-4bda-8f43-141ad7af67e3" providerId="ADAL" clId="{48B824AD-1B2A-47A8-8D92-6FE6E622A650}" dt="2024-12-16T18:12:43.341" v="157874"/>
          <ac:cxnSpMkLst>
            <pc:docMk/>
            <pc:sldMk cId="3830733687" sldId="292"/>
            <ac:cxnSpMk id="417" creationId="{041AFA35-99F0-B6C7-643C-12F2E789BBC5}"/>
          </ac:cxnSpMkLst>
        </pc:cxnChg>
        <pc:cxnChg chg="add mod ord">
          <ac:chgData name="Oğuz Öztekin" userId="33c0df0f-d5fe-4bda-8f43-141ad7af67e3" providerId="ADAL" clId="{48B824AD-1B2A-47A8-8D92-6FE6E622A650}" dt="2024-12-16T18:12:43.342" v="157876"/>
          <ac:cxnSpMkLst>
            <pc:docMk/>
            <pc:sldMk cId="3830733687" sldId="292"/>
            <ac:cxnSpMk id="418" creationId="{DBAAF47A-09A5-C8D2-D720-97D015067916}"/>
          </ac:cxnSpMkLst>
        </pc:cxnChg>
        <pc:cxnChg chg="add mod ord">
          <ac:chgData name="Oğuz Öztekin" userId="33c0df0f-d5fe-4bda-8f43-141ad7af67e3" providerId="ADAL" clId="{48B824AD-1B2A-47A8-8D92-6FE6E622A650}" dt="2024-12-16T18:12:43.342" v="157878"/>
          <ac:cxnSpMkLst>
            <pc:docMk/>
            <pc:sldMk cId="3830733687" sldId="292"/>
            <ac:cxnSpMk id="419" creationId="{64B012B5-4BA2-50FC-2816-74123B5ADB2D}"/>
          </ac:cxnSpMkLst>
        </pc:cxnChg>
        <pc:cxnChg chg="add mod ord">
          <ac:chgData name="Oğuz Öztekin" userId="33c0df0f-d5fe-4bda-8f43-141ad7af67e3" providerId="ADAL" clId="{48B824AD-1B2A-47A8-8D92-6FE6E622A650}" dt="2024-12-16T18:12:43.342" v="157880"/>
          <ac:cxnSpMkLst>
            <pc:docMk/>
            <pc:sldMk cId="3830733687" sldId="292"/>
            <ac:cxnSpMk id="420" creationId="{28FB5B12-21AF-44C9-CA13-E27DFAB8494D}"/>
          </ac:cxnSpMkLst>
        </pc:cxnChg>
        <pc:cxnChg chg="add mod ord">
          <ac:chgData name="Oğuz Öztekin" userId="33c0df0f-d5fe-4bda-8f43-141ad7af67e3" providerId="ADAL" clId="{48B824AD-1B2A-47A8-8D92-6FE6E622A650}" dt="2024-12-16T18:12:43.343" v="157882"/>
          <ac:cxnSpMkLst>
            <pc:docMk/>
            <pc:sldMk cId="3830733687" sldId="292"/>
            <ac:cxnSpMk id="421" creationId="{730CF269-D66D-6A39-2C1F-80C20CBCAA6B}"/>
          </ac:cxnSpMkLst>
        </pc:cxnChg>
        <pc:cxnChg chg="add mod ord">
          <ac:chgData name="Oğuz Öztekin" userId="33c0df0f-d5fe-4bda-8f43-141ad7af67e3" providerId="ADAL" clId="{48B824AD-1B2A-47A8-8D92-6FE6E622A650}" dt="2024-12-16T18:12:43.343" v="157884"/>
          <ac:cxnSpMkLst>
            <pc:docMk/>
            <pc:sldMk cId="3830733687" sldId="292"/>
            <ac:cxnSpMk id="422" creationId="{70914A93-28B8-5E9D-1999-DCC7A296C9A2}"/>
          </ac:cxnSpMkLst>
        </pc:cxnChg>
        <pc:cxnChg chg="add mod ord">
          <ac:chgData name="Oğuz Öztekin" userId="33c0df0f-d5fe-4bda-8f43-141ad7af67e3" providerId="ADAL" clId="{48B824AD-1B2A-47A8-8D92-6FE6E622A650}" dt="2024-12-16T18:12:43.344" v="157886"/>
          <ac:cxnSpMkLst>
            <pc:docMk/>
            <pc:sldMk cId="3830733687" sldId="292"/>
            <ac:cxnSpMk id="423" creationId="{B7691021-4535-9D42-5560-23A4D4755081}"/>
          </ac:cxnSpMkLst>
        </pc:cxnChg>
        <pc:cxnChg chg="add mod ord">
          <ac:chgData name="Oğuz Öztekin" userId="33c0df0f-d5fe-4bda-8f43-141ad7af67e3" providerId="ADAL" clId="{48B824AD-1B2A-47A8-8D92-6FE6E622A650}" dt="2024-12-16T18:12:43.344" v="157888"/>
          <ac:cxnSpMkLst>
            <pc:docMk/>
            <pc:sldMk cId="3830733687" sldId="292"/>
            <ac:cxnSpMk id="424" creationId="{5698847E-B67D-2B52-E386-4508645BC98E}"/>
          </ac:cxnSpMkLst>
        </pc:cxnChg>
        <pc:cxnChg chg="add mod ord">
          <ac:chgData name="Oğuz Öztekin" userId="33c0df0f-d5fe-4bda-8f43-141ad7af67e3" providerId="ADAL" clId="{48B824AD-1B2A-47A8-8D92-6FE6E622A650}" dt="2024-12-16T18:12:43.345" v="157890"/>
          <ac:cxnSpMkLst>
            <pc:docMk/>
            <pc:sldMk cId="3830733687" sldId="292"/>
            <ac:cxnSpMk id="425" creationId="{E64EA39A-44FF-3421-FC3D-41CC2E9EB1CB}"/>
          </ac:cxnSpMkLst>
        </pc:cxnChg>
        <pc:cxnChg chg="add mod ord">
          <ac:chgData name="Oğuz Öztekin" userId="33c0df0f-d5fe-4bda-8f43-141ad7af67e3" providerId="ADAL" clId="{48B824AD-1B2A-47A8-8D92-6FE6E622A650}" dt="2024-12-16T18:12:43.346" v="157892"/>
          <ac:cxnSpMkLst>
            <pc:docMk/>
            <pc:sldMk cId="3830733687" sldId="292"/>
            <ac:cxnSpMk id="426" creationId="{8C2DE976-C39D-5AC6-9E7C-A665EE37BD3B}"/>
          </ac:cxnSpMkLst>
        </pc:cxnChg>
        <pc:cxnChg chg="add mod ord">
          <ac:chgData name="Oğuz Öztekin" userId="33c0df0f-d5fe-4bda-8f43-141ad7af67e3" providerId="ADAL" clId="{48B824AD-1B2A-47A8-8D92-6FE6E622A650}" dt="2024-12-16T18:12:43.346" v="157894"/>
          <ac:cxnSpMkLst>
            <pc:docMk/>
            <pc:sldMk cId="3830733687" sldId="292"/>
            <ac:cxnSpMk id="427" creationId="{5FA8C6F8-4EA0-39A3-FFA8-3940D0BD1ECA}"/>
          </ac:cxnSpMkLst>
        </pc:cxnChg>
        <pc:cxnChg chg="add mod ord">
          <ac:chgData name="Oğuz Öztekin" userId="33c0df0f-d5fe-4bda-8f43-141ad7af67e3" providerId="ADAL" clId="{48B824AD-1B2A-47A8-8D92-6FE6E622A650}" dt="2024-12-16T18:12:43.347" v="157896"/>
          <ac:cxnSpMkLst>
            <pc:docMk/>
            <pc:sldMk cId="3830733687" sldId="292"/>
            <ac:cxnSpMk id="428" creationId="{3DCF4FEC-CF78-3565-0135-A1E6CA9F9FC0}"/>
          </ac:cxnSpMkLst>
        </pc:cxnChg>
        <pc:cxnChg chg="add mod ord">
          <ac:chgData name="Oğuz Öztekin" userId="33c0df0f-d5fe-4bda-8f43-141ad7af67e3" providerId="ADAL" clId="{48B824AD-1B2A-47A8-8D92-6FE6E622A650}" dt="2024-12-16T18:12:43.347" v="157898"/>
          <ac:cxnSpMkLst>
            <pc:docMk/>
            <pc:sldMk cId="3830733687" sldId="292"/>
            <ac:cxnSpMk id="429" creationId="{B9396631-B8D0-BCD4-EC60-32CA78368D85}"/>
          </ac:cxnSpMkLst>
        </pc:cxnChg>
        <pc:cxnChg chg="add mod ord">
          <ac:chgData name="Oğuz Öztekin" userId="33c0df0f-d5fe-4bda-8f43-141ad7af67e3" providerId="ADAL" clId="{48B824AD-1B2A-47A8-8D92-6FE6E622A650}" dt="2024-12-16T18:12:43.348" v="157900"/>
          <ac:cxnSpMkLst>
            <pc:docMk/>
            <pc:sldMk cId="3830733687" sldId="292"/>
            <ac:cxnSpMk id="430" creationId="{42442FA1-02FC-F66E-5BD7-A0C1B4706C68}"/>
          </ac:cxnSpMkLst>
        </pc:cxnChg>
        <pc:cxnChg chg="add mod ord">
          <ac:chgData name="Oğuz Öztekin" userId="33c0df0f-d5fe-4bda-8f43-141ad7af67e3" providerId="ADAL" clId="{48B824AD-1B2A-47A8-8D92-6FE6E622A650}" dt="2024-12-16T18:12:43.348" v="157902"/>
          <ac:cxnSpMkLst>
            <pc:docMk/>
            <pc:sldMk cId="3830733687" sldId="292"/>
            <ac:cxnSpMk id="431" creationId="{DB1D1C0F-FC44-9247-0FDE-4B59F66A6D6C}"/>
          </ac:cxnSpMkLst>
        </pc:cxnChg>
        <pc:cxnChg chg="add mod ord">
          <ac:chgData name="Oğuz Öztekin" userId="33c0df0f-d5fe-4bda-8f43-141ad7af67e3" providerId="ADAL" clId="{48B824AD-1B2A-47A8-8D92-6FE6E622A650}" dt="2024-12-16T18:12:43.348" v="157904"/>
          <ac:cxnSpMkLst>
            <pc:docMk/>
            <pc:sldMk cId="3830733687" sldId="292"/>
            <ac:cxnSpMk id="432" creationId="{ACCAEB2C-8943-ED1C-9407-CC237DA19523}"/>
          </ac:cxnSpMkLst>
        </pc:cxnChg>
        <pc:cxnChg chg="add mod ord">
          <ac:chgData name="Oğuz Öztekin" userId="33c0df0f-d5fe-4bda-8f43-141ad7af67e3" providerId="ADAL" clId="{48B824AD-1B2A-47A8-8D92-6FE6E622A650}" dt="2024-12-16T18:12:43.349" v="157906"/>
          <ac:cxnSpMkLst>
            <pc:docMk/>
            <pc:sldMk cId="3830733687" sldId="292"/>
            <ac:cxnSpMk id="433" creationId="{6FA11114-8578-3164-1750-50F431D80E0F}"/>
          </ac:cxnSpMkLst>
        </pc:cxnChg>
        <pc:cxnChg chg="add mod ord">
          <ac:chgData name="Oğuz Öztekin" userId="33c0df0f-d5fe-4bda-8f43-141ad7af67e3" providerId="ADAL" clId="{48B824AD-1B2A-47A8-8D92-6FE6E622A650}" dt="2024-12-16T18:12:43.349" v="157908"/>
          <ac:cxnSpMkLst>
            <pc:docMk/>
            <pc:sldMk cId="3830733687" sldId="292"/>
            <ac:cxnSpMk id="434" creationId="{47464119-65A4-0120-D945-D8CE6D7232BE}"/>
          </ac:cxnSpMkLst>
        </pc:cxnChg>
        <pc:cxnChg chg="add mod ord">
          <ac:chgData name="Oğuz Öztekin" userId="33c0df0f-d5fe-4bda-8f43-141ad7af67e3" providerId="ADAL" clId="{48B824AD-1B2A-47A8-8D92-6FE6E622A650}" dt="2024-12-16T18:12:43.349" v="157910"/>
          <ac:cxnSpMkLst>
            <pc:docMk/>
            <pc:sldMk cId="3830733687" sldId="292"/>
            <ac:cxnSpMk id="435" creationId="{5FE172B0-4132-577C-CB1B-3E000FF45F75}"/>
          </ac:cxnSpMkLst>
        </pc:cxnChg>
        <pc:cxnChg chg="add mod ord">
          <ac:chgData name="Oğuz Öztekin" userId="33c0df0f-d5fe-4bda-8f43-141ad7af67e3" providerId="ADAL" clId="{48B824AD-1B2A-47A8-8D92-6FE6E622A650}" dt="2024-12-16T18:12:43.350" v="157912"/>
          <ac:cxnSpMkLst>
            <pc:docMk/>
            <pc:sldMk cId="3830733687" sldId="292"/>
            <ac:cxnSpMk id="436" creationId="{C3F0B35F-681D-74C0-93BB-54E920ED1F9E}"/>
          </ac:cxnSpMkLst>
        </pc:cxnChg>
        <pc:cxnChg chg="add mod ord">
          <ac:chgData name="Oğuz Öztekin" userId="33c0df0f-d5fe-4bda-8f43-141ad7af67e3" providerId="ADAL" clId="{48B824AD-1B2A-47A8-8D92-6FE6E622A650}" dt="2024-12-16T18:12:43.350" v="157914"/>
          <ac:cxnSpMkLst>
            <pc:docMk/>
            <pc:sldMk cId="3830733687" sldId="292"/>
            <ac:cxnSpMk id="437" creationId="{4F466F13-098B-8110-965D-C4ED2DA19D37}"/>
          </ac:cxnSpMkLst>
        </pc:cxnChg>
        <pc:cxnChg chg="add mod ord">
          <ac:chgData name="Oğuz Öztekin" userId="33c0df0f-d5fe-4bda-8f43-141ad7af67e3" providerId="ADAL" clId="{48B824AD-1B2A-47A8-8D92-6FE6E622A650}" dt="2024-12-16T18:12:43.351" v="157916"/>
          <ac:cxnSpMkLst>
            <pc:docMk/>
            <pc:sldMk cId="3830733687" sldId="292"/>
            <ac:cxnSpMk id="438" creationId="{46E820FB-3248-ECA6-3EF1-9990AA653A3F}"/>
          </ac:cxnSpMkLst>
        </pc:cxnChg>
        <pc:cxnChg chg="add mod ord">
          <ac:chgData name="Oğuz Öztekin" userId="33c0df0f-d5fe-4bda-8f43-141ad7af67e3" providerId="ADAL" clId="{48B824AD-1B2A-47A8-8D92-6FE6E622A650}" dt="2024-12-16T18:12:43.351" v="157918"/>
          <ac:cxnSpMkLst>
            <pc:docMk/>
            <pc:sldMk cId="3830733687" sldId="292"/>
            <ac:cxnSpMk id="439" creationId="{CA51FC50-3D98-1D66-D9A7-E30F7645458F}"/>
          </ac:cxnSpMkLst>
        </pc:cxnChg>
        <pc:cxnChg chg="add mod ord">
          <ac:chgData name="Oğuz Öztekin" userId="33c0df0f-d5fe-4bda-8f43-141ad7af67e3" providerId="ADAL" clId="{48B824AD-1B2A-47A8-8D92-6FE6E622A650}" dt="2024-12-16T18:12:43.351" v="157920"/>
          <ac:cxnSpMkLst>
            <pc:docMk/>
            <pc:sldMk cId="3830733687" sldId="292"/>
            <ac:cxnSpMk id="440" creationId="{B12D60C3-8D5B-DB5D-4789-089B6CD53668}"/>
          </ac:cxnSpMkLst>
        </pc:cxnChg>
        <pc:cxnChg chg="add mod ord">
          <ac:chgData name="Oğuz Öztekin" userId="33c0df0f-d5fe-4bda-8f43-141ad7af67e3" providerId="ADAL" clId="{48B824AD-1B2A-47A8-8D92-6FE6E622A650}" dt="2024-12-16T18:12:43.351" v="157922"/>
          <ac:cxnSpMkLst>
            <pc:docMk/>
            <pc:sldMk cId="3830733687" sldId="292"/>
            <ac:cxnSpMk id="441" creationId="{A4DB74F8-2458-A0DB-62C7-CFF4CC7472ED}"/>
          </ac:cxnSpMkLst>
        </pc:cxnChg>
        <pc:cxnChg chg="add mod ord">
          <ac:chgData name="Oğuz Öztekin" userId="33c0df0f-d5fe-4bda-8f43-141ad7af67e3" providerId="ADAL" clId="{48B824AD-1B2A-47A8-8D92-6FE6E622A650}" dt="2024-12-16T18:12:43.352" v="157924"/>
          <ac:cxnSpMkLst>
            <pc:docMk/>
            <pc:sldMk cId="3830733687" sldId="292"/>
            <ac:cxnSpMk id="442" creationId="{BFEBB30A-4F62-394C-0DAF-6BA788FB16AC}"/>
          </ac:cxnSpMkLst>
        </pc:cxnChg>
        <pc:cxnChg chg="add mod ord">
          <ac:chgData name="Oğuz Öztekin" userId="33c0df0f-d5fe-4bda-8f43-141ad7af67e3" providerId="ADAL" clId="{48B824AD-1B2A-47A8-8D92-6FE6E622A650}" dt="2024-12-16T18:12:43.352" v="157928"/>
          <ac:cxnSpMkLst>
            <pc:docMk/>
            <pc:sldMk cId="3830733687" sldId="292"/>
            <ac:cxnSpMk id="443" creationId="{EE1E4D20-095B-9577-90D4-FAFE9C4DB363}"/>
          </ac:cxnSpMkLst>
        </pc:cxnChg>
        <pc:cxnChg chg="add mod ord">
          <ac:chgData name="Oğuz Öztekin" userId="33c0df0f-d5fe-4bda-8f43-141ad7af67e3" providerId="ADAL" clId="{48B824AD-1B2A-47A8-8D92-6FE6E622A650}" dt="2024-12-16T18:12:43.353" v="157930"/>
          <ac:cxnSpMkLst>
            <pc:docMk/>
            <pc:sldMk cId="3830733687" sldId="292"/>
            <ac:cxnSpMk id="444" creationId="{F54CB88A-3E09-D694-313A-37061242D9C9}"/>
          </ac:cxnSpMkLst>
        </pc:cxnChg>
        <pc:cxnChg chg="add mod ord">
          <ac:chgData name="Oğuz Öztekin" userId="33c0df0f-d5fe-4bda-8f43-141ad7af67e3" providerId="ADAL" clId="{48B824AD-1B2A-47A8-8D92-6FE6E622A650}" dt="2024-12-16T18:12:43.353" v="157932"/>
          <ac:cxnSpMkLst>
            <pc:docMk/>
            <pc:sldMk cId="3830733687" sldId="292"/>
            <ac:cxnSpMk id="445" creationId="{2AAF7AA3-5EFC-B9E1-6547-7013C2C52CBB}"/>
          </ac:cxnSpMkLst>
        </pc:cxnChg>
        <pc:cxnChg chg="add mod ord">
          <ac:chgData name="Oğuz Öztekin" userId="33c0df0f-d5fe-4bda-8f43-141ad7af67e3" providerId="ADAL" clId="{48B824AD-1B2A-47A8-8D92-6FE6E622A650}" dt="2024-12-16T18:12:43.353" v="157934"/>
          <ac:cxnSpMkLst>
            <pc:docMk/>
            <pc:sldMk cId="3830733687" sldId="292"/>
            <ac:cxnSpMk id="446" creationId="{B970B6CE-8C61-9456-6997-C1EE98E4157E}"/>
          </ac:cxnSpMkLst>
        </pc:cxnChg>
        <pc:cxnChg chg="add mod ord">
          <ac:chgData name="Oğuz Öztekin" userId="33c0df0f-d5fe-4bda-8f43-141ad7af67e3" providerId="ADAL" clId="{48B824AD-1B2A-47A8-8D92-6FE6E622A650}" dt="2024-12-16T18:12:43.355" v="157936"/>
          <ac:cxnSpMkLst>
            <pc:docMk/>
            <pc:sldMk cId="3830733687" sldId="292"/>
            <ac:cxnSpMk id="447" creationId="{04B11489-1AD2-5C17-6466-7DB38779B40B}"/>
          </ac:cxnSpMkLst>
        </pc:cxnChg>
        <pc:cxnChg chg="add mod ord">
          <ac:chgData name="Oğuz Öztekin" userId="33c0df0f-d5fe-4bda-8f43-141ad7af67e3" providerId="ADAL" clId="{48B824AD-1B2A-47A8-8D92-6FE6E622A650}" dt="2024-12-16T18:12:43.355" v="157938"/>
          <ac:cxnSpMkLst>
            <pc:docMk/>
            <pc:sldMk cId="3830733687" sldId="292"/>
            <ac:cxnSpMk id="448" creationId="{48986939-3AC9-03FA-2AA5-563087B78799}"/>
          </ac:cxnSpMkLst>
        </pc:cxnChg>
        <pc:cxnChg chg="add mod ord">
          <ac:chgData name="Oğuz Öztekin" userId="33c0df0f-d5fe-4bda-8f43-141ad7af67e3" providerId="ADAL" clId="{48B824AD-1B2A-47A8-8D92-6FE6E622A650}" dt="2024-12-16T18:12:43.352" v="157926"/>
          <ac:cxnSpMkLst>
            <pc:docMk/>
            <pc:sldMk cId="3830733687" sldId="292"/>
            <ac:cxnSpMk id="449" creationId="{3C3D247E-435C-3F9A-CEB8-703B52061C22}"/>
          </ac:cxnSpMkLst>
        </pc:cxnChg>
        <pc:cxnChg chg="add mod ord">
          <ac:chgData name="Oğuz Öztekin" userId="33c0df0f-d5fe-4bda-8f43-141ad7af67e3" providerId="ADAL" clId="{48B824AD-1B2A-47A8-8D92-6FE6E622A650}" dt="2024-12-16T18:12:43.355" v="157940"/>
          <ac:cxnSpMkLst>
            <pc:docMk/>
            <pc:sldMk cId="3830733687" sldId="292"/>
            <ac:cxnSpMk id="450" creationId="{303CA0A0-A21A-1620-5C3D-2572BDF8BB7E}"/>
          </ac:cxnSpMkLst>
        </pc:cxnChg>
        <pc:cxnChg chg="add mod ord">
          <ac:chgData name="Oğuz Öztekin" userId="33c0df0f-d5fe-4bda-8f43-141ad7af67e3" providerId="ADAL" clId="{48B824AD-1B2A-47A8-8D92-6FE6E622A650}" dt="2024-12-16T18:12:43.356" v="157942"/>
          <ac:cxnSpMkLst>
            <pc:docMk/>
            <pc:sldMk cId="3830733687" sldId="292"/>
            <ac:cxnSpMk id="451" creationId="{7B0B0179-C9D4-A0D5-3B59-80DBF23BC10E}"/>
          </ac:cxnSpMkLst>
        </pc:cxnChg>
        <pc:cxnChg chg="add mod ord">
          <ac:chgData name="Oğuz Öztekin" userId="33c0df0f-d5fe-4bda-8f43-141ad7af67e3" providerId="ADAL" clId="{48B824AD-1B2A-47A8-8D92-6FE6E622A650}" dt="2024-12-16T18:12:43.356" v="157944"/>
          <ac:cxnSpMkLst>
            <pc:docMk/>
            <pc:sldMk cId="3830733687" sldId="292"/>
            <ac:cxnSpMk id="452" creationId="{3FD39D89-A5FB-C58F-6D15-9F49527DED68}"/>
          </ac:cxnSpMkLst>
        </pc:cxnChg>
        <pc:cxnChg chg="add mod ord">
          <ac:chgData name="Oğuz Öztekin" userId="33c0df0f-d5fe-4bda-8f43-141ad7af67e3" providerId="ADAL" clId="{48B824AD-1B2A-47A8-8D92-6FE6E622A650}" dt="2024-12-16T18:12:43.356" v="157946"/>
          <ac:cxnSpMkLst>
            <pc:docMk/>
            <pc:sldMk cId="3830733687" sldId="292"/>
            <ac:cxnSpMk id="453" creationId="{41374105-9409-7B96-CE82-941C634E349E}"/>
          </ac:cxnSpMkLst>
        </pc:cxnChg>
        <pc:cxnChg chg="add mod ord">
          <ac:chgData name="Oğuz Öztekin" userId="33c0df0f-d5fe-4bda-8f43-141ad7af67e3" providerId="ADAL" clId="{48B824AD-1B2A-47A8-8D92-6FE6E622A650}" dt="2024-12-16T18:12:43.357" v="157948"/>
          <ac:cxnSpMkLst>
            <pc:docMk/>
            <pc:sldMk cId="3830733687" sldId="292"/>
            <ac:cxnSpMk id="454" creationId="{988B4E12-56F1-54AF-63A5-613E25372109}"/>
          </ac:cxnSpMkLst>
        </pc:cxnChg>
        <pc:cxnChg chg="add mod ord">
          <ac:chgData name="Oğuz Öztekin" userId="33c0df0f-d5fe-4bda-8f43-141ad7af67e3" providerId="ADAL" clId="{48B824AD-1B2A-47A8-8D92-6FE6E622A650}" dt="2024-12-16T18:12:43.357" v="157950"/>
          <ac:cxnSpMkLst>
            <pc:docMk/>
            <pc:sldMk cId="3830733687" sldId="292"/>
            <ac:cxnSpMk id="455" creationId="{73CC2CD2-B19D-31C1-12A7-2D8776477FB4}"/>
          </ac:cxnSpMkLst>
        </pc:cxnChg>
        <pc:cxnChg chg="add mod ord">
          <ac:chgData name="Oğuz Öztekin" userId="33c0df0f-d5fe-4bda-8f43-141ad7af67e3" providerId="ADAL" clId="{48B824AD-1B2A-47A8-8D92-6FE6E622A650}" dt="2024-12-16T18:12:43.357" v="157952"/>
          <ac:cxnSpMkLst>
            <pc:docMk/>
            <pc:sldMk cId="3830733687" sldId="292"/>
            <ac:cxnSpMk id="456" creationId="{9539E33D-4AD1-346F-EB7F-B0DE5CF5B7D8}"/>
          </ac:cxnSpMkLst>
        </pc:cxnChg>
        <pc:cxnChg chg="add mod ord">
          <ac:chgData name="Oğuz Öztekin" userId="33c0df0f-d5fe-4bda-8f43-141ad7af67e3" providerId="ADAL" clId="{48B824AD-1B2A-47A8-8D92-6FE6E622A650}" dt="2024-12-16T18:12:43.358" v="157954"/>
          <ac:cxnSpMkLst>
            <pc:docMk/>
            <pc:sldMk cId="3830733687" sldId="292"/>
            <ac:cxnSpMk id="457" creationId="{F4C43652-7B52-052F-5C1C-63ADE5E99322}"/>
          </ac:cxnSpMkLst>
        </pc:cxnChg>
        <pc:cxnChg chg="add mod ord">
          <ac:chgData name="Oğuz Öztekin" userId="33c0df0f-d5fe-4bda-8f43-141ad7af67e3" providerId="ADAL" clId="{48B824AD-1B2A-47A8-8D92-6FE6E622A650}" dt="2024-12-16T18:12:43.358" v="157956"/>
          <ac:cxnSpMkLst>
            <pc:docMk/>
            <pc:sldMk cId="3830733687" sldId="292"/>
            <ac:cxnSpMk id="458" creationId="{7D989CBD-74E8-893F-E8E5-2686D8715409}"/>
          </ac:cxnSpMkLst>
        </pc:cxnChg>
        <pc:cxnChg chg="add mod ord">
          <ac:chgData name="Oğuz Öztekin" userId="33c0df0f-d5fe-4bda-8f43-141ad7af67e3" providerId="ADAL" clId="{48B824AD-1B2A-47A8-8D92-6FE6E622A650}" dt="2024-12-16T18:12:43.358" v="157958"/>
          <ac:cxnSpMkLst>
            <pc:docMk/>
            <pc:sldMk cId="3830733687" sldId="292"/>
            <ac:cxnSpMk id="459" creationId="{2193215D-A3D6-FF99-8A77-FCAE930A3A01}"/>
          </ac:cxnSpMkLst>
        </pc:cxnChg>
        <pc:cxnChg chg="add mod ord">
          <ac:chgData name="Oğuz Öztekin" userId="33c0df0f-d5fe-4bda-8f43-141ad7af67e3" providerId="ADAL" clId="{48B824AD-1B2A-47A8-8D92-6FE6E622A650}" dt="2024-12-16T18:12:43.359" v="157960"/>
          <ac:cxnSpMkLst>
            <pc:docMk/>
            <pc:sldMk cId="3830733687" sldId="292"/>
            <ac:cxnSpMk id="460" creationId="{A3FA06DD-A11B-B387-1C8F-C6C474F1CC69}"/>
          </ac:cxnSpMkLst>
        </pc:cxnChg>
        <pc:cxnChg chg="add mod ord">
          <ac:chgData name="Oğuz Öztekin" userId="33c0df0f-d5fe-4bda-8f43-141ad7af67e3" providerId="ADAL" clId="{48B824AD-1B2A-47A8-8D92-6FE6E622A650}" dt="2024-12-16T18:12:43.359" v="157962"/>
          <ac:cxnSpMkLst>
            <pc:docMk/>
            <pc:sldMk cId="3830733687" sldId="292"/>
            <ac:cxnSpMk id="461" creationId="{495E821F-C55F-0CF1-0189-9B11AB74C5C7}"/>
          </ac:cxnSpMkLst>
        </pc:cxnChg>
        <pc:cxnChg chg="add mod ord">
          <ac:chgData name="Oğuz Öztekin" userId="33c0df0f-d5fe-4bda-8f43-141ad7af67e3" providerId="ADAL" clId="{48B824AD-1B2A-47A8-8D92-6FE6E622A650}" dt="2024-12-16T18:12:43.359" v="157964"/>
          <ac:cxnSpMkLst>
            <pc:docMk/>
            <pc:sldMk cId="3830733687" sldId="292"/>
            <ac:cxnSpMk id="462" creationId="{8D5CE87B-32CA-51BE-BCA6-504E143D6648}"/>
          </ac:cxnSpMkLst>
        </pc:cxnChg>
        <pc:cxnChg chg="add mod ord">
          <ac:chgData name="Oğuz Öztekin" userId="33c0df0f-d5fe-4bda-8f43-141ad7af67e3" providerId="ADAL" clId="{48B824AD-1B2A-47A8-8D92-6FE6E622A650}" dt="2024-12-16T18:12:43.359" v="157966"/>
          <ac:cxnSpMkLst>
            <pc:docMk/>
            <pc:sldMk cId="3830733687" sldId="292"/>
            <ac:cxnSpMk id="463" creationId="{D7ED64FE-7992-18A6-0147-9BF7A01BAFFE}"/>
          </ac:cxnSpMkLst>
        </pc:cxnChg>
        <pc:cxnChg chg="add mod ord">
          <ac:chgData name="Oğuz Öztekin" userId="33c0df0f-d5fe-4bda-8f43-141ad7af67e3" providerId="ADAL" clId="{48B824AD-1B2A-47A8-8D92-6FE6E622A650}" dt="2024-12-16T18:12:43.361" v="157968"/>
          <ac:cxnSpMkLst>
            <pc:docMk/>
            <pc:sldMk cId="3830733687" sldId="292"/>
            <ac:cxnSpMk id="464" creationId="{6B8316EA-6332-C84F-1A10-CE53DB273E76}"/>
          </ac:cxnSpMkLst>
        </pc:cxnChg>
        <pc:cxnChg chg="add mod ord">
          <ac:chgData name="Oğuz Öztekin" userId="33c0df0f-d5fe-4bda-8f43-141ad7af67e3" providerId="ADAL" clId="{48B824AD-1B2A-47A8-8D92-6FE6E622A650}" dt="2024-12-16T18:12:43.361" v="157970"/>
          <ac:cxnSpMkLst>
            <pc:docMk/>
            <pc:sldMk cId="3830733687" sldId="292"/>
            <ac:cxnSpMk id="465" creationId="{27CE91B5-3A27-97F0-A49B-515BB4FF7060}"/>
          </ac:cxnSpMkLst>
        </pc:cxnChg>
        <pc:cxnChg chg="add mod ord">
          <ac:chgData name="Oğuz Öztekin" userId="33c0df0f-d5fe-4bda-8f43-141ad7af67e3" providerId="ADAL" clId="{48B824AD-1B2A-47A8-8D92-6FE6E622A650}" dt="2024-12-16T18:12:43.362" v="157972"/>
          <ac:cxnSpMkLst>
            <pc:docMk/>
            <pc:sldMk cId="3830733687" sldId="292"/>
            <ac:cxnSpMk id="466" creationId="{95043A90-CBA2-345F-97C1-34CA5632CD4E}"/>
          </ac:cxnSpMkLst>
        </pc:cxnChg>
        <pc:cxnChg chg="add mod ord">
          <ac:chgData name="Oğuz Öztekin" userId="33c0df0f-d5fe-4bda-8f43-141ad7af67e3" providerId="ADAL" clId="{48B824AD-1B2A-47A8-8D92-6FE6E622A650}" dt="2024-12-16T18:12:43.362" v="157974"/>
          <ac:cxnSpMkLst>
            <pc:docMk/>
            <pc:sldMk cId="3830733687" sldId="292"/>
            <ac:cxnSpMk id="467" creationId="{95D555EB-D830-992A-3E70-E2750B4F2409}"/>
          </ac:cxnSpMkLst>
        </pc:cxnChg>
        <pc:cxnChg chg="add mod ord">
          <ac:chgData name="Oğuz Öztekin" userId="33c0df0f-d5fe-4bda-8f43-141ad7af67e3" providerId="ADAL" clId="{48B824AD-1B2A-47A8-8D92-6FE6E622A650}" dt="2024-12-16T18:12:43.363" v="157976"/>
          <ac:cxnSpMkLst>
            <pc:docMk/>
            <pc:sldMk cId="3830733687" sldId="292"/>
            <ac:cxnSpMk id="468" creationId="{9DE628EC-A89D-FD27-BED2-13B997379FA0}"/>
          </ac:cxnSpMkLst>
        </pc:cxnChg>
        <pc:cxnChg chg="add mod ord">
          <ac:chgData name="Oğuz Öztekin" userId="33c0df0f-d5fe-4bda-8f43-141ad7af67e3" providerId="ADAL" clId="{48B824AD-1B2A-47A8-8D92-6FE6E622A650}" dt="2024-12-16T18:12:43.363" v="157978"/>
          <ac:cxnSpMkLst>
            <pc:docMk/>
            <pc:sldMk cId="3830733687" sldId="292"/>
            <ac:cxnSpMk id="469" creationId="{8604FFE3-0856-712E-20D9-FE96BBC01B6A}"/>
          </ac:cxnSpMkLst>
        </pc:cxnChg>
        <pc:cxnChg chg="add mod ord">
          <ac:chgData name="Oğuz Öztekin" userId="33c0df0f-d5fe-4bda-8f43-141ad7af67e3" providerId="ADAL" clId="{48B824AD-1B2A-47A8-8D92-6FE6E622A650}" dt="2024-12-16T18:12:43.364" v="157980"/>
          <ac:cxnSpMkLst>
            <pc:docMk/>
            <pc:sldMk cId="3830733687" sldId="292"/>
            <ac:cxnSpMk id="470" creationId="{250B061D-5A6E-D33B-106D-03DCAF83DE9E}"/>
          </ac:cxnSpMkLst>
        </pc:cxnChg>
        <pc:cxnChg chg="add mod ord">
          <ac:chgData name="Oğuz Öztekin" userId="33c0df0f-d5fe-4bda-8f43-141ad7af67e3" providerId="ADAL" clId="{48B824AD-1B2A-47A8-8D92-6FE6E622A650}" dt="2024-12-16T18:12:43.364" v="157982"/>
          <ac:cxnSpMkLst>
            <pc:docMk/>
            <pc:sldMk cId="3830733687" sldId="292"/>
            <ac:cxnSpMk id="471" creationId="{8C80014A-1E1B-6C57-D4B1-B0EB0F56281B}"/>
          </ac:cxnSpMkLst>
        </pc:cxnChg>
        <pc:cxnChg chg="add mod ord">
          <ac:chgData name="Oğuz Öztekin" userId="33c0df0f-d5fe-4bda-8f43-141ad7af67e3" providerId="ADAL" clId="{48B824AD-1B2A-47A8-8D92-6FE6E622A650}" dt="2024-12-16T18:12:43.364" v="157984"/>
          <ac:cxnSpMkLst>
            <pc:docMk/>
            <pc:sldMk cId="3830733687" sldId="292"/>
            <ac:cxnSpMk id="472" creationId="{D4119454-A631-707C-CCA8-11FCF00E7B55}"/>
          </ac:cxnSpMkLst>
        </pc:cxnChg>
        <pc:cxnChg chg="add mod ord">
          <ac:chgData name="Oğuz Öztekin" userId="33c0df0f-d5fe-4bda-8f43-141ad7af67e3" providerId="ADAL" clId="{48B824AD-1B2A-47A8-8D92-6FE6E622A650}" dt="2024-12-16T18:12:43.365" v="157986"/>
          <ac:cxnSpMkLst>
            <pc:docMk/>
            <pc:sldMk cId="3830733687" sldId="292"/>
            <ac:cxnSpMk id="473" creationId="{35B99824-F373-076E-106E-739CADB288E8}"/>
          </ac:cxnSpMkLst>
        </pc:cxnChg>
        <pc:cxnChg chg="add mod ord">
          <ac:chgData name="Oğuz Öztekin" userId="33c0df0f-d5fe-4bda-8f43-141ad7af67e3" providerId="ADAL" clId="{48B824AD-1B2A-47A8-8D92-6FE6E622A650}" dt="2024-12-16T18:12:43.365" v="157988"/>
          <ac:cxnSpMkLst>
            <pc:docMk/>
            <pc:sldMk cId="3830733687" sldId="292"/>
            <ac:cxnSpMk id="474" creationId="{99299B2F-A7B9-FF23-2EBC-CC54EECF6309}"/>
          </ac:cxnSpMkLst>
        </pc:cxnChg>
        <pc:cxnChg chg="add mod ord">
          <ac:chgData name="Oğuz Öztekin" userId="33c0df0f-d5fe-4bda-8f43-141ad7af67e3" providerId="ADAL" clId="{48B824AD-1B2A-47A8-8D92-6FE6E622A650}" dt="2024-12-16T18:12:43.366" v="157990"/>
          <ac:cxnSpMkLst>
            <pc:docMk/>
            <pc:sldMk cId="3830733687" sldId="292"/>
            <ac:cxnSpMk id="475" creationId="{42933C15-E0A5-74B6-2471-84D6DD9775A5}"/>
          </ac:cxnSpMkLst>
        </pc:cxnChg>
        <pc:cxnChg chg="add mod ord">
          <ac:chgData name="Oğuz Öztekin" userId="33c0df0f-d5fe-4bda-8f43-141ad7af67e3" providerId="ADAL" clId="{48B824AD-1B2A-47A8-8D92-6FE6E622A650}" dt="2024-12-16T18:12:43.366" v="157992"/>
          <ac:cxnSpMkLst>
            <pc:docMk/>
            <pc:sldMk cId="3830733687" sldId="292"/>
            <ac:cxnSpMk id="476" creationId="{A670ABCA-F4A6-9D85-0FA1-99D41CA297A3}"/>
          </ac:cxnSpMkLst>
        </pc:cxnChg>
        <pc:cxnChg chg="add mod ord">
          <ac:chgData name="Oğuz Öztekin" userId="33c0df0f-d5fe-4bda-8f43-141ad7af67e3" providerId="ADAL" clId="{48B824AD-1B2A-47A8-8D92-6FE6E622A650}" dt="2024-12-16T18:12:43.367" v="157994"/>
          <ac:cxnSpMkLst>
            <pc:docMk/>
            <pc:sldMk cId="3830733687" sldId="292"/>
            <ac:cxnSpMk id="477" creationId="{9540683C-1B1C-B346-785A-CB196020C968}"/>
          </ac:cxnSpMkLst>
        </pc:cxnChg>
        <pc:cxnChg chg="add mod ord">
          <ac:chgData name="Oğuz Öztekin" userId="33c0df0f-d5fe-4bda-8f43-141ad7af67e3" providerId="ADAL" clId="{48B824AD-1B2A-47A8-8D92-6FE6E622A650}" dt="2024-12-16T18:12:43.367" v="157996"/>
          <ac:cxnSpMkLst>
            <pc:docMk/>
            <pc:sldMk cId="3830733687" sldId="292"/>
            <ac:cxnSpMk id="478" creationId="{F1DA32C1-968E-FC54-1F96-DF24DD0BD49F}"/>
          </ac:cxnSpMkLst>
        </pc:cxnChg>
        <pc:cxnChg chg="add mod ord">
          <ac:chgData name="Oğuz Öztekin" userId="33c0df0f-d5fe-4bda-8f43-141ad7af67e3" providerId="ADAL" clId="{48B824AD-1B2A-47A8-8D92-6FE6E622A650}" dt="2024-12-16T18:12:43.367" v="157998"/>
          <ac:cxnSpMkLst>
            <pc:docMk/>
            <pc:sldMk cId="3830733687" sldId="292"/>
            <ac:cxnSpMk id="479" creationId="{251A86ED-B032-0E1A-8C85-4A0B3AD4F804}"/>
          </ac:cxnSpMkLst>
        </pc:cxnChg>
        <pc:cxnChg chg="add mod ord">
          <ac:chgData name="Oğuz Öztekin" userId="33c0df0f-d5fe-4bda-8f43-141ad7af67e3" providerId="ADAL" clId="{48B824AD-1B2A-47A8-8D92-6FE6E622A650}" dt="2024-12-16T18:12:43.368" v="158000"/>
          <ac:cxnSpMkLst>
            <pc:docMk/>
            <pc:sldMk cId="3830733687" sldId="292"/>
            <ac:cxnSpMk id="480" creationId="{C4372D33-CBEB-A304-4F30-C3A0F41AD832}"/>
          </ac:cxnSpMkLst>
        </pc:cxnChg>
        <pc:cxnChg chg="add mod ord">
          <ac:chgData name="Oğuz Öztekin" userId="33c0df0f-d5fe-4bda-8f43-141ad7af67e3" providerId="ADAL" clId="{48B824AD-1B2A-47A8-8D92-6FE6E622A650}" dt="2024-12-16T18:12:43.368" v="158002"/>
          <ac:cxnSpMkLst>
            <pc:docMk/>
            <pc:sldMk cId="3830733687" sldId="292"/>
            <ac:cxnSpMk id="481" creationId="{89A59D91-C9C8-D56C-04C2-EA91395CF845}"/>
          </ac:cxnSpMkLst>
        </pc:cxnChg>
        <pc:cxnChg chg="add mod ord">
          <ac:chgData name="Oğuz Öztekin" userId="33c0df0f-d5fe-4bda-8f43-141ad7af67e3" providerId="ADAL" clId="{48B824AD-1B2A-47A8-8D92-6FE6E622A650}" dt="2024-12-16T18:12:43.368" v="158004"/>
          <ac:cxnSpMkLst>
            <pc:docMk/>
            <pc:sldMk cId="3830733687" sldId="292"/>
            <ac:cxnSpMk id="482" creationId="{DED448A3-CC91-541C-514E-93B264B6B975}"/>
          </ac:cxnSpMkLst>
        </pc:cxnChg>
        <pc:cxnChg chg="add mod ord">
          <ac:chgData name="Oğuz Öztekin" userId="33c0df0f-d5fe-4bda-8f43-141ad7af67e3" providerId="ADAL" clId="{48B824AD-1B2A-47A8-8D92-6FE6E622A650}" dt="2024-12-16T18:12:43.369" v="158006"/>
          <ac:cxnSpMkLst>
            <pc:docMk/>
            <pc:sldMk cId="3830733687" sldId="292"/>
            <ac:cxnSpMk id="483" creationId="{8E1B902E-A435-182E-1B43-D10918D00193}"/>
          </ac:cxnSpMkLst>
        </pc:cxnChg>
        <pc:cxnChg chg="add mod ord">
          <ac:chgData name="Oğuz Öztekin" userId="33c0df0f-d5fe-4bda-8f43-141ad7af67e3" providerId="ADAL" clId="{48B824AD-1B2A-47A8-8D92-6FE6E622A650}" dt="2024-12-16T18:12:43.369" v="158008"/>
          <ac:cxnSpMkLst>
            <pc:docMk/>
            <pc:sldMk cId="3830733687" sldId="292"/>
            <ac:cxnSpMk id="484" creationId="{C92360F6-D156-D773-731F-3187721B0770}"/>
          </ac:cxnSpMkLst>
        </pc:cxnChg>
        <pc:cxnChg chg="add mod ord">
          <ac:chgData name="Oğuz Öztekin" userId="33c0df0f-d5fe-4bda-8f43-141ad7af67e3" providerId="ADAL" clId="{48B824AD-1B2A-47A8-8D92-6FE6E622A650}" dt="2024-12-16T18:12:43.370" v="158010"/>
          <ac:cxnSpMkLst>
            <pc:docMk/>
            <pc:sldMk cId="3830733687" sldId="292"/>
            <ac:cxnSpMk id="485" creationId="{40D5065F-C9FA-DD05-3C02-23CFF89763CC}"/>
          </ac:cxnSpMkLst>
        </pc:cxnChg>
        <pc:cxnChg chg="add mod ord">
          <ac:chgData name="Oğuz Öztekin" userId="33c0df0f-d5fe-4bda-8f43-141ad7af67e3" providerId="ADAL" clId="{48B824AD-1B2A-47A8-8D92-6FE6E622A650}" dt="2024-12-16T18:12:43.370" v="158012"/>
          <ac:cxnSpMkLst>
            <pc:docMk/>
            <pc:sldMk cId="3830733687" sldId="292"/>
            <ac:cxnSpMk id="486" creationId="{93EEC1CF-87C2-43C2-74E0-DFC0C850DB1C}"/>
          </ac:cxnSpMkLst>
        </pc:cxnChg>
        <pc:cxnChg chg="add mod ord">
          <ac:chgData name="Oğuz Öztekin" userId="33c0df0f-d5fe-4bda-8f43-141ad7af67e3" providerId="ADAL" clId="{48B824AD-1B2A-47A8-8D92-6FE6E622A650}" dt="2024-12-16T18:12:43.370" v="158014"/>
          <ac:cxnSpMkLst>
            <pc:docMk/>
            <pc:sldMk cId="3830733687" sldId="292"/>
            <ac:cxnSpMk id="487" creationId="{6BB82FA1-44A6-65CB-0DBF-5F7047209812}"/>
          </ac:cxnSpMkLst>
        </pc:cxnChg>
        <pc:cxnChg chg="add mod ord">
          <ac:chgData name="Oğuz Öztekin" userId="33c0df0f-d5fe-4bda-8f43-141ad7af67e3" providerId="ADAL" clId="{48B824AD-1B2A-47A8-8D92-6FE6E622A650}" dt="2024-12-16T18:12:43.371" v="158016"/>
          <ac:cxnSpMkLst>
            <pc:docMk/>
            <pc:sldMk cId="3830733687" sldId="292"/>
            <ac:cxnSpMk id="488" creationId="{EE515A3A-A38D-E8E8-EB64-704CF5D9E183}"/>
          </ac:cxnSpMkLst>
        </pc:cxnChg>
        <pc:cxnChg chg="add mod ord">
          <ac:chgData name="Oğuz Öztekin" userId="33c0df0f-d5fe-4bda-8f43-141ad7af67e3" providerId="ADAL" clId="{48B824AD-1B2A-47A8-8D92-6FE6E622A650}" dt="2024-12-16T18:12:43.371" v="158018"/>
          <ac:cxnSpMkLst>
            <pc:docMk/>
            <pc:sldMk cId="3830733687" sldId="292"/>
            <ac:cxnSpMk id="489" creationId="{CCC693E0-5C6A-6BCC-10BC-944396BE721A}"/>
          </ac:cxnSpMkLst>
        </pc:cxnChg>
        <pc:cxnChg chg="add mod ord">
          <ac:chgData name="Oğuz Öztekin" userId="33c0df0f-d5fe-4bda-8f43-141ad7af67e3" providerId="ADAL" clId="{48B824AD-1B2A-47A8-8D92-6FE6E622A650}" dt="2024-12-16T18:12:43.371" v="158020"/>
          <ac:cxnSpMkLst>
            <pc:docMk/>
            <pc:sldMk cId="3830733687" sldId="292"/>
            <ac:cxnSpMk id="490" creationId="{FFB1AFA9-DE31-8AC1-870C-41E6B106AF7D}"/>
          </ac:cxnSpMkLst>
        </pc:cxnChg>
        <pc:cxnChg chg="add mod ord">
          <ac:chgData name="Oğuz Öztekin" userId="33c0df0f-d5fe-4bda-8f43-141ad7af67e3" providerId="ADAL" clId="{48B824AD-1B2A-47A8-8D92-6FE6E622A650}" dt="2024-12-16T18:12:43.372" v="158022"/>
          <ac:cxnSpMkLst>
            <pc:docMk/>
            <pc:sldMk cId="3830733687" sldId="292"/>
            <ac:cxnSpMk id="491" creationId="{34278FB8-4FC0-B2A5-A1AA-7F4A2C3363C3}"/>
          </ac:cxnSpMkLst>
        </pc:cxnChg>
        <pc:cxnChg chg="add mod ord">
          <ac:chgData name="Oğuz Öztekin" userId="33c0df0f-d5fe-4bda-8f43-141ad7af67e3" providerId="ADAL" clId="{48B824AD-1B2A-47A8-8D92-6FE6E622A650}" dt="2024-12-16T18:12:43.372" v="158024"/>
          <ac:cxnSpMkLst>
            <pc:docMk/>
            <pc:sldMk cId="3830733687" sldId="292"/>
            <ac:cxnSpMk id="492" creationId="{F9BE329D-B8AC-24A9-494A-55DF49875051}"/>
          </ac:cxnSpMkLst>
        </pc:cxnChg>
        <pc:cxnChg chg="add mod ord">
          <ac:chgData name="Oğuz Öztekin" userId="33c0df0f-d5fe-4bda-8f43-141ad7af67e3" providerId="ADAL" clId="{48B824AD-1B2A-47A8-8D92-6FE6E622A650}" dt="2024-12-16T18:12:43.372" v="158026"/>
          <ac:cxnSpMkLst>
            <pc:docMk/>
            <pc:sldMk cId="3830733687" sldId="292"/>
            <ac:cxnSpMk id="493" creationId="{3CB4F9F0-127C-939F-82A0-1AE8DD777CAD}"/>
          </ac:cxnSpMkLst>
        </pc:cxnChg>
        <pc:cxnChg chg="add mod ord">
          <ac:chgData name="Oğuz Öztekin" userId="33c0df0f-d5fe-4bda-8f43-141ad7af67e3" providerId="ADAL" clId="{48B824AD-1B2A-47A8-8D92-6FE6E622A650}" dt="2024-12-16T18:12:43.372" v="158028"/>
          <ac:cxnSpMkLst>
            <pc:docMk/>
            <pc:sldMk cId="3830733687" sldId="292"/>
            <ac:cxnSpMk id="494" creationId="{50AB816C-A36B-D01F-AE42-F66049F689CE}"/>
          </ac:cxnSpMkLst>
        </pc:cxnChg>
        <pc:cxnChg chg="add mod ord">
          <ac:chgData name="Oğuz Öztekin" userId="33c0df0f-d5fe-4bda-8f43-141ad7af67e3" providerId="ADAL" clId="{48B824AD-1B2A-47A8-8D92-6FE6E622A650}" dt="2024-12-16T18:12:43.374" v="158030"/>
          <ac:cxnSpMkLst>
            <pc:docMk/>
            <pc:sldMk cId="3830733687" sldId="292"/>
            <ac:cxnSpMk id="495" creationId="{B9B41615-79D5-1FCB-2585-D24083999F81}"/>
          </ac:cxnSpMkLst>
        </pc:cxnChg>
        <pc:cxnChg chg="add mod ord">
          <ac:chgData name="Oğuz Öztekin" userId="33c0df0f-d5fe-4bda-8f43-141ad7af67e3" providerId="ADAL" clId="{48B824AD-1B2A-47A8-8D92-6FE6E622A650}" dt="2024-12-16T18:12:43.334" v="157844"/>
          <ac:cxnSpMkLst>
            <pc:docMk/>
            <pc:sldMk cId="3830733687" sldId="292"/>
            <ac:cxnSpMk id="496" creationId="{9E548CE4-39AA-81BA-A40A-7C53BDD5E014}"/>
          </ac:cxnSpMkLst>
        </pc:cxnChg>
        <pc:cxnChg chg="add mod ord">
          <ac:chgData name="Oğuz Öztekin" userId="33c0df0f-d5fe-4bda-8f43-141ad7af67e3" providerId="ADAL" clId="{48B824AD-1B2A-47A8-8D92-6FE6E622A650}" dt="2024-12-16T18:12:43.374" v="158032"/>
          <ac:cxnSpMkLst>
            <pc:docMk/>
            <pc:sldMk cId="3830733687" sldId="292"/>
            <ac:cxnSpMk id="497" creationId="{D0EE33E1-0A14-53C8-8FC9-0D68F788E24F}"/>
          </ac:cxnSpMkLst>
        </pc:cxnChg>
        <pc:cxnChg chg="add mod ord">
          <ac:chgData name="Oğuz Öztekin" userId="33c0df0f-d5fe-4bda-8f43-141ad7af67e3" providerId="ADAL" clId="{48B824AD-1B2A-47A8-8D92-6FE6E622A650}" dt="2024-12-16T18:12:43.374" v="158034"/>
          <ac:cxnSpMkLst>
            <pc:docMk/>
            <pc:sldMk cId="3830733687" sldId="292"/>
            <ac:cxnSpMk id="498" creationId="{91F19CF0-FFE5-8A8D-A106-45EEEBA3DA41}"/>
          </ac:cxnSpMkLst>
        </pc:cxnChg>
        <pc:cxnChg chg="add mod ord">
          <ac:chgData name="Oğuz Öztekin" userId="33c0df0f-d5fe-4bda-8f43-141ad7af67e3" providerId="ADAL" clId="{48B824AD-1B2A-47A8-8D92-6FE6E622A650}" dt="2024-12-16T18:12:43.375" v="158036"/>
          <ac:cxnSpMkLst>
            <pc:docMk/>
            <pc:sldMk cId="3830733687" sldId="292"/>
            <ac:cxnSpMk id="499" creationId="{453D6701-03BC-D884-3F80-EA80F2E64B78}"/>
          </ac:cxnSpMkLst>
        </pc:cxnChg>
        <pc:cxnChg chg="add mod ord">
          <ac:chgData name="Oğuz Öztekin" userId="33c0df0f-d5fe-4bda-8f43-141ad7af67e3" providerId="ADAL" clId="{48B824AD-1B2A-47A8-8D92-6FE6E622A650}" dt="2024-12-16T18:12:43.375" v="158038"/>
          <ac:cxnSpMkLst>
            <pc:docMk/>
            <pc:sldMk cId="3830733687" sldId="292"/>
            <ac:cxnSpMk id="500" creationId="{C56614D0-C8F8-7490-FD17-0D43FE93CB7A}"/>
          </ac:cxnSpMkLst>
        </pc:cxnChg>
        <pc:cxnChg chg="add mod ord">
          <ac:chgData name="Oğuz Öztekin" userId="33c0df0f-d5fe-4bda-8f43-141ad7af67e3" providerId="ADAL" clId="{48B824AD-1B2A-47A8-8D92-6FE6E622A650}" dt="2024-12-16T18:12:43.375" v="158040"/>
          <ac:cxnSpMkLst>
            <pc:docMk/>
            <pc:sldMk cId="3830733687" sldId="292"/>
            <ac:cxnSpMk id="501" creationId="{1EB32D7C-2216-AD90-47D9-BB393E406FA5}"/>
          </ac:cxnSpMkLst>
        </pc:cxnChg>
        <pc:cxnChg chg="add mod ord">
          <ac:chgData name="Oğuz Öztekin" userId="33c0df0f-d5fe-4bda-8f43-141ad7af67e3" providerId="ADAL" clId="{48B824AD-1B2A-47A8-8D92-6FE6E622A650}" dt="2024-12-16T18:12:43.376" v="158042"/>
          <ac:cxnSpMkLst>
            <pc:docMk/>
            <pc:sldMk cId="3830733687" sldId="292"/>
            <ac:cxnSpMk id="502" creationId="{556CD121-612F-56D5-FF69-CD4E68B3BD47}"/>
          </ac:cxnSpMkLst>
        </pc:cxnChg>
        <pc:cxnChg chg="add mod ord">
          <ac:chgData name="Oğuz Öztekin" userId="33c0df0f-d5fe-4bda-8f43-141ad7af67e3" providerId="ADAL" clId="{48B824AD-1B2A-47A8-8D92-6FE6E622A650}" dt="2024-12-16T18:12:43.376" v="158044"/>
          <ac:cxnSpMkLst>
            <pc:docMk/>
            <pc:sldMk cId="3830733687" sldId="292"/>
            <ac:cxnSpMk id="503" creationId="{D16367A1-8FDC-FBE7-E26F-A2AFCFB9AA5F}"/>
          </ac:cxnSpMkLst>
        </pc:cxnChg>
        <pc:cxnChg chg="add mod ord">
          <ac:chgData name="Oğuz Öztekin" userId="33c0df0f-d5fe-4bda-8f43-141ad7af67e3" providerId="ADAL" clId="{48B824AD-1B2A-47A8-8D92-6FE6E622A650}" dt="2024-12-16T18:12:43.377" v="158046"/>
          <ac:cxnSpMkLst>
            <pc:docMk/>
            <pc:sldMk cId="3830733687" sldId="292"/>
            <ac:cxnSpMk id="504" creationId="{83FE551C-2DFA-590D-9F68-E06AD336701C}"/>
          </ac:cxnSpMkLst>
        </pc:cxnChg>
        <pc:cxnChg chg="add mod ord">
          <ac:chgData name="Oğuz Öztekin" userId="33c0df0f-d5fe-4bda-8f43-141ad7af67e3" providerId="ADAL" clId="{48B824AD-1B2A-47A8-8D92-6FE6E622A650}" dt="2024-12-16T18:12:43.377" v="158048"/>
          <ac:cxnSpMkLst>
            <pc:docMk/>
            <pc:sldMk cId="3830733687" sldId="292"/>
            <ac:cxnSpMk id="505" creationId="{81BEFC4C-C0EA-76DB-FAD6-C9274D6FAB16}"/>
          </ac:cxnSpMkLst>
        </pc:cxnChg>
        <pc:cxnChg chg="add mod ord">
          <ac:chgData name="Oğuz Öztekin" userId="33c0df0f-d5fe-4bda-8f43-141ad7af67e3" providerId="ADAL" clId="{48B824AD-1B2A-47A8-8D92-6FE6E622A650}" dt="2024-12-16T18:12:43.377" v="158050"/>
          <ac:cxnSpMkLst>
            <pc:docMk/>
            <pc:sldMk cId="3830733687" sldId="292"/>
            <ac:cxnSpMk id="506" creationId="{A2900E50-BE01-E0C4-ACA9-27AE80FF0E1C}"/>
          </ac:cxnSpMkLst>
        </pc:cxnChg>
        <pc:cxnChg chg="add mod ord">
          <ac:chgData name="Oğuz Öztekin" userId="33c0df0f-d5fe-4bda-8f43-141ad7af67e3" providerId="ADAL" clId="{48B824AD-1B2A-47A8-8D92-6FE6E622A650}" dt="2024-12-16T18:12:43.378" v="158052"/>
          <ac:cxnSpMkLst>
            <pc:docMk/>
            <pc:sldMk cId="3830733687" sldId="292"/>
            <ac:cxnSpMk id="507" creationId="{C4777925-1CD2-24AF-CDAB-06BC7D5D49C5}"/>
          </ac:cxnSpMkLst>
        </pc:cxnChg>
        <pc:cxnChg chg="add mod ord">
          <ac:chgData name="Oğuz Öztekin" userId="33c0df0f-d5fe-4bda-8f43-141ad7af67e3" providerId="ADAL" clId="{48B824AD-1B2A-47A8-8D92-6FE6E622A650}" dt="2024-12-16T18:12:43.378" v="158054"/>
          <ac:cxnSpMkLst>
            <pc:docMk/>
            <pc:sldMk cId="3830733687" sldId="292"/>
            <ac:cxnSpMk id="508" creationId="{2ADD0BFE-E066-4187-53A7-EBBCE24299B7}"/>
          </ac:cxnSpMkLst>
        </pc:cxnChg>
        <pc:cxnChg chg="add mod ord">
          <ac:chgData name="Oğuz Öztekin" userId="33c0df0f-d5fe-4bda-8f43-141ad7af67e3" providerId="ADAL" clId="{48B824AD-1B2A-47A8-8D92-6FE6E622A650}" dt="2024-12-16T18:12:43.379" v="158056"/>
          <ac:cxnSpMkLst>
            <pc:docMk/>
            <pc:sldMk cId="3830733687" sldId="292"/>
            <ac:cxnSpMk id="509" creationId="{92EC6AAE-5B1E-BBD6-BB4C-435E67565BCA}"/>
          </ac:cxnSpMkLst>
        </pc:cxnChg>
        <pc:cxnChg chg="add mod ord">
          <ac:chgData name="Oğuz Öztekin" userId="33c0df0f-d5fe-4bda-8f43-141ad7af67e3" providerId="ADAL" clId="{48B824AD-1B2A-47A8-8D92-6FE6E622A650}" dt="2024-12-16T18:12:43.379" v="158058"/>
          <ac:cxnSpMkLst>
            <pc:docMk/>
            <pc:sldMk cId="3830733687" sldId="292"/>
            <ac:cxnSpMk id="510" creationId="{58A269EC-F5E8-3BFA-62E4-412667EE7517}"/>
          </ac:cxnSpMkLst>
        </pc:cxnChg>
        <pc:cxnChg chg="add mod ord">
          <ac:chgData name="Oğuz Öztekin" userId="33c0df0f-d5fe-4bda-8f43-141ad7af67e3" providerId="ADAL" clId="{48B824AD-1B2A-47A8-8D92-6FE6E622A650}" dt="2024-12-16T18:12:43.379" v="158060"/>
          <ac:cxnSpMkLst>
            <pc:docMk/>
            <pc:sldMk cId="3830733687" sldId="292"/>
            <ac:cxnSpMk id="511" creationId="{F0B2017E-1DEE-8320-22E7-9C7581EE3BC6}"/>
          </ac:cxnSpMkLst>
        </pc:cxnChg>
        <pc:cxnChg chg="add mod ord">
          <ac:chgData name="Oğuz Öztekin" userId="33c0df0f-d5fe-4bda-8f43-141ad7af67e3" providerId="ADAL" clId="{48B824AD-1B2A-47A8-8D92-6FE6E622A650}" dt="2024-12-16T18:12:43.380" v="158062"/>
          <ac:cxnSpMkLst>
            <pc:docMk/>
            <pc:sldMk cId="3830733687" sldId="292"/>
            <ac:cxnSpMk id="512" creationId="{640C8842-F157-1015-9D97-83D66E0E7B6C}"/>
          </ac:cxnSpMkLst>
        </pc:cxnChg>
        <pc:cxnChg chg="add mod ord">
          <ac:chgData name="Oğuz Öztekin" userId="33c0df0f-d5fe-4bda-8f43-141ad7af67e3" providerId="ADAL" clId="{48B824AD-1B2A-47A8-8D92-6FE6E622A650}" dt="2024-12-16T18:12:43.380" v="158064"/>
          <ac:cxnSpMkLst>
            <pc:docMk/>
            <pc:sldMk cId="3830733687" sldId="292"/>
            <ac:cxnSpMk id="513" creationId="{45332A5C-D443-295A-7095-9B615F544B2A}"/>
          </ac:cxnSpMkLst>
        </pc:cxnChg>
        <pc:cxnChg chg="add mod ord">
          <ac:chgData name="Oğuz Öztekin" userId="33c0df0f-d5fe-4bda-8f43-141ad7af67e3" providerId="ADAL" clId="{48B824AD-1B2A-47A8-8D92-6FE6E622A650}" dt="2024-12-16T18:12:43.380" v="158066"/>
          <ac:cxnSpMkLst>
            <pc:docMk/>
            <pc:sldMk cId="3830733687" sldId="292"/>
            <ac:cxnSpMk id="514" creationId="{0D4748A1-1E9F-C8DB-2828-8FC5AB14A615}"/>
          </ac:cxnSpMkLst>
        </pc:cxnChg>
        <pc:cxnChg chg="add mod ord">
          <ac:chgData name="Oğuz Öztekin" userId="33c0df0f-d5fe-4bda-8f43-141ad7af67e3" providerId="ADAL" clId="{48B824AD-1B2A-47A8-8D92-6FE6E622A650}" dt="2024-12-16T18:12:43.381" v="158068"/>
          <ac:cxnSpMkLst>
            <pc:docMk/>
            <pc:sldMk cId="3830733687" sldId="292"/>
            <ac:cxnSpMk id="515" creationId="{87932919-2CF7-A0CE-7A90-B7ECBC84AD95}"/>
          </ac:cxnSpMkLst>
        </pc:cxnChg>
        <pc:cxnChg chg="add mod ord">
          <ac:chgData name="Oğuz Öztekin" userId="33c0df0f-d5fe-4bda-8f43-141ad7af67e3" providerId="ADAL" clId="{48B824AD-1B2A-47A8-8D92-6FE6E622A650}" dt="2024-12-16T18:12:43.381" v="158070"/>
          <ac:cxnSpMkLst>
            <pc:docMk/>
            <pc:sldMk cId="3830733687" sldId="292"/>
            <ac:cxnSpMk id="516" creationId="{B6CA30E1-00BB-9E40-59B7-9090BE716187}"/>
          </ac:cxnSpMkLst>
        </pc:cxnChg>
        <pc:cxnChg chg="add mod ord">
          <ac:chgData name="Oğuz Öztekin" userId="33c0df0f-d5fe-4bda-8f43-141ad7af67e3" providerId="ADAL" clId="{48B824AD-1B2A-47A8-8D92-6FE6E622A650}" dt="2024-12-16T18:12:43.381" v="158072"/>
          <ac:cxnSpMkLst>
            <pc:docMk/>
            <pc:sldMk cId="3830733687" sldId="292"/>
            <ac:cxnSpMk id="517" creationId="{A581417C-05C5-635D-BD78-0D6A77DC316B}"/>
          </ac:cxnSpMkLst>
        </pc:cxnChg>
        <pc:cxnChg chg="add mod ord">
          <ac:chgData name="Oğuz Öztekin" userId="33c0df0f-d5fe-4bda-8f43-141ad7af67e3" providerId="ADAL" clId="{48B824AD-1B2A-47A8-8D92-6FE6E622A650}" dt="2024-12-16T18:12:43.381" v="158074"/>
          <ac:cxnSpMkLst>
            <pc:docMk/>
            <pc:sldMk cId="3830733687" sldId="292"/>
            <ac:cxnSpMk id="518" creationId="{56EB8922-0EAD-3D6B-ABE3-71BF326ECD55}"/>
          </ac:cxnSpMkLst>
        </pc:cxnChg>
        <pc:cxnChg chg="add mod ord">
          <ac:chgData name="Oğuz Öztekin" userId="33c0df0f-d5fe-4bda-8f43-141ad7af67e3" providerId="ADAL" clId="{48B824AD-1B2A-47A8-8D92-6FE6E622A650}" dt="2024-12-16T18:12:43.382" v="158076"/>
          <ac:cxnSpMkLst>
            <pc:docMk/>
            <pc:sldMk cId="3830733687" sldId="292"/>
            <ac:cxnSpMk id="519" creationId="{AEEF19D5-A631-5299-84B3-776225639FD7}"/>
          </ac:cxnSpMkLst>
        </pc:cxnChg>
        <pc:cxnChg chg="add mod ord">
          <ac:chgData name="Oğuz Öztekin" userId="33c0df0f-d5fe-4bda-8f43-141ad7af67e3" providerId="ADAL" clId="{48B824AD-1B2A-47A8-8D92-6FE6E622A650}" dt="2024-12-16T18:12:43.382" v="158078"/>
          <ac:cxnSpMkLst>
            <pc:docMk/>
            <pc:sldMk cId="3830733687" sldId="292"/>
            <ac:cxnSpMk id="520" creationId="{335D8279-0A68-EB0D-0AF3-9FFE0547540B}"/>
          </ac:cxnSpMkLst>
        </pc:cxnChg>
        <pc:cxnChg chg="add mod ord">
          <ac:chgData name="Oğuz Öztekin" userId="33c0df0f-d5fe-4bda-8f43-141ad7af67e3" providerId="ADAL" clId="{48B824AD-1B2A-47A8-8D92-6FE6E622A650}" dt="2024-12-16T18:12:43.382" v="158080"/>
          <ac:cxnSpMkLst>
            <pc:docMk/>
            <pc:sldMk cId="3830733687" sldId="292"/>
            <ac:cxnSpMk id="521" creationId="{01FA8858-AD04-0B39-3555-E1F5B4986D5E}"/>
          </ac:cxnSpMkLst>
        </pc:cxnChg>
        <pc:cxnChg chg="add mod ord">
          <ac:chgData name="Oğuz Öztekin" userId="33c0df0f-d5fe-4bda-8f43-141ad7af67e3" providerId="ADAL" clId="{48B824AD-1B2A-47A8-8D92-6FE6E622A650}" dt="2024-12-16T18:12:43.384" v="158082"/>
          <ac:cxnSpMkLst>
            <pc:docMk/>
            <pc:sldMk cId="3830733687" sldId="292"/>
            <ac:cxnSpMk id="522" creationId="{CB16A41B-7F65-6A04-CDAE-0C661FFF582C}"/>
          </ac:cxnSpMkLst>
        </pc:cxnChg>
        <pc:cxnChg chg="add mod ord">
          <ac:chgData name="Oğuz Öztekin" userId="33c0df0f-d5fe-4bda-8f43-141ad7af67e3" providerId="ADAL" clId="{48B824AD-1B2A-47A8-8D92-6FE6E622A650}" dt="2024-12-16T18:12:43.384" v="158084"/>
          <ac:cxnSpMkLst>
            <pc:docMk/>
            <pc:sldMk cId="3830733687" sldId="292"/>
            <ac:cxnSpMk id="523" creationId="{C31EFAEC-B840-4292-763A-DE1EE49965BD}"/>
          </ac:cxnSpMkLst>
        </pc:cxnChg>
        <pc:cxnChg chg="add mod ord">
          <ac:chgData name="Oğuz Öztekin" userId="33c0df0f-d5fe-4bda-8f43-141ad7af67e3" providerId="ADAL" clId="{48B824AD-1B2A-47A8-8D92-6FE6E622A650}" dt="2024-12-16T18:12:43.385" v="158086"/>
          <ac:cxnSpMkLst>
            <pc:docMk/>
            <pc:sldMk cId="3830733687" sldId="292"/>
            <ac:cxnSpMk id="524" creationId="{1DA1D726-59CB-C73A-A5E5-9FEC74EF56D0}"/>
          </ac:cxnSpMkLst>
        </pc:cxnChg>
        <pc:cxnChg chg="add mod ord">
          <ac:chgData name="Oğuz Öztekin" userId="33c0df0f-d5fe-4bda-8f43-141ad7af67e3" providerId="ADAL" clId="{48B824AD-1B2A-47A8-8D92-6FE6E622A650}" dt="2024-12-16T18:12:43.385" v="158088"/>
          <ac:cxnSpMkLst>
            <pc:docMk/>
            <pc:sldMk cId="3830733687" sldId="292"/>
            <ac:cxnSpMk id="525" creationId="{5D667AAE-5587-5864-E1C9-4A638AD6A674}"/>
          </ac:cxnSpMkLst>
        </pc:cxnChg>
        <pc:cxnChg chg="add mod ord">
          <ac:chgData name="Oğuz Öztekin" userId="33c0df0f-d5fe-4bda-8f43-141ad7af67e3" providerId="ADAL" clId="{48B824AD-1B2A-47A8-8D92-6FE6E622A650}" dt="2024-12-16T18:12:43.386" v="158090"/>
          <ac:cxnSpMkLst>
            <pc:docMk/>
            <pc:sldMk cId="3830733687" sldId="292"/>
            <ac:cxnSpMk id="526" creationId="{77B39259-27A7-A33D-3C43-F76E959CED15}"/>
          </ac:cxnSpMkLst>
        </pc:cxnChg>
        <pc:cxnChg chg="add mod ord">
          <ac:chgData name="Oğuz Öztekin" userId="33c0df0f-d5fe-4bda-8f43-141ad7af67e3" providerId="ADAL" clId="{48B824AD-1B2A-47A8-8D92-6FE6E622A650}" dt="2024-12-16T18:12:43.386" v="158092"/>
          <ac:cxnSpMkLst>
            <pc:docMk/>
            <pc:sldMk cId="3830733687" sldId="292"/>
            <ac:cxnSpMk id="527" creationId="{9B4CDAEE-F219-4221-9B1A-D2928763D88C}"/>
          </ac:cxnSpMkLst>
        </pc:cxnChg>
        <pc:cxnChg chg="add mod ord">
          <ac:chgData name="Oğuz Öztekin" userId="33c0df0f-d5fe-4bda-8f43-141ad7af67e3" providerId="ADAL" clId="{48B824AD-1B2A-47A8-8D92-6FE6E622A650}" dt="2024-12-16T18:12:43.387" v="158094"/>
          <ac:cxnSpMkLst>
            <pc:docMk/>
            <pc:sldMk cId="3830733687" sldId="292"/>
            <ac:cxnSpMk id="528" creationId="{A6C44B48-D5B4-74BF-1734-FBCAFE37EE16}"/>
          </ac:cxnSpMkLst>
        </pc:cxnChg>
        <pc:cxnChg chg="add mod ord">
          <ac:chgData name="Oğuz Öztekin" userId="33c0df0f-d5fe-4bda-8f43-141ad7af67e3" providerId="ADAL" clId="{48B824AD-1B2A-47A8-8D92-6FE6E622A650}" dt="2024-12-16T18:12:43.387" v="158096"/>
          <ac:cxnSpMkLst>
            <pc:docMk/>
            <pc:sldMk cId="3830733687" sldId="292"/>
            <ac:cxnSpMk id="529" creationId="{FC70347A-C8FD-4DDC-9CFB-F0F7CEB7920A}"/>
          </ac:cxnSpMkLst>
        </pc:cxnChg>
        <pc:cxnChg chg="add mod ord">
          <ac:chgData name="Oğuz Öztekin" userId="33c0df0f-d5fe-4bda-8f43-141ad7af67e3" providerId="ADAL" clId="{48B824AD-1B2A-47A8-8D92-6FE6E622A650}" dt="2024-12-16T18:12:43.388" v="158098"/>
          <ac:cxnSpMkLst>
            <pc:docMk/>
            <pc:sldMk cId="3830733687" sldId="292"/>
            <ac:cxnSpMk id="530" creationId="{7652F6C6-A600-9FB2-433A-9D3401D78356}"/>
          </ac:cxnSpMkLst>
        </pc:cxnChg>
        <pc:cxnChg chg="add mod ord">
          <ac:chgData name="Oğuz Öztekin" userId="33c0df0f-d5fe-4bda-8f43-141ad7af67e3" providerId="ADAL" clId="{48B824AD-1B2A-47A8-8D92-6FE6E622A650}" dt="2024-12-16T18:12:43.388" v="158100"/>
          <ac:cxnSpMkLst>
            <pc:docMk/>
            <pc:sldMk cId="3830733687" sldId="292"/>
            <ac:cxnSpMk id="531" creationId="{3E9E8DEA-4886-DA2D-30E9-EB7844A969BA}"/>
          </ac:cxnSpMkLst>
        </pc:cxnChg>
        <pc:cxnChg chg="add mod ord">
          <ac:chgData name="Oğuz Öztekin" userId="33c0df0f-d5fe-4bda-8f43-141ad7af67e3" providerId="ADAL" clId="{48B824AD-1B2A-47A8-8D92-6FE6E622A650}" dt="2024-12-16T18:12:43.389" v="158102"/>
          <ac:cxnSpMkLst>
            <pc:docMk/>
            <pc:sldMk cId="3830733687" sldId="292"/>
            <ac:cxnSpMk id="532" creationId="{FACF5993-7977-2BD9-26B5-256748560692}"/>
          </ac:cxnSpMkLst>
        </pc:cxnChg>
        <pc:cxnChg chg="add mod ord">
          <ac:chgData name="Oğuz Öztekin" userId="33c0df0f-d5fe-4bda-8f43-141ad7af67e3" providerId="ADAL" clId="{48B824AD-1B2A-47A8-8D92-6FE6E622A650}" dt="2024-12-16T18:12:43.389" v="158104"/>
          <ac:cxnSpMkLst>
            <pc:docMk/>
            <pc:sldMk cId="3830733687" sldId="292"/>
            <ac:cxnSpMk id="533" creationId="{C436E3BF-D65A-9863-7E0E-1A23B8B4EB72}"/>
          </ac:cxnSpMkLst>
        </pc:cxnChg>
        <pc:cxnChg chg="add mod ord">
          <ac:chgData name="Oğuz Öztekin" userId="33c0df0f-d5fe-4bda-8f43-141ad7af67e3" providerId="ADAL" clId="{48B824AD-1B2A-47A8-8D92-6FE6E622A650}" dt="2024-12-16T18:12:43.389" v="158106"/>
          <ac:cxnSpMkLst>
            <pc:docMk/>
            <pc:sldMk cId="3830733687" sldId="292"/>
            <ac:cxnSpMk id="534" creationId="{2AEEEF7D-317B-D0CB-8A42-D54C7EF67F7C}"/>
          </ac:cxnSpMkLst>
        </pc:cxnChg>
        <pc:cxnChg chg="add mod ord">
          <ac:chgData name="Oğuz Öztekin" userId="33c0df0f-d5fe-4bda-8f43-141ad7af67e3" providerId="ADAL" clId="{48B824AD-1B2A-47A8-8D92-6FE6E622A650}" dt="2024-12-16T18:12:43.390" v="158108"/>
          <ac:cxnSpMkLst>
            <pc:docMk/>
            <pc:sldMk cId="3830733687" sldId="292"/>
            <ac:cxnSpMk id="535" creationId="{C8E4508D-35A7-9827-8C1C-95B2ACA4DCD0}"/>
          </ac:cxnSpMkLst>
        </pc:cxnChg>
        <pc:cxnChg chg="add mod ord">
          <ac:chgData name="Oğuz Öztekin" userId="33c0df0f-d5fe-4bda-8f43-141ad7af67e3" providerId="ADAL" clId="{48B824AD-1B2A-47A8-8D92-6FE6E622A650}" dt="2024-12-16T18:12:43.390" v="158110"/>
          <ac:cxnSpMkLst>
            <pc:docMk/>
            <pc:sldMk cId="3830733687" sldId="292"/>
            <ac:cxnSpMk id="536" creationId="{81568E8A-4ED4-ACB8-AF0A-134A7A4B5FD7}"/>
          </ac:cxnSpMkLst>
        </pc:cxnChg>
        <pc:cxnChg chg="add mod ord">
          <ac:chgData name="Oğuz Öztekin" userId="33c0df0f-d5fe-4bda-8f43-141ad7af67e3" providerId="ADAL" clId="{48B824AD-1B2A-47A8-8D92-6FE6E622A650}" dt="2024-12-16T18:12:43.391" v="158114"/>
          <ac:cxnSpMkLst>
            <pc:docMk/>
            <pc:sldMk cId="3830733687" sldId="292"/>
            <ac:cxnSpMk id="537" creationId="{2C83D2CD-4E49-7EF6-E5EC-8C0D40276926}"/>
          </ac:cxnSpMkLst>
        </pc:cxnChg>
        <pc:cxnChg chg="add mod ord">
          <ac:chgData name="Oğuz Öztekin" userId="33c0df0f-d5fe-4bda-8f43-141ad7af67e3" providerId="ADAL" clId="{48B824AD-1B2A-47A8-8D92-6FE6E622A650}" dt="2024-12-16T18:12:43.391" v="158116"/>
          <ac:cxnSpMkLst>
            <pc:docMk/>
            <pc:sldMk cId="3830733687" sldId="292"/>
            <ac:cxnSpMk id="538" creationId="{C2544BCB-54E4-3A20-E465-6F0DB3229C89}"/>
          </ac:cxnSpMkLst>
        </pc:cxnChg>
        <pc:cxnChg chg="add mod ord">
          <ac:chgData name="Oğuz Öztekin" userId="33c0df0f-d5fe-4bda-8f43-141ad7af67e3" providerId="ADAL" clId="{48B824AD-1B2A-47A8-8D92-6FE6E622A650}" dt="2024-12-16T18:12:43.391" v="158118"/>
          <ac:cxnSpMkLst>
            <pc:docMk/>
            <pc:sldMk cId="3830733687" sldId="292"/>
            <ac:cxnSpMk id="539" creationId="{05D07DF1-BDFD-6DB5-F8E7-6BE4DCED0DD1}"/>
          </ac:cxnSpMkLst>
        </pc:cxnChg>
        <pc:cxnChg chg="add mod ord">
          <ac:chgData name="Oğuz Öztekin" userId="33c0df0f-d5fe-4bda-8f43-141ad7af67e3" providerId="ADAL" clId="{48B824AD-1B2A-47A8-8D92-6FE6E622A650}" dt="2024-12-16T18:12:43.392" v="158120"/>
          <ac:cxnSpMkLst>
            <pc:docMk/>
            <pc:sldMk cId="3830733687" sldId="292"/>
            <ac:cxnSpMk id="540" creationId="{6D1774F0-EA43-F192-36E2-736D744C9B3F}"/>
          </ac:cxnSpMkLst>
        </pc:cxnChg>
        <pc:cxnChg chg="add mod ord">
          <ac:chgData name="Oğuz Öztekin" userId="33c0df0f-d5fe-4bda-8f43-141ad7af67e3" providerId="ADAL" clId="{48B824AD-1B2A-47A8-8D92-6FE6E622A650}" dt="2024-12-16T18:12:43.392" v="158122"/>
          <ac:cxnSpMkLst>
            <pc:docMk/>
            <pc:sldMk cId="3830733687" sldId="292"/>
            <ac:cxnSpMk id="541" creationId="{2585FA92-CE10-884B-F2AD-7E6AE1C1035B}"/>
          </ac:cxnSpMkLst>
        </pc:cxnChg>
        <pc:cxnChg chg="add mod ord">
          <ac:chgData name="Oğuz Öztekin" userId="33c0df0f-d5fe-4bda-8f43-141ad7af67e3" providerId="ADAL" clId="{48B824AD-1B2A-47A8-8D92-6FE6E622A650}" dt="2024-12-16T18:12:43.333" v="157836"/>
          <ac:cxnSpMkLst>
            <pc:docMk/>
            <pc:sldMk cId="3830733687" sldId="292"/>
            <ac:cxnSpMk id="542" creationId="{39A98A72-8447-6831-FFE8-2B02059430D8}"/>
          </ac:cxnSpMkLst>
        </pc:cxnChg>
        <pc:cxnChg chg="add mod ord">
          <ac:chgData name="Oğuz Öztekin" userId="33c0df0f-d5fe-4bda-8f43-141ad7af67e3" providerId="ADAL" clId="{48B824AD-1B2A-47A8-8D92-6FE6E622A650}" dt="2024-12-16T18:12:43.392" v="158124"/>
          <ac:cxnSpMkLst>
            <pc:docMk/>
            <pc:sldMk cId="3830733687" sldId="292"/>
            <ac:cxnSpMk id="543" creationId="{296D3BFC-188C-81FF-4B72-2EF9D5AC4BD7}"/>
          </ac:cxnSpMkLst>
        </pc:cxnChg>
        <pc:cxnChg chg="add mod ord">
          <ac:chgData name="Oğuz Öztekin" userId="33c0df0f-d5fe-4bda-8f43-141ad7af67e3" providerId="ADAL" clId="{48B824AD-1B2A-47A8-8D92-6FE6E622A650}" dt="2024-12-16T18:12:43.393" v="158126"/>
          <ac:cxnSpMkLst>
            <pc:docMk/>
            <pc:sldMk cId="3830733687" sldId="292"/>
            <ac:cxnSpMk id="544" creationId="{BAA2CA7C-5AB7-19A2-24DF-514DF71B4347}"/>
          </ac:cxnSpMkLst>
        </pc:cxnChg>
        <pc:cxnChg chg="add mod ord">
          <ac:chgData name="Oğuz Öztekin" userId="33c0df0f-d5fe-4bda-8f43-141ad7af67e3" providerId="ADAL" clId="{48B824AD-1B2A-47A8-8D92-6FE6E622A650}" dt="2024-12-16T18:12:43.393" v="158128"/>
          <ac:cxnSpMkLst>
            <pc:docMk/>
            <pc:sldMk cId="3830733687" sldId="292"/>
            <ac:cxnSpMk id="545" creationId="{184F3509-4372-8F29-84F6-366A14406A3A}"/>
          </ac:cxnSpMkLst>
        </pc:cxnChg>
        <pc:cxnChg chg="add mod ord">
          <ac:chgData name="Oğuz Öztekin" userId="33c0df0f-d5fe-4bda-8f43-141ad7af67e3" providerId="ADAL" clId="{48B824AD-1B2A-47A8-8D92-6FE6E622A650}" dt="2024-12-16T18:12:43.393" v="158130"/>
          <ac:cxnSpMkLst>
            <pc:docMk/>
            <pc:sldMk cId="3830733687" sldId="292"/>
            <ac:cxnSpMk id="546" creationId="{74D87324-401F-9194-B048-641F15C10ADD}"/>
          </ac:cxnSpMkLst>
        </pc:cxnChg>
        <pc:cxnChg chg="add mod ord">
          <ac:chgData name="Oğuz Öztekin" userId="33c0df0f-d5fe-4bda-8f43-141ad7af67e3" providerId="ADAL" clId="{48B824AD-1B2A-47A8-8D92-6FE6E622A650}" dt="2024-12-16T18:12:43.394" v="158132"/>
          <ac:cxnSpMkLst>
            <pc:docMk/>
            <pc:sldMk cId="3830733687" sldId="292"/>
            <ac:cxnSpMk id="547" creationId="{712D7761-8C38-68F5-44FB-A2731BD18092}"/>
          </ac:cxnSpMkLst>
        </pc:cxnChg>
        <pc:cxnChg chg="add mod ord">
          <ac:chgData name="Oğuz Öztekin" userId="33c0df0f-d5fe-4bda-8f43-141ad7af67e3" providerId="ADAL" clId="{48B824AD-1B2A-47A8-8D92-6FE6E622A650}" dt="2024-12-16T18:12:43.394" v="158134"/>
          <ac:cxnSpMkLst>
            <pc:docMk/>
            <pc:sldMk cId="3830733687" sldId="292"/>
            <ac:cxnSpMk id="548" creationId="{70014DFE-FC86-2627-EE99-DCDFBAEEADEB}"/>
          </ac:cxnSpMkLst>
        </pc:cxnChg>
        <pc:cxnChg chg="add mod ord">
          <ac:chgData name="Oğuz Öztekin" userId="33c0df0f-d5fe-4bda-8f43-141ad7af67e3" providerId="ADAL" clId="{48B824AD-1B2A-47A8-8D92-6FE6E622A650}" dt="2024-12-16T18:12:43.395" v="158136"/>
          <ac:cxnSpMkLst>
            <pc:docMk/>
            <pc:sldMk cId="3830733687" sldId="292"/>
            <ac:cxnSpMk id="549" creationId="{009B481E-0BB2-244E-9B5F-4983D3C895EB}"/>
          </ac:cxnSpMkLst>
        </pc:cxnChg>
        <pc:cxnChg chg="add mod ord">
          <ac:chgData name="Oğuz Öztekin" userId="33c0df0f-d5fe-4bda-8f43-141ad7af67e3" providerId="ADAL" clId="{48B824AD-1B2A-47A8-8D92-6FE6E622A650}" dt="2024-12-16T18:12:43.395" v="158138"/>
          <ac:cxnSpMkLst>
            <pc:docMk/>
            <pc:sldMk cId="3830733687" sldId="292"/>
            <ac:cxnSpMk id="550" creationId="{2284937C-7B78-A2C8-2377-8D3257DAB1A3}"/>
          </ac:cxnSpMkLst>
        </pc:cxnChg>
        <pc:cxnChg chg="add mod ord">
          <ac:chgData name="Oğuz Öztekin" userId="33c0df0f-d5fe-4bda-8f43-141ad7af67e3" providerId="ADAL" clId="{48B824AD-1B2A-47A8-8D92-6FE6E622A650}" dt="2024-12-16T18:12:43.395" v="158140"/>
          <ac:cxnSpMkLst>
            <pc:docMk/>
            <pc:sldMk cId="3830733687" sldId="292"/>
            <ac:cxnSpMk id="551" creationId="{01FE425D-15D7-E87C-F602-D5790AD49939}"/>
          </ac:cxnSpMkLst>
        </pc:cxnChg>
        <pc:cxnChg chg="add mod ord">
          <ac:chgData name="Oğuz Öztekin" userId="33c0df0f-d5fe-4bda-8f43-141ad7af67e3" providerId="ADAL" clId="{48B824AD-1B2A-47A8-8D92-6FE6E622A650}" dt="2024-12-16T18:12:43.396" v="158142"/>
          <ac:cxnSpMkLst>
            <pc:docMk/>
            <pc:sldMk cId="3830733687" sldId="292"/>
            <ac:cxnSpMk id="552" creationId="{851E8B1C-7371-9217-F891-06E50BBFCDEC}"/>
          </ac:cxnSpMkLst>
        </pc:cxnChg>
        <pc:cxnChg chg="add mod ord">
          <ac:chgData name="Oğuz Öztekin" userId="33c0df0f-d5fe-4bda-8f43-141ad7af67e3" providerId="ADAL" clId="{48B824AD-1B2A-47A8-8D92-6FE6E622A650}" dt="2024-12-16T18:12:43.396" v="158144"/>
          <ac:cxnSpMkLst>
            <pc:docMk/>
            <pc:sldMk cId="3830733687" sldId="292"/>
            <ac:cxnSpMk id="553" creationId="{8E0F15A6-8C19-3148-72E2-529F7B4A98DC}"/>
          </ac:cxnSpMkLst>
        </pc:cxnChg>
        <pc:cxnChg chg="add mod ord">
          <ac:chgData name="Oğuz Öztekin" userId="33c0df0f-d5fe-4bda-8f43-141ad7af67e3" providerId="ADAL" clId="{48B824AD-1B2A-47A8-8D92-6FE6E622A650}" dt="2024-12-16T18:12:43.397" v="158146"/>
          <ac:cxnSpMkLst>
            <pc:docMk/>
            <pc:sldMk cId="3830733687" sldId="292"/>
            <ac:cxnSpMk id="554" creationId="{E6343F8E-25FC-26C9-F048-2DA93A99951C}"/>
          </ac:cxnSpMkLst>
        </pc:cxnChg>
        <pc:cxnChg chg="add mod ord">
          <ac:chgData name="Oğuz Öztekin" userId="33c0df0f-d5fe-4bda-8f43-141ad7af67e3" providerId="ADAL" clId="{48B824AD-1B2A-47A8-8D92-6FE6E622A650}" dt="2024-12-16T18:12:43.397" v="158148"/>
          <ac:cxnSpMkLst>
            <pc:docMk/>
            <pc:sldMk cId="3830733687" sldId="292"/>
            <ac:cxnSpMk id="555" creationId="{FD3ADF56-BE1F-44E4-4F92-27606F7B4260}"/>
          </ac:cxnSpMkLst>
        </pc:cxnChg>
        <pc:cxnChg chg="add mod ord">
          <ac:chgData name="Oğuz Öztekin" userId="33c0df0f-d5fe-4bda-8f43-141ad7af67e3" providerId="ADAL" clId="{48B824AD-1B2A-47A8-8D92-6FE6E622A650}" dt="2024-12-16T18:12:43.397" v="158150"/>
          <ac:cxnSpMkLst>
            <pc:docMk/>
            <pc:sldMk cId="3830733687" sldId="292"/>
            <ac:cxnSpMk id="556" creationId="{52AA0CAE-8C69-758E-7883-E0B495A22A6B}"/>
          </ac:cxnSpMkLst>
        </pc:cxnChg>
        <pc:cxnChg chg="add mod ord">
          <ac:chgData name="Oğuz Öztekin" userId="33c0df0f-d5fe-4bda-8f43-141ad7af67e3" providerId="ADAL" clId="{48B824AD-1B2A-47A8-8D92-6FE6E622A650}" dt="2024-12-16T18:12:43.398" v="158152"/>
          <ac:cxnSpMkLst>
            <pc:docMk/>
            <pc:sldMk cId="3830733687" sldId="292"/>
            <ac:cxnSpMk id="557" creationId="{4C08C9E5-10A4-F7D6-9C14-7AD41EE149E6}"/>
          </ac:cxnSpMkLst>
        </pc:cxnChg>
        <pc:cxnChg chg="add mod ord">
          <ac:chgData name="Oğuz Öztekin" userId="33c0df0f-d5fe-4bda-8f43-141ad7af67e3" providerId="ADAL" clId="{48B824AD-1B2A-47A8-8D92-6FE6E622A650}" dt="2024-12-16T18:12:43.398" v="158154"/>
          <ac:cxnSpMkLst>
            <pc:docMk/>
            <pc:sldMk cId="3830733687" sldId="292"/>
            <ac:cxnSpMk id="558" creationId="{9B4126A5-5817-4F09-5A8A-08D50BBD62E1}"/>
          </ac:cxnSpMkLst>
        </pc:cxnChg>
        <pc:cxnChg chg="add mod ord">
          <ac:chgData name="Oğuz Öztekin" userId="33c0df0f-d5fe-4bda-8f43-141ad7af67e3" providerId="ADAL" clId="{48B824AD-1B2A-47A8-8D92-6FE6E622A650}" dt="2024-12-16T18:12:43.398" v="158156"/>
          <ac:cxnSpMkLst>
            <pc:docMk/>
            <pc:sldMk cId="3830733687" sldId="292"/>
            <ac:cxnSpMk id="559" creationId="{8EB8720B-7117-FD59-1FD9-32C1B825E8F9}"/>
          </ac:cxnSpMkLst>
        </pc:cxnChg>
        <pc:cxnChg chg="add mod ord">
          <ac:chgData name="Oğuz Öztekin" userId="33c0df0f-d5fe-4bda-8f43-141ad7af67e3" providerId="ADAL" clId="{48B824AD-1B2A-47A8-8D92-6FE6E622A650}" dt="2024-12-16T18:12:43.399" v="158158"/>
          <ac:cxnSpMkLst>
            <pc:docMk/>
            <pc:sldMk cId="3830733687" sldId="292"/>
            <ac:cxnSpMk id="560" creationId="{B0A9BB36-AD26-68C6-3777-2191128493C3}"/>
          </ac:cxnSpMkLst>
        </pc:cxnChg>
        <pc:cxnChg chg="add mod ord">
          <ac:chgData name="Oğuz Öztekin" userId="33c0df0f-d5fe-4bda-8f43-141ad7af67e3" providerId="ADAL" clId="{48B824AD-1B2A-47A8-8D92-6FE6E622A650}" dt="2024-12-16T18:12:43.399" v="158160"/>
          <ac:cxnSpMkLst>
            <pc:docMk/>
            <pc:sldMk cId="3830733687" sldId="292"/>
            <ac:cxnSpMk id="561" creationId="{EA47311F-D28B-5E59-C8D0-81062ADE5B16}"/>
          </ac:cxnSpMkLst>
        </pc:cxnChg>
        <pc:cxnChg chg="add mod ord">
          <ac:chgData name="Oğuz Öztekin" userId="33c0df0f-d5fe-4bda-8f43-141ad7af67e3" providerId="ADAL" clId="{48B824AD-1B2A-47A8-8D92-6FE6E622A650}" dt="2024-12-16T18:12:43.400" v="158162"/>
          <ac:cxnSpMkLst>
            <pc:docMk/>
            <pc:sldMk cId="3830733687" sldId="292"/>
            <ac:cxnSpMk id="562" creationId="{1C0087E6-717C-3EE3-F9F0-E55B6AB088B6}"/>
          </ac:cxnSpMkLst>
        </pc:cxnChg>
        <pc:cxnChg chg="add mod ord">
          <ac:chgData name="Oğuz Öztekin" userId="33c0df0f-d5fe-4bda-8f43-141ad7af67e3" providerId="ADAL" clId="{48B824AD-1B2A-47A8-8D92-6FE6E622A650}" dt="2024-12-16T18:12:43.400" v="158164"/>
          <ac:cxnSpMkLst>
            <pc:docMk/>
            <pc:sldMk cId="3830733687" sldId="292"/>
            <ac:cxnSpMk id="563" creationId="{5C1873FC-CD94-FC72-EF4A-44951BED9007}"/>
          </ac:cxnSpMkLst>
        </pc:cxnChg>
        <pc:cxnChg chg="add mod ord">
          <ac:chgData name="Oğuz Öztekin" userId="33c0df0f-d5fe-4bda-8f43-141ad7af67e3" providerId="ADAL" clId="{48B824AD-1B2A-47A8-8D92-6FE6E622A650}" dt="2024-12-16T18:12:43.400" v="158166"/>
          <ac:cxnSpMkLst>
            <pc:docMk/>
            <pc:sldMk cId="3830733687" sldId="292"/>
            <ac:cxnSpMk id="564" creationId="{63EEBBBF-A203-FC28-C788-F47FFD005BCC}"/>
          </ac:cxnSpMkLst>
        </pc:cxnChg>
        <pc:cxnChg chg="add mod ord">
          <ac:chgData name="Oğuz Öztekin" userId="33c0df0f-d5fe-4bda-8f43-141ad7af67e3" providerId="ADAL" clId="{48B824AD-1B2A-47A8-8D92-6FE6E622A650}" dt="2024-12-16T18:12:43.401" v="158168"/>
          <ac:cxnSpMkLst>
            <pc:docMk/>
            <pc:sldMk cId="3830733687" sldId="292"/>
            <ac:cxnSpMk id="565" creationId="{2702B365-371B-40F2-A65F-370A203F0188}"/>
          </ac:cxnSpMkLst>
        </pc:cxnChg>
        <pc:cxnChg chg="add mod ord">
          <ac:chgData name="Oğuz Öztekin" userId="33c0df0f-d5fe-4bda-8f43-141ad7af67e3" providerId="ADAL" clId="{48B824AD-1B2A-47A8-8D92-6FE6E622A650}" dt="2024-12-16T18:12:43.401" v="158170"/>
          <ac:cxnSpMkLst>
            <pc:docMk/>
            <pc:sldMk cId="3830733687" sldId="292"/>
            <ac:cxnSpMk id="566" creationId="{C9F4488B-5714-E2D7-7006-60D8CDB47B43}"/>
          </ac:cxnSpMkLst>
        </pc:cxnChg>
        <pc:cxnChg chg="add mod ord">
          <ac:chgData name="Oğuz Öztekin" userId="33c0df0f-d5fe-4bda-8f43-141ad7af67e3" providerId="ADAL" clId="{48B824AD-1B2A-47A8-8D92-6FE6E622A650}" dt="2024-12-16T18:12:43.402" v="158172"/>
          <ac:cxnSpMkLst>
            <pc:docMk/>
            <pc:sldMk cId="3830733687" sldId="292"/>
            <ac:cxnSpMk id="567" creationId="{CFF9700D-DFAB-58B9-31B2-A0F01F7B1BA7}"/>
          </ac:cxnSpMkLst>
        </pc:cxnChg>
        <pc:cxnChg chg="add mod ord">
          <ac:chgData name="Oğuz Öztekin" userId="33c0df0f-d5fe-4bda-8f43-141ad7af67e3" providerId="ADAL" clId="{48B824AD-1B2A-47A8-8D92-6FE6E622A650}" dt="2024-12-16T18:12:43.402" v="158174"/>
          <ac:cxnSpMkLst>
            <pc:docMk/>
            <pc:sldMk cId="3830733687" sldId="292"/>
            <ac:cxnSpMk id="586" creationId="{0EE12189-18F8-092A-F605-ED5E3318B1CA}"/>
          </ac:cxnSpMkLst>
        </pc:cxnChg>
        <pc:cxnChg chg="add mod ord">
          <ac:chgData name="Oğuz Öztekin" userId="33c0df0f-d5fe-4bda-8f43-141ad7af67e3" providerId="ADAL" clId="{48B824AD-1B2A-47A8-8D92-6FE6E622A650}" dt="2024-12-16T18:12:43.402" v="158176"/>
          <ac:cxnSpMkLst>
            <pc:docMk/>
            <pc:sldMk cId="3830733687" sldId="292"/>
            <ac:cxnSpMk id="587" creationId="{2972B60D-3F81-6A8D-02CC-1B465E93921A}"/>
          </ac:cxnSpMkLst>
        </pc:cxnChg>
        <pc:cxnChg chg="add mod ord">
          <ac:chgData name="Oğuz Öztekin" userId="33c0df0f-d5fe-4bda-8f43-141ad7af67e3" providerId="ADAL" clId="{48B824AD-1B2A-47A8-8D92-6FE6E622A650}" dt="2024-12-16T18:12:43.402" v="158178"/>
          <ac:cxnSpMkLst>
            <pc:docMk/>
            <pc:sldMk cId="3830733687" sldId="292"/>
            <ac:cxnSpMk id="588" creationId="{E53FBAF6-6BDA-92D9-10B5-19D8ADC718D7}"/>
          </ac:cxnSpMkLst>
        </pc:cxnChg>
        <pc:cxnChg chg="add mod ord">
          <ac:chgData name="Oğuz Öztekin" userId="33c0df0f-d5fe-4bda-8f43-141ad7af67e3" providerId="ADAL" clId="{48B824AD-1B2A-47A8-8D92-6FE6E622A650}" dt="2024-12-16T18:12:43.404" v="158180"/>
          <ac:cxnSpMkLst>
            <pc:docMk/>
            <pc:sldMk cId="3830733687" sldId="292"/>
            <ac:cxnSpMk id="589" creationId="{09C386F2-58C4-E3FE-873B-54EC51A92B51}"/>
          </ac:cxnSpMkLst>
        </pc:cxnChg>
        <pc:cxnChg chg="add mod ord">
          <ac:chgData name="Oğuz Öztekin" userId="33c0df0f-d5fe-4bda-8f43-141ad7af67e3" providerId="ADAL" clId="{48B824AD-1B2A-47A8-8D92-6FE6E622A650}" dt="2024-12-16T18:12:43.404" v="158182"/>
          <ac:cxnSpMkLst>
            <pc:docMk/>
            <pc:sldMk cId="3830733687" sldId="292"/>
            <ac:cxnSpMk id="590" creationId="{426789B7-0FED-7A1D-20E5-533F329F10AC}"/>
          </ac:cxnSpMkLst>
        </pc:cxnChg>
        <pc:cxnChg chg="add mod ord">
          <ac:chgData name="Oğuz Öztekin" userId="33c0df0f-d5fe-4bda-8f43-141ad7af67e3" providerId="ADAL" clId="{48B824AD-1B2A-47A8-8D92-6FE6E622A650}" dt="2024-12-16T18:12:43.404" v="158184"/>
          <ac:cxnSpMkLst>
            <pc:docMk/>
            <pc:sldMk cId="3830733687" sldId="292"/>
            <ac:cxnSpMk id="591" creationId="{24B06FE4-63EB-8A1D-7851-7066D6CB63E3}"/>
          </ac:cxnSpMkLst>
        </pc:cxnChg>
        <pc:cxnChg chg="add mod ord">
          <ac:chgData name="Oğuz Öztekin" userId="33c0df0f-d5fe-4bda-8f43-141ad7af67e3" providerId="ADAL" clId="{48B824AD-1B2A-47A8-8D92-6FE6E622A650}" dt="2024-12-16T18:12:43.405" v="158186"/>
          <ac:cxnSpMkLst>
            <pc:docMk/>
            <pc:sldMk cId="3830733687" sldId="292"/>
            <ac:cxnSpMk id="592" creationId="{BBBF9D69-A043-AB15-2B6B-5E28971409E3}"/>
          </ac:cxnSpMkLst>
        </pc:cxnChg>
        <pc:cxnChg chg="add mod ord">
          <ac:chgData name="Oğuz Öztekin" userId="33c0df0f-d5fe-4bda-8f43-141ad7af67e3" providerId="ADAL" clId="{48B824AD-1B2A-47A8-8D92-6FE6E622A650}" dt="2024-12-16T18:12:43.405" v="158188"/>
          <ac:cxnSpMkLst>
            <pc:docMk/>
            <pc:sldMk cId="3830733687" sldId="292"/>
            <ac:cxnSpMk id="593" creationId="{BF80E875-6F29-15F9-0323-605135D6E7D3}"/>
          </ac:cxnSpMkLst>
        </pc:cxnChg>
        <pc:cxnChg chg="add mod ord">
          <ac:chgData name="Oğuz Öztekin" userId="33c0df0f-d5fe-4bda-8f43-141ad7af67e3" providerId="ADAL" clId="{48B824AD-1B2A-47A8-8D92-6FE6E622A650}" dt="2024-12-16T18:12:43.405" v="158190"/>
          <ac:cxnSpMkLst>
            <pc:docMk/>
            <pc:sldMk cId="3830733687" sldId="292"/>
            <ac:cxnSpMk id="594" creationId="{BB0456F2-2D86-ED4D-408F-83EA3647293D}"/>
          </ac:cxnSpMkLst>
        </pc:cxnChg>
        <pc:cxnChg chg="add mod ord">
          <ac:chgData name="Oğuz Öztekin" userId="33c0df0f-d5fe-4bda-8f43-141ad7af67e3" providerId="ADAL" clId="{48B824AD-1B2A-47A8-8D92-6FE6E622A650}" dt="2024-12-16T18:12:43.332" v="157834"/>
          <ac:cxnSpMkLst>
            <pc:docMk/>
            <pc:sldMk cId="3830733687" sldId="292"/>
            <ac:cxnSpMk id="595" creationId="{521E004A-4766-16D8-CC24-6FD10EC1E840}"/>
          </ac:cxnSpMkLst>
        </pc:cxnChg>
      </pc:sldChg>
      <pc:sldChg chg="addSp delSp modSp add del mod">
        <pc:chgData name="Oğuz Öztekin" userId="33c0df0f-d5fe-4bda-8f43-141ad7af67e3" providerId="ADAL" clId="{48B824AD-1B2A-47A8-8D92-6FE6E622A650}" dt="2024-12-16T18:24:28.036" v="197189" actId="2696"/>
        <pc:sldMkLst>
          <pc:docMk/>
          <pc:sldMk cId="3316977847" sldId="293"/>
        </pc:sldMkLst>
        <pc:spChg chg="mod ord">
          <ac:chgData name="Oğuz Öztekin" userId="33c0df0f-d5fe-4bda-8f43-141ad7af67e3" providerId="ADAL" clId="{48B824AD-1B2A-47A8-8D92-6FE6E622A650}" dt="2024-12-16T18:23:32.604" v="197090" actId="948"/>
          <ac:spMkLst>
            <pc:docMk/>
            <pc:sldMk cId="3316977847" sldId="293"/>
            <ac:spMk id="2" creationId="{9EBEF090-CFED-0765-1D7F-34FEBC1EB656}"/>
          </ac:spMkLst>
        </pc:spChg>
        <pc:spChg chg="add del mod modVis">
          <ac:chgData name="Oğuz Öztekin" userId="33c0df0f-d5fe-4bda-8f43-141ad7af67e3" providerId="ADAL" clId="{48B824AD-1B2A-47A8-8D92-6FE6E622A650}" dt="2024-12-16T18:13:43.912" v="158410"/>
          <ac:spMkLst>
            <pc:docMk/>
            <pc:sldMk cId="3316977847" sldId="293"/>
            <ac:spMk id="4" creationId="{EA0E8246-794A-422E-9A1D-6089214B4E0B}"/>
          </ac:spMkLst>
        </pc:spChg>
        <pc:spChg chg="add del mod modVis">
          <ac:chgData name="Oğuz Öztekin" userId="33c0df0f-d5fe-4bda-8f43-141ad7af67e3" providerId="ADAL" clId="{48B824AD-1B2A-47A8-8D92-6FE6E622A650}" dt="2024-12-16T18:13:44.670" v="158436"/>
          <ac:spMkLst>
            <pc:docMk/>
            <pc:sldMk cId="3316977847" sldId="293"/>
            <ac:spMk id="5" creationId="{6EF95130-BC33-52A3-E8CF-4911E11B3B38}"/>
          </ac:spMkLst>
        </pc:spChg>
        <pc:spChg chg="add del mod modVis">
          <ac:chgData name="Oğuz Öztekin" userId="33c0df0f-d5fe-4bda-8f43-141ad7af67e3" providerId="ADAL" clId="{48B824AD-1B2A-47A8-8D92-6FE6E622A650}" dt="2024-12-16T18:14:03.472" v="158469"/>
          <ac:spMkLst>
            <pc:docMk/>
            <pc:sldMk cId="3316977847" sldId="293"/>
            <ac:spMk id="6" creationId="{3F0DE52A-E7F3-4E71-74E6-4894060A5641}"/>
          </ac:spMkLst>
        </pc:spChg>
        <pc:spChg chg="add del mod">
          <ac:chgData name="Oğuz Öztekin" userId="33c0df0f-d5fe-4bda-8f43-141ad7af67e3" providerId="ADAL" clId="{48B824AD-1B2A-47A8-8D92-6FE6E622A650}" dt="2024-12-16T18:15:16.024" v="175261"/>
          <ac:spMkLst>
            <pc:docMk/>
            <pc:sldMk cId="3316977847" sldId="293"/>
            <ac:spMk id="7" creationId="{27519E28-5771-5413-80D1-18CE2650603D}"/>
          </ac:spMkLst>
        </pc:spChg>
        <pc:spChg chg="add del mod">
          <ac:chgData name="Oğuz Öztekin" userId="33c0df0f-d5fe-4bda-8f43-141ad7af67e3" providerId="ADAL" clId="{48B824AD-1B2A-47A8-8D92-6FE6E622A650}" dt="2024-12-16T18:15:16.025" v="175264"/>
          <ac:spMkLst>
            <pc:docMk/>
            <pc:sldMk cId="3316977847" sldId="293"/>
            <ac:spMk id="8" creationId="{7D047B2E-435E-6AFF-1D5C-B29468401EC9}"/>
          </ac:spMkLst>
        </pc:spChg>
        <pc:spChg chg="add del mod">
          <ac:chgData name="Oğuz Öztekin" userId="33c0df0f-d5fe-4bda-8f43-141ad7af67e3" providerId="ADAL" clId="{48B824AD-1B2A-47A8-8D92-6FE6E622A650}" dt="2024-12-16T18:15:16.027" v="175267"/>
          <ac:spMkLst>
            <pc:docMk/>
            <pc:sldMk cId="3316977847" sldId="293"/>
            <ac:spMk id="9" creationId="{EDB0D847-5200-F596-6AF5-42B3E72FEAD1}"/>
          </ac:spMkLst>
        </pc:spChg>
        <pc:spChg chg="add del mod">
          <ac:chgData name="Oğuz Öztekin" userId="33c0df0f-d5fe-4bda-8f43-141ad7af67e3" providerId="ADAL" clId="{48B824AD-1B2A-47A8-8D92-6FE6E622A650}" dt="2024-12-16T18:15:16.027" v="175270"/>
          <ac:spMkLst>
            <pc:docMk/>
            <pc:sldMk cId="3316977847" sldId="293"/>
            <ac:spMk id="10" creationId="{B35FC6D6-4956-74C5-E378-D4964AFAAFDF}"/>
          </ac:spMkLst>
        </pc:spChg>
        <pc:spChg chg="add del mod">
          <ac:chgData name="Oğuz Öztekin" userId="33c0df0f-d5fe-4bda-8f43-141ad7af67e3" providerId="ADAL" clId="{48B824AD-1B2A-47A8-8D92-6FE6E622A650}" dt="2024-12-16T18:15:16.028" v="175273"/>
          <ac:spMkLst>
            <pc:docMk/>
            <pc:sldMk cId="3316977847" sldId="293"/>
            <ac:spMk id="11" creationId="{D6664269-5A7C-6FAB-D28A-E35C0A5F7514}"/>
          </ac:spMkLst>
        </pc:spChg>
        <pc:spChg chg="add del mod">
          <ac:chgData name="Oğuz Öztekin" userId="33c0df0f-d5fe-4bda-8f43-141ad7af67e3" providerId="ADAL" clId="{48B824AD-1B2A-47A8-8D92-6FE6E622A650}" dt="2024-12-16T18:15:16.028" v="175276"/>
          <ac:spMkLst>
            <pc:docMk/>
            <pc:sldMk cId="3316977847" sldId="293"/>
            <ac:spMk id="12" creationId="{3441099D-5662-9D69-85E7-F460B10C3F47}"/>
          </ac:spMkLst>
        </pc:spChg>
        <pc:spChg chg="add del mod">
          <ac:chgData name="Oğuz Öztekin" userId="33c0df0f-d5fe-4bda-8f43-141ad7af67e3" providerId="ADAL" clId="{48B824AD-1B2A-47A8-8D92-6FE6E622A650}" dt="2024-12-16T18:15:16.029" v="175279"/>
          <ac:spMkLst>
            <pc:docMk/>
            <pc:sldMk cId="3316977847" sldId="293"/>
            <ac:spMk id="13" creationId="{3127CC36-3346-8DF4-255C-E7E5C936DAE8}"/>
          </ac:spMkLst>
        </pc:spChg>
        <pc:spChg chg="add del mod">
          <ac:chgData name="Oğuz Öztekin" userId="33c0df0f-d5fe-4bda-8f43-141ad7af67e3" providerId="ADAL" clId="{48B824AD-1B2A-47A8-8D92-6FE6E622A650}" dt="2024-12-16T18:15:16.030" v="175282"/>
          <ac:spMkLst>
            <pc:docMk/>
            <pc:sldMk cId="3316977847" sldId="293"/>
            <ac:spMk id="14" creationId="{22A3DC9F-E132-195D-2E3B-25E0AF4540A8}"/>
          </ac:spMkLst>
        </pc:spChg>
        <pc:spChg chg="add del mod">
          <ac:chgData name="Oğuz Öztekin" userId="33c0df0f-d5fe-4bda-8f43-141ad7af67e3" providerId="ADAL" clId="{48B824AD-1B2A-47A8-8D92-6FE6E622A650}" dt="2024-12-16T18:15:16.030" v="175285"/>
          <ac:spMkLst>
            <pc:docMk/>
            <pc:sldMk cId="3316977847" sldId="293"/>
            <ac:spMk id="15" creationId="{D240A701-41B9-BEC0-C3F7-FCB2798BADA6}"/>
          </ac:spMkLst>
        </pc:spChg>
        <pc:spChg chg="add del mod">
          <ac:chgData name="Oğuz Öztekin" userId="33c0df0f-d5fe-4bda-8f43-141ad7af67e3" providerId="ADAL" clId="{48B824AD-1B2A-47A8-8D92-6FE6E622A650}" dt="2024-12-16T18:15:16.032" v="175288"/>
          <ac:spMkLst>
            <pc:docMk/>
            <pc:sldMk cId="3316977847" sldId="293"/>
            <ac:spMk id="16" creationId="{CCE6BBF0-AC24-FFB6-05BD-7756955D7F99}"/>
          </ac:spMkLst>
        </pc:spChg>
        <pc:spChg chg="add del mod">
          <ac:chgData name="Oğuz Öztekin" userId="33c0df0f-d5fe-4bda-8f43-141ad7af67e3" providerId="ADAL" clId="{48B824AD-1B2A-47A8-8D92-6FE6E622A650}" dt="2024-12-16T18:15:16.032" v="175291"/>
          <ac:spMkLst>
            <pc:docMk/>
            <pc:sldMk cId="3316977847" sldId="293"/>
            <ac:spMk id="17" creationId="{80367EE0-1DBA-2F63-C6C6-B151C3B7821E}"/>
          </ac:spMkLst>
        </pc:spChg>
        <pc:spChg chg="add del mod">
          <ac:chgData name="Oğuz Öztekin" userId="33c0df0f-d5fe-4bda-8f43-141ad7af67e3" providerId="ADAL" clId="{48B824AD-1B2A-47A8-8D92-6FE6E622A650}" dt="2024-12-16T18:15:16.033" v="175294"/>
          <ac:spMkLst>
            <pc:docMk/>
            <pc:sldMk cId="3316977847" sldId="293"/>
            <ac:spMk id="18" creationId="{64F924A2-9DC7-E359-1E1A-B408F19DC96A}"/>
          </ac:spMkLst>
        </pc:spChg>
        <pc:spChg chg="add del mod">
          <ac:chgData name="Oğuz Öztekin" userId="33c0df0f-d5fe-4bda-8f43-141ad7af67e3" providerId="ADAL" clId="{48B824AD-1B2A-47A8-8D92-6FE6E622A650}" dt="2024-12-16T18:15:16.034" v="175297"/>
          <ac:spMkLst>
            <pc:docMk/>
            <pc:sldMk cId="3316977847" sldId="293"/>
            <ac:spMk id="19" creationId="{6C063252-262A-E873-3041-E6E818385D6A}"/>
          </ac:spMkLst>
        </pc:spChg>
        <pc:spChg chg="mod">
          <ac:chgData name="Oğuz Öztekin" userId="33c0df0f-d5fe-4bda-8f43-141ad7af67e3" providerId="ADAL" clId="{48B824AD-1B2A-47A8-8D92-6FE6E622A650}" dt="2024-12-16T18:21:37.204" v="179030"/>
          <ac:spMkLst>
            <pc:docMk/>
            <pc:sldMk cId="3316977847" sldId="293"/>
            <ac:spMk id="20" creationId="{5D7C7294-0B8C-D82B-35B5-7FA79BEF1367}"/>
          </ac:spMkLst>
        </pc:spChg>
        <pc:spChg chg="add del mod">
          <ac:chgData name="Oğuz Öztekin" userId="33c0df0f-d5fe-4bda-8f43-141ad7af67e3" providerId="ADAL" clId="{48B824AD-1B2A-47A8-8D92-6FE6E622A650}" dt="2024-12-16T18:15:16.036" v="175300"/>
          <ac:spMkLst>
            <pc:docMk/>
            <pc:sldMk cId="3316977847" sldId="293"/>
            <ac:spMk id="21" creationId="{A84DE957-7FF4-4274-9E1E-1F1F544F3D01}"/>
          </ac:spMkLst>
        </pc:spChg>
        <pc:spChg chg="add del mod">
          <ac:chgData name="Oğuz Öztekin" userId="33c0df0f-d5fe-4bda-8f43-141ad7af67e3" providerId="ADAL" clId="{48B824AD-1B2A-47A8-8D92-6FE6E622A650}" dt="2024-12-16T18:15:16.036" v="175303"/>
          <ac:spMkLst>
            <pc:docMk/>
            <pc:sldMk cId="3316977847" sldId="293"/>
            <ac:spMk id="22" creationId="{F2F18AE6-EF65-C28D-A39E-B22BF479BA45}"/>
          </ac:spMkLst>
        </pc:spChg>
        <pc:spChg chg="add del mod">
          <ac:chgData name="Oğuz Öztekin" userId="33c0df0f-d5fe-4bda-8f43-141ad7af67e3" providerId="ADAL" clId="{48B824AD-1B2A-47A8-8D92-6FE6E622A650}" dt="2024-12-16T18:15:16.037" v="175306"/>
          <ac:spMkLst>
            <pc:docMk/>
            <pc:sldMk cId="3316977847" sldId="293"/>
            <ac:spMk id="23" creationId="{420E7E81-B4A2-8BD2-343A-578AB2D67C06}"/>
          </ac:spMkLst>
        </pc:spChg>
        <pc:spChg chg="add del mod">
          <ac:chgData name="Oğuz Öztekin" userId="33c0df0f-d5fe-4bda-8f43-141ad7af67e3" providerId="ADAL" clId="{48B824AD-1B2A-47A8-8D92-6FE6E622A650}" dt="2024-12-16T18:15:16.038" v="175309"/>
          <ac:spMkLst>
            <pc:docMk/>
            <pc:sldMk cId="3316977847" sldId="293"/>
            <ac:spMk id="24" creationId="{ADBDB3C4-E37B-73F0-92AC-587C2E067AF5}"/>
          </ac:spMkLst>
        </pc:spChg>
        <pc:spChg chg="add del mod">
          <ac:chgData name="Oğuz Öztekin" userId="33c0df0f-d5fe-4bda-8f43-141ad7af67e3" providerId="ADAL" clId="{48B824AD-1B2A-47A8-8D92-6FE6E622A650}" dt="2024-12-16T18:15:16.038" v="175312"/>
          <ac:spMkLst>
            <pc:docMk/>
            <pc:sldMk cId="3316977847" sldId="293"/>
            <ac:spMk id="25" creationId="{F5DFB109-1B54-CE77-7674-EC7B21936B2F}"/>
          </ac:spMkLst>
        </pc:spChg>
        <pc:spChg chg="add del mod">
          <ac:chgData name="Oğuz Öztekin" userId="33c0df0f-d5fe-4bda-8f43-141ad7af67e3" providerId="ADAL" clId="{48B824AD-1B2A-47A8-8D92-6FE6E622A650}" dt="2024-12-16T18:15:16.039" v="175315"/>
          <ac:spMkLst>
            <pc:docMk/>
            <pc:sldMk cId="3316977847" sldId="293"/>
            <ac:spMk id="26" creationId="{88B86D9D-3777-8FCA-9B2E-0B7710E856E3}"/>
          </ac:spMkLst>
        </pc:spChg>
        <pc:spChg chg="add del mod">
          <ac:chgData name="Oğuz Öztekin" userId="33c0df0f-d5fe-4bda-8f43-141ad7af67e3" providerId="ADAL" clId="{48B824AD-1B2A-47A8-8D92-6FE6E622A650}" dt="2024-12-16T18:15:16.040" v="175318"/>
          <ac:spMkLst>
            <pc:docMk/>
            <pc:sldMk cId="3316977847" sldId="293"/>
            <ac:spMk id="27" creationId="{DFC8D4CC-3DD4-AD27-06A1-91C583DA91F0}"/>
          </ac:spMkLst>
        </pc:spChg>
        <pc:spChg chg="add del mod">
          <ac:chgData name="Oğuz Öztekin" userId="33c0df0f-d5fe-4bda-8f43-141ad7af67e3" providerId="ADAL" clId="{48B824AD-1B2A-47A8-8D92-6FE6E622A650}" dt="2024-12-16T18:15:08.083" v="174740"/>
          <ac:spMkLst>
            <pc:docMk/>
            <pc:sldMk cId="3316977847" sldId="293"/>
            <ac:spMk id="28" creationId="{87E0B7CC-8B3D-CA95-C059-18A9EDBBD250}"/>
          </ac:spMkLst>
        </pc:spChg>
        <pc:spChg chg="mod">
          <ac:chgData name="Oğuz Öztekin" userId="33c0df0f-d5fe-4bda-8f43-141ad7af67e3" providerId="ADAL" clId="{48B824AD-1B2A-47A8-8D92-6FE6E622A650}" dt="2024-12-16T18:21:37.204" v="179032"/>
          <ac:spMkLst>
            <pc:docMk/>
            <pc:sldMk cId="3316977847" sldId="293"/>
            <ac:spMk id="29" creationId="{3B2E9419-0A7D-CBAB-B600-B5805DBC6C02}"/>
          </ac:spMkLst>
        </pc:spChg>
        <pc:spChg chg="add del mod">
          <ac:chgData name="Oğuz Öztekin" userId="33c0df0f-d5fe-4bda-8f43-141ad7af67e3" providerId="ADAL" clId="{48B824AD-1B2A-47A8-8D92-6FE6E622A650}" dt="2024-12-16T18:15:08.084" v="174743"/>
          <ac:spMkLst>
            <pc:docMk/>
            <pc:sldMk cId="3316977847" sldId="293"/>
            <ac:spMk id="30" creationId="{0FD001C5-E73E-E374-2173-2D974014B965}"/>
          </ac:spMkLst>
        </pc:spChg>
        <pc:spChg chg="add del mod">
          <ac:chgData name="Oğuz Öztekin" userId="33c0df0f-d5fe-4bda-8f43-141ad7af67e3" providerId="ADAL" clId="{48B824AD-1B2A-47A8-8D92-6FE6E622A650}" dt="2024-12-16T18:15:08.085" v="174746"/>
          <ac:spMkLst>
            <pc:docMk/>
            <pc:sldMk cId="3316977847" sldId="293"/>
            <ac:spMk id="31" creationId="{6DD528B1-EE30-2DBE-D470-9D0BAEFDA1EA}"/>
          </ac:spMkLst>
        </pc:spChg>
        <pc:spChg chg="add del mod">
          <ac:chgData name="Oğuz Öztekin" userId="33c0df0f-d5fe-4bda-8f43-141ad7af67e3" providerId="ADAL" clId="{48B824AD-1B2A-47A8-8D92-6FE6E622A650}" dt="2024-12-16T18:15:08.085" v="174749"/>
          <ac:spMkLst>
            <pc:docMk/>
            <pc:sldMk cId="3316977847" sldId="293"/>
            <ac:spMk id="32" creationId="{43336CDE-661D-4120-34E2-EEE19D233F11}"/>
          </ac:spMkLst>
        </pc:spChg>
        <pc:spChg chg="add del mod">
          <ac:chgData name="Oğuz Öztekin" userId="33c0df0f-d5fe-4bda-8f43-141ad7af67e3" providerId="ADAL" clId="{48B824AD-1B2A-47A8-8D92-6FE6E622A650}" dt="2024-12-16T18:15:08.086" v="174752"/>
          <ac:spMkLst>
            <pc:docMk/>
            <pc:sldMk cId="3316977847" sldId="293"/>
            <ac:spMk id="33" creationId="{CE17BFBB-FDD4-AF41-F64E-38FD40D67F32}"/>
          </ac:spMkLst>
        </pc:spChg>
        <pc:spChg chg="add del mod">
          <ac:chgData name="Oğuz Öztekin" userId="33c0df0f-d5fe-4bda-8f43-141ad7af67e3" providerId="ADAL" clId="{48B824AD-1B2A-47A8-8D92-6FE6E622A650}" dt="2024-12-16T18:15:08.088" v="174755"/>
          <ac:spMkLst>
            <pc:docMk/>
            <pc:sldMk cId="3316977847" sldId="293"/>
            <ac:spMk id="34" creationId="{7DB98480-6964-0B91-8D63-2540E3AA53F3}"/>
          </ac:spMkLst>
        </pc:spChg>
        <pc:spChg chg="mod">
          <ac:chgData name="Oğuz Öztekin" userId="33c0df0f-d5fe-4bda-8f43-141ad7af67e3" providerId="ADAL" clId="{48B824AD-1B2A-47A8-8D92-6FE6E622A650}" dt="2024-12-16T18:21:37.205" v="179034"/>
          <ac:spMkLst>
            <pc:docMk/>
            <pc:sldMk cId="3316977847" sldId="293"/>
            <ac:spMk id="35" creationId="{23A13F2A-D098-C8B8-D75E-ECC314DDC469}"/>
          </ac:spMkLst>
        </pc:spChg>
        <pc:spChg chg="mod">
          <ac:chgData name="Oğuz Öztekin" userId="33c0df0f-d5fe-4bda-8f43-141ad7af67e3" providerId="ADAL" clId="{48B824AD-1B2A-47A8-8D92-6FE6E622A650}" dt="2024-12-16T18:21:37.205" v="179036"/>
          <ac:spMkLst>
            <pc:docMk/>
            <pc:sldMk cId="3316977847" sldId="293"/>
            <ac:spMk id="36" creationId="{68D79424-6622-0D3F-6CCA-94F1B2C8B37E}"/>
          </ac:spMkLst>
        </pc:spChg>
        <pc:spChg chg="mod">
          <ac:chgData name="Oğuz Öztekin" userId="33c0df0f-d5fe-4bda-8f43-141ad7af67e3" providerId="ADAL" clId="{48B824AD-1B2A-47A8-8D92-6FE6E622A650}" dt="2024-12-16T18:21:37.207" v="179040"/>
          <ac:spMkLst>
            <pc:docMk/>
            <pc:sldMk cId="3316977847" sldId="293"/>
            <ac:spMk id="37" creationId="{30A683E6-2B2A-57EA-56C7-20B559FD37A2}"/>
          </ac:spMkLst>
        </pc:spChg>
        <pc:spChg chg="add del mod">
          <ac:chgData name="Oğuz Öztekin" userId="33c0df0f-d5fe-4bda-8f43-141ad7af67e3" providerId="ADAL" clId="{48B824AD-1B2A-47A8-8D92-6FE6E622A650}" dt="2024-12-16T18:15:08.088" v="174758"/>
          <ac:spMkLst>
            <pc:docMk/>
            <pc:sldMk cId="3316977847" sldId="293"/>
            <ac:spMk id="38" creationId="{C22DFCCB-4BCF-0EC9-47E7-DC33A593E659}"/>
          </ac:spMkLst>
        </pc:spChg>
        <pc:spChg chg="add del mod">
          <ac:chgData name="Oğuz Öztekin" userId="33c0df0f-d5fe-4bda-8f43-141ad7af67e3" providerId="ADAL" clId="{48B824AD-1B2A-47A8-8D92-6FE6E622A650}" dt="2024-12-16T18:15:08.089" v="174761"/>
          <ac:spMkLst>
            <pc:docMk/>
            <pc:sldMk cId="3316977847" sldId="293"/>
            <ac:spMk id="39" creationId="{03D03E28-8DBE-AB2C-2B9E-2A8F4CC0FFE0}"/>
          </ac:spMkLst>
        </pc:spChg>
        <pc:spChg chg="add del mod">
          <ac:chgData name="Oğuz Öztekin" userId="33c0df0f-d5fe-4bda-8f43-141ad7af67e3" providerId="ADAL" clId="{48B824AD-1B2A-47A8-8D92-6FE6E622A650}" dt="2024-12-16T18:15:08.089" v="174764"/>
          <ac:spMkLst>
            <pc:docMk/>
            <pc:sldMk cId="3316977847" sldId="293"/>
            <ac:spMk id="40" creationId="{37CFE5EA-AE44-1E7E-73D3-BC8C0DAC3D01}"/>
          </ac:spMkLst>
        </pc:spChg>
        <pc:spChg chg="add del mod">
          <ac:chgData name="Oğuz Öztekin" userId="33c0df0f-d5fe-4bda-8f43-141ad7af67e3" providerId="ADAL" clId="{48B824AD-1B2A-47A8-8D92-6FE6E622A650}" dt="2024-12-16T18:15:08.090" v="174767"/>
          <ac:spMkLst>
            <pc:docMk/>
            <pc:sldMk cId="3316977847" sldId="293"/>
            <ac:spMk id="41" creationId="{E4E49190-2FE7-F87C-045D-644667268A02}"/>
          </ac:spMkLst>
        </pc:spChg>
        <pc:spChg chg="add del mod">
          <ac:chgData name="Oğuz Öztekin" userId="33c0df0f-d5fe-4bda-8f43-141ad7af67e3" providerId="ADAL" clId="{48B824AD-1B2A-47A8-8D92-6FE6E622A650}" dt="2024-12-16T18:15:08.092" v="174770"/>
          <ac:spMkLst>
            <pc:docMk/>
            <pc:sldMk cId="3316977847" sldId="293"/>
            <ac:spMk id="42" creationId="{F2A9513D-3F45-1C08-8CC8-09ADCE48AB0E}"/>
          </ac:spMkLst>
        </pc:spChg>
        <pc:spChg chg="add del mod">
          <ac:chgData name="Oğuz Öztekin" userId="33c0df0f-d5fe-4bda-8f43-141ad7af67e3" providerId="ADAL" clId="{48B824AD-1B2A-47A8-8D92-6FE6E622A650}" dt="2024-12-16T18:15:08.093" v="174773"/>
          <ac:spMkLst>
            <pc:docMk/>
            <pc:sldMk cId="3316977847" sldId="293"/>
            <ac:spMk id="43" creationId="{F57DD8D5-BC22-4CA9-3377-6AAC7E14597F}"/>
          </ac:spMkLst>
        </pc:spChg>
        <pc:spChg chg="add del mod">
          <ac:chgData name="Oğuz Öztekin" userId="33c0df0f-d5fe-4bda-8f43-141ad7af67e3" providerId="ADAL" clId="{48B824AD-1B2A-47A8-8D92-6FE6E622A650}" dt="2024-12-16T18:15:08.094" v="174776"/>
          <ac:spMkLst>
            <pc:docMk/>
            <pc:sldMk cId="3316977847" sldId="293"/>
            <ac:spMk id="44" creationId="{9D984666-AAD5-9DD6-82A1-871CD7CF1D55}"/>
          </ac:spMkLst>
        </pc:spChg>
        <pc:spChg chg="add del mod">
          <ac:chgData name="Oğuz Öztekin" userId="33c0df0f-d5fe-4bda-8f43-141ad7af67e3" providerId="ADAL" clId="{48B824AD-1B2A-47A8-8D92-6FE6E622A650}" dt="2024-12-16T18:15:08.095" v="174779"/>
          <ac:spMkLst>
            <pc:docMk/>
            <pc:sldMk cId="3316977847" sldId="293"/>
            <ac:spMk id="45" creationId="{0F0BD66D-2692-0E38-3E35-7E8FD47DC425}"/>
          </ac:spMkLst>
        </pc:spChg>
        <pc:spChg chg="add del mod">
          <ac:chgData name="Oğuz Öztekin" userId="33c0df0f-d5fe-4bda-8f43-141ad7af67e3" providerId="ADAL" clId="{48B824AD-1B2A-47A8-8D92-6FE6E622A650}" dt="2024-12-16T18:15:08.095" v="174782"/>
          <ac:spMkLst>
            <pc:docMk/>
            <pc:sldMk cId="3316977847" sldId="293"/>
            <ac:spMk id="46" creationId="{2A9D4002-1ED1-593A-CA69-CFD5B370BF3D}"/>
          </ac:spMkLst>
        </pc:spChg>
        <pc:spChg chg="add del mod">
          <ac:chgData name="Oğuz Öztekin" userId="33c0df0f-d5fe-4bda-8f43-141ad7af67e3" providerId="ADAL" clId="{48B824AD-1B2A-47A8-8D92-6FE6E622A650}" dt="2024-12-16T18:15:08.096" v="174785"/>
          <ac:spMkLst>
            <pc:docMk/>
            <pc:sldMk cId="3316977847" sldId="293"/>
            <ac:spMk id="47" creationId="{C29F9CFD-FDB1-AAC4-3E0B-8EB52B752A77}"/>
          </ac:spMkLst>
        </pc:spChg>
        <pc:spChg chg="add del mod">
          <ac:chgData name="Oğuz Öztekin" userId="33c0df0f-d5fe-4bda-8f43-141ad7af67e3" providerId="ADAL" clId="{48B824AD-1B2A-47A8-8D92-6FE6E622A650}" dt="2024-12-16T18:15:08.097" v="174788"/>
          <ac:spMkLst>
            <pc:docMk/>
            <pc:sldMk cId="3316977847" sldId="293"/>
            <ac:spMk id="48" creationId="{744C24F8-AA88-87E8-C49E-5C46295AC7F7}"/>
          </ac:spMkLst>
        </pc:spChg>
        <pc:spChg chg="add del mod">
          <ac:chgData name="Oğuz Öztekin" userId="33c0df0f-d5fe-4bda-8f43-141ad7af67e3" providerId="ADAL" clId="{48B824AD-1B2A-47A8-8D92-6FE6E622A650}" dt="2024-12-16T18:15:08.097" v="174791"/>
          <ac:spMkLst>
            <pc:docMk/>
            <pc:sldMk cId="3316977847" sldId="293"/>
            <ac:spMk id="49" creationId="{17536C22-19F3-930B-F8C6-6914814FB084}"/>
          </ac:spMkLst>
        </pc:spChg>
        <pc:spChg chg="add del mod">
          <ac:chgData name="Oğuz Öztekin" userId="33c0df0f-d5fe-4bda-8f43-141ad7af67e3" providerId="ADAL" clId="{48B824AD-1B2A-47A8-8D92-6FE6E622A650}" dt="2024-12-16T18:15:08.098" v="174794"/>
          <ac:spMkLst>
            <pc:docMk/>
            <pc:sldMk cId="3316977847" sldId="293"/>
            <ac:spMk id="50" creationId="{FA944220-12B1-82F8-3F0E-01016A9A6E47}"/>
          </ac:spMkLst>
        </pc:spChg>
        <pc:spChg chg="add del mod">
          <ac:chgData name="Oğuz Öztekin" userId="33c0df0f-d5fe-4bda-8f43-141ad7af67e3" providerId="ADAL" clId="{48B824AD-1B2A-47A8-8D92-6FE6E622A650}" dt="2024-12-16T18:15:08.099" v="174797"/>
          <ac:spMkLst>
            <pc:docMk/>
            <pc:sldMk cId="3316977847" sldId="293"/>
            <ac:spMk id="51" creationId="{4DCDC065-9390-C3CB-F9E0-D5C743DD9245}"/>
          </ac:spMkLst>
        </pc:spChg>
        <pc:spChg chg="add del mod">
          <ac:chgData name="Oğuz Öztekin" userId="33c0df0f-d5fe-4bda-8f43-141ad7af67e3" providerId="ADAL" clId="{48B824AD-1B2A-47A8-8D92-6FE6E622A650}" dt="2024-12-16T18:14:59.988" v="174055"/>
          <ac:spMkLst>
            <pc:docMk/>
            <pc:sldMk cId="3316977847" sldId="293"/>
            <ac:spMk id="52" creationId="{285E0248-9C3E-16E9-66CF-920938B4BC8D}"/>
          </ac:spMkLst>
        </pc:spChg>
        <pc:spChg chg="add del mod">
          <ac:chgData name="Oğuz Öztekin" userId="33c0df0f-d5fe-4bda-8f43-141ad7af67e3" providerId="ADAL" clId="{48B824AD-1B2A-47A8-8D92-6FE6E622A650}" dt="2024-12-16T18:14:59.989" v="174058"/>
          <ac:spMkLst>
            <pc:docMk/>
            <pc:sldMk cId="3316977847" sldId="293"/>
            <ac:spMk id="53" creationId="{3ACC2A8E-FF01-C791-3450-30F99B3C8368}"/>
          </ac:spMkLst>
        </pc:spChg>
        <pc:spChg chg="add del mod">
          <ac:chgData name="Oğuz Öztekin" userId="33c0df0f-d5fe-4bda-8f43-141ad7af67e3" providerId="ADAL" clId="{48B824AD-1B2A-47A8-8D92-6FE6E622A650}" dt="2024-12-16T18:14:59.990" v="174061"/>
          <ac:spMkLst>
            <pc:docMk/>
            <pc:sldMk cId="3316977847" sldId="293"/>
            <ac:spMk id="54" creationId="{D94813E6-A6A9-1A12-E13D-F5BBC0F5D369}"/>
          </ac:spMkLst>
        </pc:spChg>
        <pc:spChg chg="add del mod">
          <ac:chgData name="Oğuz Öztekin" userId="33c0df0f-d5fe-4bda-8f43-141ad7af67e3" providerId="ADAL" clId="{48B824AD-1B2A-47A8-8D92-6FE6E622A650}" dt="2024-12-16T18:14:59.990" v="174064"/>
          <ac:spMkLst>
            <pc:docMk/>
            <pc:sldMk cId="3316977847" sldId="293"/>
            <ac:spMk id="55" creationId="{7474D8B0-0325-A4C2-03FA-C1AFCE704BCF}"/>
          </ac:spMkLst>
        </pc:spChg>
        <pc:spChg chg="add del mod">
          <ac:chgData name="Oğuz Öztekin" userId="33c0df0f-d5fe-4bda-8f43-141ad7af67e3" providerId="ADAL" clId="{48B824AD-1B2A-47A8-8D92-6FE6E622A650}" dt="2024-12-16T18:14:59.991" v="174067"/>
          <ac:spMkLst>
            <pc:docMk/>
            <pc:sldMk cId="3316977847" sldId="293"/>
            <ac:spMk id="56" creationId="{E8C5C083-2521-9E3A-B0FA-6AC17E642FF8}"/>
          </ac:spMkLst>
        </pc:spChg>
        <pc:spChg chg="add del mod">
          <ac:chgData name="Oğuz Öztekin" userId="33c0df0f-d5fe-4bda-8f43-141ad7af67e3" providerId="ADAL" clId="{48B824AD-1B2A-47A8-8D92-6FE6E622A650}" dt="2024-12-16T18:14:59.992" v="174070"/>
          <ac:spMkLst>
            <pc:docMk/>
            <pc:sldMk cId="3316977847" sldId="293"/>
            <ac:spMk id="57" creationId="{7AC74B10-A5B3-102B-6943-2CD6C40127B1}"/>
          </ac:spMkLst>
        </pc:spChg>
        <pc:spChg chg="add del mod">
          <ac:chgData name="Oğuz Öztekin" userId="33c0df0f-d5fe-4bda-8f43-141ad7af67e3" providerId="ADAL" clId="{48B824AD-1B2A-47A8-8D92-6FE6E622A650}" dt="2024-12-16T18:14:59.993" v="174073"/>
          <ac:spMkLst>
            <pc:docMk/>
            <pc:sldMk cId="3316977847" sldId="293"/>
            <ac:spMk id="58" creationId="{6EC178A7-33FD-BEF6-9198-3F0257BC1492}"/>
          </ac:spMkLst>
        </pc:spChg>
        <pc:spChg chg="add del mod">
          <ac:chgData name="Oğuz Öztekin" userId="33c0df0f-d5fe-4bda-8f43-141ad7af67e3" providerId="ADAL" clId="{48B824AD-1B2A-47A8-8D92-6FE6E622A650}" dt="2024-12-16T18:14:59.994" v="174076"/>
          <ac:spMkLst>
            <pc:docMk/>
            <pc:sldMk cId="3316977847" sldId="293"/>
            <ac:spMk id="59" creationId="{33FD94A9-698F-5A60-0857-D8F94D3D0DC3}"/>
          </ac:spMkLst>
        </pc:spChg>
        <pc:spChg chg="add del mod">
          <ac:chgData name="Oğuz Öztekin" userId="33c0df0f-d5fe-4bda-8f43-141ad7af67e3" providerId="ADAL" clId="{48B824AD-1B2A-47A8-8D92-6FE6E622A650}" dt="2024-12-16T18:14:59.996" v="174079"/>
          <ac:spMkLst>
            <pc:docMk/>
            <pc:sldMk cId="3316977847" sldId="293"/>
            <ac:spMk id="60" creationId="{095ECA2B-9C05-05E2-891F-B993B11967C1}"/>
          </ac:spMkLst>
        </pc:spChg>
        <pc:spChg chg="add del mod">
          <ac:chgData name="Oğuz Öztekin" userId="33c0df0f-d5fe-4bda-8f43-141ad7af67e3" providerId="ADAL" clId="{48B824AD-1B2A-47A8-8D92-6FE6E622A650}" dt="2024-12-16T18:14:59.997" v="174082"/>
          <ac:spMkLst>
            <pc:docMk/>
            <pc:sldMk cId="3316977847" sldId="293"/>
            <ac:spMk id="61" creationId="{FB441D83-226A-9661-AB00-22CCAC58FFD1}"/>
          </ac:spMkLst>
        </pc:spChg>
        <pc:spChg chg="add del mod">
          <ac:chgData name="Oğuz Öztekin" userId="33c0df0f-d5fe-4bda-8f43-141ad7af67e3" providerId="ADAL" clId="{48B824AD-1B2A-47A8-8D92-6FE6E622A650}" dt="2024-12-16T18:14:59.997" v="174085"/>
          <ac:spMkLst>
            <pc:docMk/>
            <pc:sldMk cId="3316977847" sldId="293"/>
            <ac:spMk id="62" creationId="{41AB29CA-40E4-3B06-7B75-AB98DF16DB2D}"/>
          </ac:spMkLst>
        </pc:spChg>
        <pc:spChg chg="add del mod">
          <ac:chgData name="Oğuz Öztekin" userId="33c0df0f-d5fe-4bda-8f43-141ad7af67e3" providerId="ADAL" clId="{48B824AD-1B2A-47A8-8D92-6FE6E622A650}" dt="2024-12-16T18:14:59.998" v="174088"/>
          <ac:spMkLst>
            <pc:docMk/>
            <pc:sldMk cId="3316977847" sldId="293"/>
            <ac:spMk id="63" creationId="{DEB6DB80-7A91-2247-5ACD-D1DDA6BDBB7D}"/>
          </ac:spMkLst>
        </pc:spChg>
        <pc:spChg chg="add del mod">
          <ac:chgData name="Oğuz Öztekin" userId="33c0df0f-d5fe-4bda-8f43-141ad7af67e3" providerId="ADAL" clId="{48B824AD-1B2A-47A8-8D92-6FE6E622A650}" dt="2024-12-16T18:14:54.012" v="173203"/>
          <ac:spMkLst>
            <pc:docMk/>
            <pc:sldMk cId="3316977847" sldId="293"/>
            <ac:spMk id="64" creationId="{51FC8307-04A0-9D74-E0A4-48162890F70A}"/>
          </ac:spMkLst>
        </pc:spChg>
        <pc:spChg chg="add del mod">
          <ac:chgData name="Oğuz Öztekin" userId="33c0df0f-d5fe-4bda-8f43-141ad7af67e3" providerId="ADAL" clId="{48B824AD-1B2A-47A8-8D92-6FE6E622A650}" dt="2024-12-16T18:14:54.013" v="173206"/>
          <ac:spMkLst>
            <pc:docMk/>
            <pc:sldMk cId="3316977847" sldId="293"/>
            <ac:spMk id="65" creationId="{DD493FD5-6AA2-B810-4DA9-C0CF4021DC5A}"/>
          </ac:spMkLst>
        </pc:spChg>
        <pc:spChg chg="add del mod">
          <ac:chgData name="Oğuz Öztekin" userId="33c0df0f-d5fe-4bda-8f43-141ad7af67e3" providerId="ADAL" clId="{48B824AD-1B2A-47A8-8D92-6FE6E622A650}" dt="2024-12-16T18:14:54.014" v="173209"/>
          <ac:spMkLst>
            <pc:docMk/>
            <pc:sldMk cId="3316977847" sldId="293"/>
            <ac:spMk id="66" creationId="{00CBAFF2-0C55-28ED-0B37-CDDF300572CA}"/>
          </ac:spMkLst>
        </pc:spChg>
        <pc:spChg chg="add del mod">
          <ac:chgData name="Oğuz Öztekin" userId="33c0df0f-d5fe-4bda-8f43-141ad7af67e3" providerId="ADAL" clId="{48B824AD-1B2A-47A8-8D92-6FE6E622A650}" dt="2024-12-16T18:14:54.015" v="173212"/>
          <ac:spMkLst>
            <pc:docMk/>
            <pc:sldMk cId="3316977847" sldId="293"/>
            <ac:spMk id="67" creationId="{D4E539BD-4A7F-7A0E-CB62-EA6EDEF0F8CC}"/>
          </ac:spMkLst>
        </pc:spChg>
        <pc:spChg chg="add del mod">
          <ac:chgData name="Oğuz Öztekin" userId="33c0df0f-d5fe-4bda-8f43-141ad7af67e3" providerId="ADAL" clId="{48B824AD-1B2A-47A8-8D92-6FE6E622A650}" dt="2024-12-16T18:14:54.016" v="173215"/>
          <ac:spMkLst>
            <pc:docMk/>
            <pc:sldMk cId="3316977847" sldId="293"/>
            <ac:spMk id="68" creationId="{707D87B6-5442-0AB9-66CF-26638A52AE68}"/>
          </ac:spMkLst>
        </pc:spChg>
        <pc:spChg chg="add del mod">
          <ac:chgData name="Oğuz Öztekin" userId="33c0df0f-d5fe-4bda-8f43-141ad7af67e3" providerId="ADAL" clId="{48B824AD-1B2A-47A8-8D92-6FE6E622A650}" dt="2024-12-16T18:14:54.017" v="173218"/>
          <ac:spMkLst>
            <pc:docMk/>
            <pc:sldMk cId="3316977847" sldId="293"/>
            <ac:spMk id="69" creationId="{23DA26AC-9ED6-A24B-0144-D4C3DDA31BC3}"/>
          </ac:spMkLst>
        </pc:spChg>
        <pc:spChg chg="add del mod">
          <ac:chgData name="Oğuz Öztekin" userId="33c0df0f-d5fe-4bda-8f43-141ad7af67e3" providerId="ADAL" clId="{48B824AD-1B2A-47A8-8D92-6FE6E622A650}" dt="2024-12-16T18:14:54.018" v="173221"/>
          <ac:spMkLst>
            <pc:docMk/>
            <pc:sldMk cId="3316977847" sldId="293"/>
            <ac:spMk id="70" creationId="{84EEEE67-5FF2-0274-3E61-D557FC2CB47B}"/>
          </ac:spMkLst>
        </pc:spChg>
        <pc:spChg chg="add del mod">
          <ac:chgData name="Oğuz Öztekin" userId="33c0df0f-d5fe-4bda-8f43-141ad7af67e3" providerId="ADAL" clId="{48B824AD-1B2A-47A8-8D92-6FE6E622A650}" dt="2024-12-16T18:14:54.019" v="173224"/>
          <ac:spMkLst>
            <pc:docMk/>
            <pc:sldMk cId="3316977847" sldId="293"/>
            <ac:spMk id="71" creationId="{ADD534EE-3906-9FC2-1612-02FD1579AA0A}"/>
          </ac:spMkLst>
        </pc:spChg>
        <pc:spChg chg="add del mod">
          <ac:chgData name="Oğuz Öztekin" userId="33c0df0f-d5fe-4bda-8f43-141ad7af67e3" providerId="ADAL" clId="{48B824AD-1B2A-47A8-8D92-6FE6E622A650}" dt="2024-12-16T18:14:54.020" v="173227"/>
          <ac:spMkLst>
            <pc:docMk/>
            <pc:sldMk cId="3316977847" sldId="293"/>
            <ac:spMk id="72" creationId="{F6CE66A0-4196-339A-1733-E8262E278613}"/>
          </ac:spMkLst>
        </pc:spChg>
        <pc:spChg chg="add del mod">
          <ac:chgData name="Oğuz Öztekin" userId="33c0df0f-d5fe-4bda-8f43-141ad7af67e3" providerId="ADAL" clId="{48B824AD-1B2A-47A8-8D92-6FE6E622A650}" dt="2024-12-16T18:14:47.798" v="172085"/>
          <ac:spMkLst>
            <pc:docMk/>
            <pc:sldMk cId="3316977847" sldId="293"/>
            <ac:spMk id="73" creationId="{E65DE9A0-0171-CCD6-CB9C-81CB85DA1BB5}"/>
          </ac:spMkLst>
        </pc:spChg>
        <pc:spChg chg="add del mod">
          <ac:chgData name="Oğuz Öztekin" userId="33c0df0f-d5fe-4bda-8f43-141ad7af67e3" providerId="ADAL" clId="{48B824AD-1B2A-47A8-8D92-6FE6E622A650}" dt="2024-12-16T18:14:47.800" v="172088"/>
          <ac:spMkLst>
            <pc:docMk/>
            <pc:sldMk cId="3316977847" sldId="293"/>
            <ac:spMk id="74" creationId="{06FBAD8A-E10D-A31E-3986-2D51024ED766}"/>
          </ac:spMkLst>
        </pc:spChg>
        <pc:spChg chg="add del mod">
          <ac:chgData name="Oğuz Öztekin" userId="33c0df0f-d5fe-4bda-8f43-141ad7af67e3" providerId="ADAL" clId="{48B824AD-1B2A-47A8-8D92-6FE6E622A650}" dt="2024-12-16T18:14:47.802" v="172091"/>
          <ac:spMkLst>
            <pc:docMk/>
            <pc:sldMk cId="3316977847" sldId="293"/>
            <ac:spMk id="75" creationId="{80DA8ABE-5BC2-A3AA-B9CE-03743094D001}"/>
          </ac:spMkLst>
        </pc:spChg>
        <pc:spChg chg="add del mod">
          <ac:chgData name="Oğuz Öztekin" userId="33c0df0f-d5fe-4bda-8f43-141ad7af67e3" providerId="ADAL" clId="{48B824AD-1B2A-47A8-8D92-6FE6E622A650}" dt="2024-12-16T18:14:47.802" v="172094"/>
          <ac:spMkLst>
            <pc:docMk/>
            <pc:sldMk cId="3316977847" sldId="293"/>
            <ac:spMk id="76" creationId="{A413AEA1-3A0D-CD47-9A94-0B6AFF4EFC18}"/>
          </ac:spMkLst>
        </pc:spChg>
        <pc:spChg chg="add del mod">
          <ac:chgData name="Oğuz Öztekin" userId="33c0df0f-d5fe-4bda-8f43-141ad7af67e3" providerId="ADAL" clId="{48B824AD-1B2A-47A8-8D92-6FE6E622A650}" dt="2024-12-16T18:14:47.803" v="172097"/>
          <ac:spMkLst>
            <pc:docMk/>
            <pc:sldMk cId="3316977847" sldId="293"/>
            <ac:spMk id="77" creationId="{D4572883-8716-60E6-164E-9D242D45A271}"/>
          </ac:spMkLst>
        </pc:spChg>
        <pc:spChg chg="add del mod">
          <ac:chgData name="Oğuz Öztekin" userId="33c0df0f-d5fe-4bda-8f43-141ad7af67e3" providerId="ADAL" clId="{48B824AD-1B2A-47A8-8D92-6FE6E622A650}" dt="2024-12-16T18:14:47.804" v="172100"/>
          <ac:spMkLst>
            <pc:docMk/>
            <pc:sldMk cId="3316977847" sldId="293"/>
            <ac:spMk id="78" creationId="{03563DD0-31D9-DC64-1C27-B3A1591C2ACB}"/>
          </ac:spMkLst>
        </pc:spChg>
        <pc:spChg chg="add del mod">
          <ac:chgData name="Oğuz Öztekin" userId="33c0df0f-d5fe-4bda-8f43-141ad7af67e3" providerId="ADAL" clId="{48B824AD-1B2A-47A8-8D92-6FE6E622A650}" dt="2024-12-16T18:14:47.805" v="172103"/>
          <ac:spMkLst>
            <pc:docMk/>
            <pc:sldMk cId="3316977847" sldId="293"/>
            <ac:spMk id="79" creationId="{195C7506-46D9-DD90-762F-FF6901BA2B70}"/>
          </ac:spMkLst>
        </pc:spChg>
        <pc:spChg chg="add del mod">
          <ac:chgData name="Oğuz Öztekin" userId="33c0df0f-d5fe-4bda-8f43-141ad7af67e3" providerId="ADAL" clId="{48B824AD-1B2A-47A8-8D92-6FE6E622A650}" dt="2024-12-16T18:14:47.806" v="172106"/>
          <ac:spMkLst>
            <pc:docMk/>
            <pc:sldMk cId="3316977847" sldId="293"/>
            <ac:spMk id="80" creationId="{2E4309C6-DA9F-AB89-23E0-3C38788AA682}"/>
          </ac:spMkLst>
        </pc:spChg>
        <pc:spChg chg="add del mod">
          <ac:chgData name="Oğuz Öztekin" userId="33c0df0f-d5fe-4bda-8f43-141ad7af67e3" providerId="ADAL" clId="{48B824AD-1B2A-47A8-8D92-6FE6E622A650}" dt="2024-12-16T18:14:47.807" v="172109"/>
          <ac:spMkLst>
            <pc:docMk/>
            <pc:sldMk cId="3316977847" sldId="293"/>
            <ac:spMk id="81" creationId="{5BBF0056-D87A-C717-4FA5-207B0400DFAF}"/>
          </ac:spMkLst>
        </pc:spChg>
        <pc:spChg chg="add del mod">
          <ac:chgData name="Oğuz Öztekin" userId="33c0df0f-d5fe-4bda-8f43-141ad7af67e3" providerId="ADAL" clId="{48B824AD-1B2A-47A8-8D92-6FE6E622A650}" dt="2024-12-16T18:14:47.808" v="172112"/>
          <ac:spMkLst>
            <pc:docMk/>
            <pc:sldMk cId="3316977847" sldId="293"/>
            <ac:spMk id="82" creationId="{41F4CADB-97AA-3978-8EDE-352DD07FAA1E}"/>
          </ac:spMkLst>
        </pc:spChg>
        <pc:spChg chg="add del mod">
          <ac:chgData name="Oğuz Öztekin" userId="33c0df0f-d5fe-4bda-8f43-141ad7af67e3" providerId="ADAL" clId="{48B824AD-1B2A-47A8-8D92-6FE6E622A650}" dt="2024-12-16T18:14:47.809" v="172115"/>
          <ac:spMkLst>
            <pc:docMk/>
            <pc:sldMk cId="3316977847" sldId="293"/>
            <ac:spMk id="83" creationId="{74C2458B-E25C-0143-D3AA-CB620B45547A}"/>
          </ac:spMkLst>
        </pc:spChg>
        <pc:spChg chg="add del mod">
          <ac:chgData name="Oğuz Öztekin" userId="33c0df0f-d5fe-4bda-8f43-141ad7af67e3" providerId="ADAL" clId="{48B824AD-1B2A-47A8-8D92-6FE6E622A650}" dt="2024-12-16T18:14:47.810" v="172118"/>
          <ac:spMkLst>
            <pc:docMk/>
            <pc:sldMk cId="3316977847" sldId="293"/>
            <ac:spMk id="84" creationId="{CF5FF6A0-9816-EF0B-2108-31946AB17607}"/>
          </ac:spMkLst>
        </pc:spChg>
        <pc:spChg chg="add del mod">
          <ac:chgData name="Oğuz Öztekin" userId="33c0df0f-d5fe-4bda-8f43-141ad7af67e3" providerId="ADAL" clId="{48B824AD-1B2A-47A8-8D92-6FE6E622A650}" dt="2024-12-16T18:14:47.810" v="172121"/>
          <ac:spMkLst>
            <pc:docMk/>
            <pc:sldMk cId="3316977847" sldId="293"/>
            <ac:spMk id="85" creationId="{F8D16E5E-F6B7-9BC4-400B-2AEDCB5B32AE}"/>
          </ac:spMkLst>
        </pc:spChg>
        <pc:spChg chg="mod">
          <ac:chgData name="Oğuz Öztekin" userId="33c0df0f-d5fe-4bda-8f43-141ad7af67e3" providerId="ADAL" clId="{48B824AD-1B2A-47A8-8D92-6FE6E622A650}" dt="2024-12-16T18:21:37.207" v="179042"/>
          <ac:spMkLst>
            <pc:docMk/>
            <pc:sldMk cId="3316977847" sldId="293"/>
            <ac:spMk id="86" creationId="{3F8B8750-7661-8C07-1564-C22E780EE585}"/>
          </ac:spMkLst>
        </pc:spChg>
        <pc:spChg chg="mod">
          <ac:chgData name="Oğuz Öztekin" userId="33c0df0f-d5fe-4bda-8f43-141ad7af67e3" providerId="ADAL" clId="{48B824AD-1B2A-47A8-8D92-6FE6E622A650}" dt="2024-12-16T18:21:37.207" v="179044"/>
          <ac:spMkLst>
            <pc:docMk/>
            <pc:sldMk cId="3316977847" sldId="293"/>
            <ac:spMk id="87" creationId="{704779A8-6470-C8A9-B13C-3388293D8E5D}"/>
          </ac:spMkLst>
        </pc:spChg>
        <pc:spChg chg="mod">
          <ac:chgData name="Oğuz Öztekin" userId="33c0df0f-d5fe-4bda-8f43-141ad7af67e3" providerId="ADAL" clId="{48B824AD-1B2A-47A8-8D92-6FE6E622A650}" dt="2024-12-16T18:21:37.208" v="179047"/>
          <ac:spMkLst>
            <pc:docMk/>
            <pc:sldMk cId="3316977847" sldId="293"/>
            <ac:spMk id="88" creationId="{33E6711F-3A98-4AE6-9C73-5886F3E06AAA}"/>
          </ac:spMkLst>
        </pc:spChg>
        <pc:spChg chg="mod">
          <ac:chgData name="Oğuz Öztekin" userId="33c0df0f-d5fe-4bda-8f43-141ad7af67e3" providerId="ADAL" clId="{48B824AD-1B2A-47A8-8D92-6FE6E622A650}" dt="2024-12-16T18:21:37.208" v="179048"/>
          <ac:spMkLst>
            <pc:docMk/>
            <pc:sldMk cId="3316977847" sldId="293"/>
            <ac:spMk id="89" creationId="{FC802CBD-319C-4025-AB98-C912D0FB3427}"/>
          </ac:spMkLst>
        </pc:spChg>
        <pc:spChg chg="mod">
          <ac:chgData name="Oğuz Öztekin" userId="33c0df0f-d5fe-4bda-8f43-141ad7af67e3" providerId="ADAL" clId="{48B824AD-1B2A-47A8-8D92-6FE6E622A650}" dt="2024-12-16T18:21:37.201" v="179020"/>
          <ac:spMkLst>
            <pc:docMk/>
            <pc:sldMk cId="3316977847" sldId="293"/>
            <ac:spMk id="90" creationId="{12F3EFB6-357A-1511-87B9-DA5570B276B9}"/>
          </ac:spMkLst>
        </pc:spChg>
        <pc:spChg chg="mod">
          <ac:chgData name="Oğuz Öztekin" userId="33c0df0f-d5fe-4bda-8f43-141ad7af67e3" providerId="ADAL" clId="{48B824AD-1B2A-47A8-8D92-6FE6E622A650}" dt="2024-12-16T18:21:37.202" v="179021"/>
          <ac:spMkLst>
            <pc:docMk/>
            <pc:sldMk cId="3316977847" sldId="293"/>
            <ac:spMk id="91" creationId="{03E83E89-3A66-88FB-534E-3C0AE66A6078}"/>
          </ac:spMkLst>
        </pc:spChg>
        <pc:spChg chg="mod">
          <ac:chgData name="Oğuz Öztekin" userId="33c0df0f-d5fe-4bda-8f43-141ad7af67e3" providerId="ADAL" clId="{48B824AD-1B2A-47A8-8D92-6FE6E622A650}" dt="2024-12-16T18:21:37.202" v="179022"/>
          <ac:spMkLst>
            <pc:docMk/>
            <pc:sldMk cId="3316977847" sldId="293"/>
            <ac:spMk id="92" creationId="{1E072C72-C02E-9E63-6CED-A913349A2A41}"/>
          </ac:spMkLst>
        </pc:spChg>
        <pc:spChg chg="add del mod">
          <ac:chgData name="Oğuz Öztekin" userId="33c0df0f-d5fe-4bda-8f43-141ad7af67e3" providerId="ADAL" clId="{48B824AD-1B2A-47A8-8D92-6FE6E622A650}" dt="2024-12-16T18:14:47.811" v="172124"/>
          <ac:spMkLst>
            <pc:docMk/>
            <pc:sldMk cId="3316977847" sldId="293"/>
            <ac:spMk id="93" creationId="{135B8A05-F41F-AB3E-E3E1-C802157C7147}"/>
          </ac:spMkLst>
        </pc:spChg>
        <pc:spChg chg="add del mod">
          <ac:chgData name="Oğuz Öztekin" userId="33c0df0f-d5fe-4bda-8f43-141ad7af67e3" providerId="ADAL" clId="{48B824AD-1B2A-47A8-8D92-6FE6E622A650}" dt="2024-12-16T18:14:47.813" v="172127"/>
          <ac:spMkLst>
            <pc:docMk/>
            <pc:sldMk cId="3316977847" sldId="293"/>
            <ac:spMk id="94" creationId="{BBDB6098-3220-B4DB-A328-AE79479C9DEB}"/>
          </ac:spMkLst>
        </pc:spChg>
        <pc:spChg chg="add del mod">
          <ac:chgData name="Oğuz Öztekin" userId="33c0df0f-d5fe-4bda-8f43-141ad7af67e3" providerId="ADAL" clId="{48B824AD-1B2A-47A8-8D92-6FE6E622A650}" dt="2024-12-16T18:14:47.814" v="172130"/>
          <ac:spMkLst>
            <pc:docMk/>
            <pc:sldMk cId="3316977847" sldId="293"/>
            <ac:spMk id="95" creationId="{05C8F67C-17EF-5C8A-E2D6-48CB5511CE1D}"/>
          </ac:spMkLst>
        </pc:spChg>
        <pc:spChg chg="add del mod">
          <ac:chgData name="Oğuz Öztekin" userId="33c0df0f-d5fe-4bda-8f43-141ad7af67e3" providerId="ADAL" clId="{48B824AD-1B2A-47A8-8D92-6FE6E622A650}" dt="2024-12-16T18:15:00" v="174091"/>
          <ac:spMkLst>
            <pc:docMk/>
            <pc:sldMk cId="3316977847" sldId="293"/>
            <ac:spMk id="288" creationId="{21390E99-1F2A-9013-A085-E26A645662AA}"/>
          </ac:spMkLst>
        </pc:spChg>
        <pc:spChg chg="add del mod">
          <ac:chgData name="Oğuz Öztekin" userId="33c0df0f-d5fe-4bda-8f43-141ad7af67e3" providerId="ADAL" clId="{48B824AD-1B2A-47A8-8D92-6FE6E622A650}" dt="2024-12-16T18:15:00.001" v="174094"/>
          <ac:spMkLst>
            <pc:docMk/>
            <pc:sldMk cId="3316977847" sldId="293"/>
            <ac:spMk id="289" creationId="{496D6EEA-5035-AAFB-9A78-0CD427185A15}"/>
          </ac:spMkLst>
        </pc:spChg>
        <pc:spChg chg="add del mod">
          <ac:chgData name="Oğuz Öztekin" userId="33c0df0f-d5fe-4bda-8f43-141ad7af67e3" providerId="ADAL" clId="{48B824AD-1B2A-47A8-8D92-6FE6E622A650}" dt="2024-12-16T18:15:00.002" v="174097"/>
          <ac:spMkLst>
            <pc:docMk/>
            <pc:sldMk cId="3316977847" sldId="293"/>
            <ac:spMk id="290" creationId="{C05493E5-DD29-B1C4-96EC-5A53B46DA7F0}"/>
          </ac:spMkLst>
        </pc:spChg>
        <pc:spChg chg="add del mod">
          <ac:chgData name="Oğuz Öztekin" userId="33c0df0f-d5fe-4bda-8f43-141ad7af67e3" providerId="ADAL" clId="{48B824AD-1B2A-47A8-8D92-6FE6E622A650}" dt="2024-12-16T18:15:00.003" v="174100"/>
          <ac:spMkLst>
            <pc:docMk/>
            <pc:sldMk cId="3316977847" sldId="293"/>
            <ac:spMk id="291" creationId="{ACCA7544-B77B-4469-FEA5-DC5C56F415EE}"/>
          </ac:spMkLst>
        </pc:spChg>
        <pc:spChg chg="mod">
          <ac:chgData name="Oğuz Öztekin" userId="33c0df0f-d5fe-4bda-8f43-141ad7af67e3" providerId="ADAL" clId="{48B824AD-1B2A-47A8-8D92-6FE6E622A650}" dt="2024-12-16T18:21:37.202" v="179023"/>
          <ac:spMkLst>
            <pc:docMk/>
            <pc:sldMk cId="3316977847" sldId="293"/>
            <ac:spMk id="292" creationId="{9C3FE6AE-03AA-CED5-57A1-B11F8CAF4B1F}"/>
          </ac:spMkLst>
        </pc:spChg>
        <pc:spChg chg="add del mod">
          <ac:chgData name="Oğuz Öztekin" userId="33c0df0f-d5fe-4bda-8f43-141ad7af67e3" providerId="ADAL" clId="{48B824AD-1B2A-47A8-8D92-6FE6E622A650}" dt="2024-12-16T18:15:00.004" v="174103"/>
          <ac:spMkLst>
            <pc:docMk/>
            <pc:sldMk cId="3316977847" sldId="293"/>
            <ac:spMk id="294" creationId="{53351673-7EED-25D0-2208-9D2304D8494B}"/>
          </ac:spMkLst>
        </pc:spChg>
        <pc:spChg chg="mod">
          <ac:chgData name="Oğuz Öztekin" userId="33c0df0f-d5fe-4bda-8f43-141ad7af67e3" providerId="ADAL" clId="{48B824AD-1B2A-47A8-8D92-6FE6E622A650}" dt="2024-12-16T18:21:37.202" v="179024"/>
          <ac:spMkLst>
            <pc:docMk/>
            <pc:sldMk cId="3316977847" sldId="293"/>
            <ac:spMk id="295" creationId="{9EF17D83-21E7-2E37-7060-9327CD33A311}"/>
          </ac:spMkLst>
        </pc:spChg>
        <pc:spChg chg="add del mod">
          <ac:chgData name="Oğuz Öztekin" userId="33c0df0f-d5fe-4bda-8f43-141ad7af67e3" providerId="ADAL" clId="{48B824AD-1B2A-47A8-8D92-6FE6E622A650}" dt="2024-12-16T18:15:00.005" v="174106"/>
          <ac:spMkLst>
            <pc:docMk/>
            <pc:sldMk cId="3316977847" sldId="293"/>
            <ac:spMk id="296" creationId="{DB879E08-EE9B-BA4A-08F1-5A0C066B2DBA}"/>
          </ac:spMkLst>
        </pc:spChg>
        <pc:spChg chg="add del mod">
          <ac:chgData name="Oğuz Öztekin" userId="33c0df0f-d5fe-4bda-8f43-141ad7af67e3" providerId="ADAL" clId="{48B824AD-1B2A-47A8-8D92-6FE6E622A650}" dt="2024-12-16T18:15:00.005" v="174109"/>
          <ac:spMkLst>
            <pc:docMk/>
            <pc:sldMk cId="3316977847" sldId="293"/>
            <ac:spMk id="297" creationId="{3564BE0C-FB2F-70D2-F1D8-F8EBEC955088}"/>
          </ac:spMkLst>
        </pc:spChg>
        <pc:spChg chg="mod">
          <ac:chgData name="Oğuz Öztekin" userId="33c0df0f-d5fe-4bda-8f43-141ad7af67e3" providerId="ADAL" clId="{48B824AD-1B2A-47A8-8D92-6FE6E622A650}" dt="2024-12-16T18:21:37.203" v="179028"/>
          <ac:spMkLst>
            <pc:docMk/>
            <pc:sldMk cId="3316977847" sldId="293"/>
            <ac:spMk id="298" creationId="{E1D6FEBC-58D8-1E3F-8AAC-29B23E406A2B}"/>
          </ac:spMkLst>
        </pc:spChg>
        <pc:spChg chg="add del mod">
          <ac:chgData name="Oğuz Öztekin" userId="33c0df0f-d5fe-4bda-8f43-141ad7af67e3" providerId="ADAL" clId="{48B824AD-1B2A-47A8-8D92-6FE6E622A650}" dt="2024-12-16T18:15:00.006" v="174112"/>
          <ac:spMkLst>
            <pc:docMk/>
            <pc:sldMk cId="3316977847" sldId="293"/>
            <ac:spMk id="299" creationId="{280C2A79-582A-BF65-8E0B-EE0E4661DF85}"/>
          </ac:spMkLst>
        </pc:spChg>
        <pc:spChg chg="add del mod">
          <ac:chgData name="Oğuz Öztekin" userId="33c0df0f-d5fe-4bda-8f43-141ad7af67e3" providerId="ADAL" clId="{48B824AD-1B2A-47A8-8D92-6FE6E622A650}" dt="2024-12-16T18:14:54.002" v="173170"/>
          <ac:spMkLst>
            <pc:docMk/>
            <pc:sldMk cId="3316977847" sldId="293"/>
            <ac:spMk id="300" creationId="{56A149BE-554F-4868-713A-12D8B5782FD0}"/>
          </ac:spMkLst>
        </pc:spChg>
        <pc:spChg chg="mod">
          <ac:chgData name="Oğuz Öztekin" userId="33c0df0f-d5fe-4bda-8f43-141ad7af67e3" providerId="ADAL" clId="{48B824AD-1B2A-47A8-8D92-6FE6E622A650}" dt="2024-12-16T18:21:37.203" v="179026"/>
          <ac:spMkLst>
            <pc:docMk/>
            <pc:sldMk cId="3316977847" sldId="293"/>
            <ac:spMk id="301" creationId="{E20AE617-8E0D-194F-F0D4-DC8F650A44D1}"/>
          </ac:spMkLst>
        </pc:spChg>
        <pc:spChg chg="add del mod">
          <ac:chgData name="Oğuz Öztekin" userId="33c0df0f-d5fe-4bda-8f43-141ad7af67e3" providerId="ADAL" clId="{48B824AD-1B2A-47A8-8D92-6FE6E622A650}" dt="2024-12-16T18:14:54.003" v="173173"/>
          <ac:spMkLst>
            <pc:docMk/>
            <pc:sldMk cId="3316977847" sldId="293"/>
            <ac:spMk id="302" creationId="{3698F763-7C35-E816-D4E2-CD69303146BC}"/>
          </ac:spMkLst>
        </pc:spChg>
        <pc:spChg chg="add del mod">
          <ac:chgData name="Oğuz Öztekin" userId="33c0df0f-d5fe-4bda-8f43-141ad7af67e3" providerId="ADAL" clId="{48B824AD-1B2A-47A8-8D92-6FE6E622A650}" dt="2024-12-16T18:14:54.003" v="173176"/>
          <ac:spMkLst>
            <pc:docMk/>
            <pc:sldMk cId="3316977847" sldId="293"/>
            <ac:spMk id="303" creationId="{0B224494-E1FB-0A53-5A3B-BC59CD6370DC}"/>
          </ac:spMkLst>
        </pc:spChg>
        <pc:spChg chg="mod">
          <ac:chgData name="Oğuz Öztekin" userId="33c0df0f-d5fe-4bda-8f43-141ad7af67e3" providerId="ADAL" clId="{48B824AD-1B2A-47A8-8D92-6FE6E622A650}" dt="2024-12-16T18:21:37.203" v="179027"/>
          <ac:spMkLst>
            <pc:docMk/>
            <pc:sldMk cId="3316977847" sldId="293"/>
            <ac:spMk id="304" creationId="{30E25A34-469D-1143-23FA-2BE241304810}"/>
          </ac:spMkLst>
        </pc:spChg>
        <pc:spChg chg="add del mod">
          <ac:chgData name="Oğuz Öztekin" userId="33c0df0f-d5fe-4bda-8f43-141ad7af67e3" providerId="ADAL" clId="{48B824AD-1B2A-47A8-8D92-6FE6E622A650}" dt="2024-12-16T18:14:54.004" v="173179"/>
          <ac:spMkLst>
            <pc:docMk/>
            <pc:sldMk cId="3316977847" sldId="293"/>
            <ac:spMk id="305" creationId="{D9902706-8B43-DBCF-D52E-35BB62BC6419}"/>
          </ac:spMkLst>
        </pc:spChg>
        <pc:spChg chg="add del mod">
          <ac:chgData name="Oğuz Öztekin" userId="33c0df0f-d5fe-4bda-8f43-141ad7af67e3" providerId="ADAL" clId="{48B824AD-1B2A-47A8-8D92-6FE6E622A650}" dt="2024-12-16T18:14:54.005" v="173182"/>
          <ac:spMkLst>
            <pc:docMk/>
            <pc:sldMk cId="3316977847" sldId="293"/>
            <ac:spMk id="307" creationId="{C436FA58-AA96-3260-04A8-5351C15369F0}"/>
          </ac:spMkLst>
        </pc:spChg>
        <pc:spChg chg="mod">
          <ac:chgData name="Oğuz Öztekin" userId="33c0df0f-d5fe-4bda-8f43-141ad7af67e3" providerId="ADAL" clId="{48B824AD-1B2A-47A8-8D92-6FE6E622A650}" dt="2024-12-16T18:21:37.204" v="179029"/>
          <ac:spMkLst>
            <pc:docMk/>
            <pc:sldMk cId="3316977847" sldId="293"/>
            <ac:spMk id="308" creationId="{D6C14E8A-D8D6-9582-374F-1478346D777B}"/>
          </ac:spMkLst>
        </pc:spChg>
        <pc:spChg chg="add del mod">
          <ac:chgData name="Oğuz Öztekin" userId="33c0df0f-d5fe-4bda-8f43-141ad7af67e3" providerId="ADAL" clId="{48B824AD-1B2A-47A8-8D92-6FE6E622A650}" dt="2024-12-16T18:14:54.006" v="173185"/>
          <ac:spMkLst>
            <pc:docMk/>
            <pc:sldMk cId="3316977847" sldId="293"/>
            <ac:spMk id="309" creationId="{4DFCA1FD-E76C-D6BD-D7E3-C710DDC5BB8C}"/>
          </ac:spMkLst>
        </pc:spChg>
        <pc:spChg chg="add del mod">
          <ac:chgData name="Oğuz Öztekin" userId="33c0df0f-d5fe-4bda-8f43-141ad7af67e3" providerId="ADAL" clId="{48B824AD-1B2A-47A8-8D92-6FE6E622A650}" dt="2024-12-16T18:14:54.007" v="173188"/>
          <ac:spMkLst>
            <pc:docMk/>
            <pc:sldMk cId="3316977847" sldId="293"/>
            <ac:spMk id="310" creationId="{A567C730-8872-A892-E8D6-9BEB732E7E6B}"/>
          </ac:spMkLst>
        </pc:spChg>
        <pc:spChg chg="mod">
          <ac:chgData name="Oğuz Öztekin" userId="33c0df0f-d5fe-4bda-8f43-141ad7af67e3" providerId="ADAL" clId="{48B824AD-1B2A-47A8-8D92-6FE6E622A650}" dt="2024-12-16T18:21:37.204" v="179031"/>
          <ac:spMkLst>
            <pc:docMk/>
            <pc:sldMk cId="3316977847" sldId="293"/>
            <ac:spMk id="311" creationId="{D380B2CA-0A4F-8B95-4848-3006F3828F9B}"/>
          </ac:spMkLst>
        </pc:spChg>
        <pc:spChg chg="add del mod">
          <ac:chgData name="Oğuz Öztekin" userId="33c0df0f-d5fe-4bda-8f43-141ad7af67e3" providerId="ADAL" clId="{48B824AD-1B2A-47A8-8D92-6FE6E622A650}" dt="2024-12-16T18:14:54.008" v="173191"/>
          <ac:spMkLst>
            <pc:docMk/>
            <pc:sldMk cId="3316977847" sldId="293"/>
            <ac:spMk id="312" creationId="{7F786CC1-3B74-192F-3899-42B438EAC84E}"/>
          </ac:spMkLst>
        </pc:spChg>
        <pc:spChg chg="add del mod">
          <ac:chgData name="Oğuz Öztekin" userId="33c0df0f-d5fe-4bda-8f43-141ad7af67e3" providerId="ADAL" clId="{48B824AD-1B2A-47A8-8D92-6FE6E622A650}" dt="2024-12-16T18:14:54.008" v="173194"/>
          <ac:spMkLst>
            <pc:docMk/>
            <pc:sldMk cId="3316977847" sldId="293"/>
            <ac:spMk id="314" creationId="{131CD469-A7EC-3FCB-70AE-0F3374AE7CE6}"/>
          </ac:spMkLst>
        </pc:spChg>
        <pc:spChg chg="mod">
          <ac:chgData name="Oğuz Öztekin" userId="33c0df0f-d5fe-4bda-8f43-141ad7af67e3" providerId="ADAL" clId="{48B824AD-1B2A-47A8-8D92-6FE6E622A650}" dt="2024-12-16T18:21:37.205" v="179033"/>
          <ac:spMkLst>
            <pc:docMk/>
            <pc:sldMk cId="3316977847" sldId="293"/>
            <ac:spMk id="315" creationId="{9DF24805-1A27-5594-FEB8-14DF186B4B42}"/>
          </ac:spMkLst>
        </pc:spChg>
        <pc:spChg chg="add del mod">
          <ac:chgData name="Oğuz Öztekin" userId="33c0df0f-d5fe-4bda-8f43-141ad7af67e3" providerId="ADAL" clId="{48B824AD-1B2A-47A8-8D92-6FE6E622A650}" dt="2024-12-16T18:14:54.009" v="173197"/>
          <ac:spMkLst>
            <pc:docMk/>
            <pc:sldMk cId="3316977847" sldId="293"/>
            <ac:spMk id="316" creationId="{9340511F-217B-CA80-70E2-4B90B9919E46}"/>
          </ac:spMkLst>
        </pc:spChg>
        <pc:spChg chg="add del mod">
          <ac:chgData name="Oğuz Öztekin" userId="33c0df0f-d5fe-4bda-8f43-141ad7af67e3" providerId="ADAL" clId="{48B824AD-1B2A-47A8-8D92-6FE6E622A650}" dt="2024-12-16T18:14:54.010" v="173200"/>
          <ac:spMkLst>
            <pc:docMk/>
            <pc:sldMk cId="3316977847" sldId="293"/>
            <ac:spMk id="318" creationId="{9452F1F8-57DD-D74B-3214-03C7D491DE36}"/>
          </ac:spMkLst>
        </pc:spChg>
        <pc:spChg chg="mod">
          <ac:chgData name="Oğuz Öztekin" userId="33c0df0f-d5fe-4bda-8f43-141ad7af67e3" providerId="ADAL" clId="{48B824AD-1B2A-47A8-8D92-6FE6E622A650}" dt="2024-12-16T18:21:37.205" v="179035"/>
          <ac:spMkLst>
            <pc:docMk/>
            <pc:sldMk cId="3316977847" sldId="293"/>
            <ac:spMk id="319" creationId="{6250D7A4-B10B-929B-BF1D-FD71105F02AD}"/>
          </ac:spMkLst>
        </pc:spChg>
        <pc:spChg chg="add del mod">
          <ac:chgData name="Oğuz Öztekin" userId="33c0df0f-d5fe-4bda-8f43-141ad7af67e3" providerId="ADAL" clId="{48B824AD-1B2A-47A8-8D92-6FE6E622A650}" dt="2024-12-16T18:14:47.815" v="172133"/>
          <ac:spMkLst>
            <pc:docMk/>
            <pc:sldMk cId="3316977847" sldId="293"/>
            <ac:spMk id="320" creationId="{CE8F7221-29BC-B8FE-4A7C-A8D79289F2E8}"/>
          </ac:spMkLst>
        </pc:spChg>
        <pc:spChg chg="add del mod">
          <ac:chgData name="Oğuz Öztekin" userId="33c0df0f-d5fe-4bda-8f43-141ad7af67e3" providerId="ADAL" clId="{48B824AD-1B2A-47A8-8D92-6FE6E622A650}" dt="2024-12-16T18:14:47.816" v="172136"/>
          <ac:spMkLst>
            <pc:docMk/>
            <pc:sldMk cId="3316977847" sldId="293"/>
            <ac:spMk id="322" creationId="{8DD89607-6E67-685B-E82C-249C97011F55}"/>
          </ac:spMkLst>
        </pc:spChg>
        <pc:spChg chg="mod">
          <ac:chgData name="Oğuz Öztekin" userId="33c0df0f-d5fe-4bda-8f43-141ad7af67e3" providerId="ADAL" clId="{48B824AD-1B2A-47A8-8D92-6FE6E622A650}" dt="2024-12-16T18:21:37.206" v="179037"/>
          <ac:spMkLst>
            <pc:docMk/>
            <pc:sldMk cId="3316977847" sldId="293"/>
            <ac:spMk id="323" creationId="{6B047979-D191-2646-1119-61F1FB205C46}"/>
          </ac:spMkLst>
        </pc:spChg>
        <pc:spChg chg="add del mod">
          <ac:chgData name="Oğuz Öztekin" userId="33c0df0f-d5fe-4bda-8f43-141ad7af67e3" providerId="ADAL" clId="{48B824AD-1B2A-47A8-8D92-6FE6E622A650}" dt="2024-12-16T18:14:47.817" v="172139"/>
          <ac:spMkLst>
            <pc:docMk/>
            <pc:sldMk cId="3316977847" sldId="293"/>
            <ac:spMk id="324" creationId="{D2FA22E4-EC27-D4D6-BD0B-19003042EDD5}"/>
          </ac:spMkLst>
        </pc:spChg>
        <pc:spChg chg="add del mod">
          <ac:chgData name="Oğuz Öztekin" userId="33c0df0f-d5fe-4bda-8f43-141ad7af67e3" providerId="ADAL" clId="{48B824AD-1B2A-47A8-8D92-6FE6E622A650}" dt="2024-12-16T18:14:47.818" v="172142"/>
          <ac:spMkLst>
            <pc:docMk/>
            <pc:sldMk cId="3316977847" sldId="293"/>
            <ac:spMk id="325" creationId="{6BDF48BA-313A-6BE4-0EC7-44BCE008A917}"/>
          </ac:spMkLst>
        </pc:spChg>
        <pc:spChg chg="mod">
          <ac:chgData name="Oğuz Öztekin" userId="33c0df0f-d5fe-4bda-8f43-141ad7af67e3" providerId="ADAL" clId="{48B824AD-1B2A-47A8-8D92-6FE6E622A650}" dt="2024-12-16T18:21:37.206" v="179038"/>
          <ac:spMkLst>
            <pc:docMk/>
            <pc:sldMk cId="3316977847" sldId="293"/>
            <ac:spMk id="326" creationId="{1C69DD00-2773-B4F0-1AB6-A9F3ECC2671D}"/>
          </ac:spMkLst>
        </pc:spChg>
        <pc:spChg chg="add del mod">
          <ac:chgData name="Oğuz Öztekin" userId="33c0df0f-d5fe-4bda-8f43-141ad7af67e3" providerId="ADAL" clId="{48B824AD-1B2A-47A8-8D92-6FE6E622A650}" dt="2024-12-16T18:14:41.982" v="170800"/>
          <ac:spMkLst>
            <pc:docMk/>
            <pc:sldMk cId="3316977847" sldId="293"/>
            <ac:spMk id="327" creationId="{7F6524B3-5A43-77D5-7FC8-8A39C12FA0C7}"/>
          </ac:spMkLst>
        </pc:spChg>
        <pc:spChg chg="add del mod">
          <ac:chgData name="Oğuz Öztekin" userId="33c0df0f-d5fe-4bda-8f43-141ad7af67e3" providerId="ADAL" clId="{48B824AD-1B2A-47A8-8D92-6FE6E622A650}" dt="2024-12-16T18:14:41.983" v="170803"/>
          <ac:spMkLst>
            <pc:docMk/>
            <pc:sldMk cId="3316977847" sldId="293"/>
            <ac:spMk id="328" creationId="{5DF27485-9FC0-5E42-0970-B17737022E3B}"/>
          </ac:spMkLst>
        </pc:spChg>
        <pc:spChg chg="mod">
          <ac:chgData name="Oğuz Öztekin" userId="33c0df0f-d5fe-4bda-8f43-141ad7af67e3" providerId="ADAL" clId="{48B824AD-1B2A-47A8-8D92-6FE6E622A650}" dt="2024-12-16T18:21:37.206" v="179039"/>
          <ac:spMkLst>
            <pc:docMk/>
            <pc:sldMk cId="3316977847" sldId="293"/>
            <ac:spMk id="329" creationId="{5C90E2C2-4760-3CA5-1256-1EED6DFE50EE}"/>
          </ac:spMkLst>
        </pc:spChg>
        <pc:spChg chg="add del mod">
          <ac:chgData name="Oğuz Öztekin" userId="33c0df0f-d5fe-4bda-8f43-141ad7af67e3" providerId="ADAL" clId="{48B824AD-1B2A-47A8-8D92-6FE6E622A650}" dt="2024-12-16T18:14:41.984" v="170806"/>
          <ac:spMkLst>
            <pc:docMk/>
            <pc:sldMk cId="3316977847" sldId="293"/>
            <ac:spMk id="330" creationId="{75CBCA9F-3881-EF94-881E-C2EE87A45FA1}"/>
          </ac:spMkLst>
        </pc:spChg>
        <pc:spChg chg="add del mod">
          <ac:chgData name="Oğuz Öztekin" userId="33c0df0f-d5fe-4bda-8f43-141ad7af67e3" providerId="ADAL" clId="{48B824AD-1B2A-47A8-8D92-6FE6E622A650}" dt="2024-12-16T18:14:41.985" v="170809"/>
          <ac:spMkLst>
            <pc:docMk/>
            <pc:sldMk cId="3316977847" sldId="293"/>
            <ac:spMk id="331" creationId="{B21E5B28-DD0B-2A52-7423-003D4B8045C0}"/>
          </ac:spMkLst>
        </pc:spChg>
        <pc:spChg chg="mod">
          <ac:chgData name="Oğuz Öztekin" userId="33c0df0f-d5fe-4bda-8f43-141ad7af67e3" providerId="ADAL" clId="{48B824AD-1B2A-47A8-8D92-6FE6E622A650}" dt="2024-12-16T18:21:37.207" v="179045"/>
          <ac:spMkLst>
            <pc:docMk/>
            <pc:sldMk cId="3316977847" sldId="293"/>
            <ac:spMk id="332" creationId="{F41B20C3-6762-A25D-AABC-A782FE15227C}"/>
          </ac:spMkLst>
        </pc:spChg>
        <pc:spChg chg="add del mod">
          <ac:chgData name="Oğuz Öztekin" userId="33c0df0f-d5fe-4bda-8f43-141ad7af67e3" providerId="ADAL" clId="{48B824AD-1B2A-47A8-8D92-6FE6E622A650}" dt="2024-12-16T18:14:41.986" v="170812"/>
          <ac:spMkLst>
            <pc:docMk/>
            <pc:sldMk cId="3316977847" sldId="293"/>
            <ac:spMk id="333" creationId="{F6C977ED-FA83-24DE-0F27-47857C27BEB5}"/>
          </ac:spMkLst>
        </pc:spChg>
        <pc:spChg chg="add del mod">
          <ac:chgData name="Oğuz Öztekin" userId="33c0df0f-d5fe-4bda-8f43-141ad7af67e3" providerId="ADAL" clId="{48B824AD-1B2A-47A8-8D92-6FE6E622A650}" dt="2024-12-16T18:14:41.986" v="170815"/>
          <ac:spMkLst>
            <pc:docMk/>
            <pc:sldMk cId="3316977847" sldId="293"/>
            <ac:spMk id="334" creationId="{C00ABA28-938E-AEC5-582A-27A05788C68F}"/>
          </ac:spMkLst>
        </pc:spChg>
        <pc:spChg chg="mod">
          <ac:chgData name="Oğuz Öztekin" userId="33c0df0f-d5fe-4bda-8f43-141ad7af67e3" providerId="ADAL" clId="{48B824AD-1B2A-47A8-8D92-6FE6E622A650}" dt="2024-12-16T18:21:37.207" v="179041"/>
          <ac:spMkLst>
            <pc:docMk/>
            <pc:sldMk cId="3316977847" sldId="293"/>
            <ac:spMk id="335" creationId="{50FAEB2F-4DF0-FE5B-52E1-05E46EFA71F3}"/>
          </ac:spMkLst>
        </pc:spChg>
        <pc:spChg chg="add del mod">
          <ac:chgData name="Oğuz Öztekin" userId="33c0df0f-d5fe-4bda-8f43-141ad7af67e3" providerId="ADAL" clId="{48B824AD-1B2A-47A8-8D92-6FE6E622A650}" dt="2024-12-16T18:14:41.987" v="170818"/>
          <ac:spMkLst>
            <pc:docMk/>
            <pc:sldMk cId="3316977847" sldId="293"/>
            <ac:spMk id="336" creationId="{89B53B05-E230-A094-F738-55E2AEB88587}"/>
          </ac:spMkLst>
        </pc:spChg>
        <pc:spChg chg="add del mod">
          <ac:chgData name="Oğuz Öztekin" userId="33c0df0f-d5fe-4bda-8f43-141ad7af67e3" providerId="ADAL" clId="{48B824AD-1B2A-47A8-8D92-6FE6E622A650}" dt="2024-12-16T18:14:41.987" v="170821"/>
          <ac:spMkLst>
            <pc:docMk/>
            <pc:sldMk cId="3316977847" sldId="293"/>
            <ac:spMk id="337" creationId="{85A401B4-AE11-3BA1-2EFD-3D54D42A9E14}"/>
          </ac:spMkLst>
        </pc:spChg>
        <pc:spChg chg="add del mod">
          <ac:chgData name="Oğuz Öztekin" userId="33c0df0f-d5fe-4bda-8f43-141ad7af67e3" providerId="ADAL" clId="{48B824AD-1B2A-47A8-8D92-6FE6E622A650}" dt="2024-12-16T18:14:41.988" v="170824"/>
          <ac:spMkLst>
            <pc:docMk/>
            <pc:sldMk cId="3316977847" sldId="293"/>
            <ac:spMk id="338" creationId="{B9DE61E4-8054-9C4B-3BDE-326532752969}"/>
          </ac:spMkLst>
        </pc:spChg>
        <pc:spChg chg="add del mod">
          <ac:chgData name="Oğuz Öztekin" userId="33c0df0f-d5fe-4bda-8f43-141ad7af67e3" providerId="ADAL" clId="{48B824AD-1B2A-47A8-8D92-6FE6E622A650}" dt="2024-12-16T18:14:41.989" v="170827"/>
          <ac:spMkLst>
            <pc:docMk/>
            <pc:sldMk cId="3316977847" sldId="293"/>
            <ac:spMk id="339" creationId="{E88FE529-063C-A560-AB71-2CE4B1351C0E}"/>
          </ac:spMkLst>
        </pc:spChg>
        <pc:spChg chg="add del mod">
          <ac:chgData name="Oğuz Öztekin" userId="33c0df0f-d5fe-4bda-8f43-141ad7af67e3" providerId="ADAL" clId="{48B824AD-1B2A-47A8-8D92-6FE6E622A650}" dt="2024-12-16T18:14:41.990" v="170830"/>
          <ac:spMkLst>
            <pc:docMk/>
            <pc:sldMk cId="3316977847" sldId="293"/>
            <ac:spMk id="340" creationId="{C89C799A-C22D-736A-6FCD-96A9D2415A7B}"/>
          </ac:spMkLst>
        </pc:spChg>
        <pc:spChg chg="add del mod">
          <ac:chgData name="Oğuz Öztekin" userId="33c0df0f-d5fe-4bda-8f43-141ad7af67e3" providerId="ADAL" clId="{48B824AD-1B2A-47A8-8D92-6FE6E622A650}" dt="2024-12-16T18:14:41.991" v="170833"/>
          <ac:spMkLst>
            <pc:docMk/>
            <pc:sldMk cId="3316977847" sldId="293"/>
            <ac:spMk id="341" creationId="{54B818E9-4BA0-1A26-AF9D-C16DB73821F8}"/>
          </ac:spMkLst>
        </pc:spChg>
        <pc:spChg chg="add del mod">
          <ac:chgData name="Oğuz Öztekin" userId="33c0df0f-d5fe-4bda-8f43-141ad7af67e3" providerId="ADAL" clId="{48B824AD-1B2A-47A8-8D92-6FE6E622A650}" dt="2024-12-16T18:14:41.992" v="170836"/>
          <ac:spMkLst>
            <pc:docMk/>
            <pc:sldMk cId="3316977847" sldId="293"/>
            <ac:spMk id="342" creationId="{9669EC42-71E5-0805-9405-9962E07AB663}"/>
          </ac:spMkLst>
        </pc:spChg>
        <pc:spChg chg="add del mod">
          <ac:chgData name="Oğuz Öztekin" userId="33c0df0f-d5fe-4bda-8f43-141ad7af67e3" providerId="ADAL" clId="{48B824AD-1B2A-47A8-8D92-6FE6E622A650}" dt="2024-12-16T18:14:41.993" v="170839"/>
          <ac:spMkLst>
            <pc:docMk/>
            <pc:sldMk cId="3316977847" sldId="293"/>
            <ac:spMk id="343" creationId="{932A370B-96A7-D705-2532-C1A4928BC540}"/>
          </ac:spMkLst>
        </pc:spChg>
        <pc:spChg chg="add del mod">
          <ac:chgData name="Oğuz Öztekin" userId="33c0df0f-d5fe-4bda-8f43-141ad7af67e3" providerId="ADAL" clId="{48B824AD-1B2A-47A8-8D92-6FE6E622A650}" dt="2024-12-16T18:14:41.994" v="170842"/>
          <ac:spMkLst>
            <pc:docMk/>
            <pc:sldMk cId="3316977847" sldId="293"/>
            <ac:spMk id="344" creationId="{F3C98E23-DC6A-7DD3-73E9-C0C0B270C6A1}"/>
          </ac:spMkLst>
        </pc:spChg>
        <pc:spChg chg="add del mod">
          <ac:chgData name="Oğuz Öztekin" userId="33c0df0f-d5fe-4bda-8f43-141ad7af67e3" providerId="ADAL" clId="{48B824AD-1B2A-47A8-8D92-6FE6E622A650}" dt="2024-12-16T18:14:41.995" v="170845"/>
          <ac:spMkLst>
            <pc:docMk/>
            <pc:sldMk cId="3316977847" sldId="293"/>
            <ac:spMk id="345" creationId="{FB26599A-E361-8922-58C9-1FDECE3E3A67}"/>
          </ac:spMkLst>
        </pc:spChg>
        <pc:spChg chg="add del mod">
          <ac:chgData name="Oğuz Öztekin" userId="33c0df0f-d5fe-4bda-8f43-141ad7af67e3" providerId="ADAL" clId="{48B824AD-1B2A-47A8-8D92-6FE6E622A650}" dt="2024-12-16T18:14:41.996" v="170848"/>
          <ac:spMkLst>
            <pc:docMk/>
            <pc:sldMk cId="3316977847" sldId="293"/>
            <ac:spMk id="346" creationId="{E7EB81ED-EBB9-B0AA-1763-351430D388AC}"/>
          </ac:spMkLst>
        </pc:spChg>
        <pc:spChg chg="add del mod">
          <ac:chgData name="Oğuz Öztekin" userId="33c0df0f-d5fe-4bda-8f43-141ad7af67e3" providerId="ADAL" clId="{48B824AD-1B2A-47A8-8D92-6FE6E622A650}" dt="2024-12-16T18:14:41.997" v="170851"/>
          <ac:spMkLst>
            <pc:docMk/>
            <pc:sldMk cId="3316977847" sldId="293"/>
            <ac:spMk id="347" creationId="{69799D69-0E91-1A52-D983-5CFD00D38C0C}"/>
          </ac:spMkLst>
        </pc:spChg>
        <pc:spChg chg="add del mod">
          <ac:chgData name="Oğuz Öztekin" userId="33c0df0f-d5fe-4bda-8f43-141ad7af67e3" providerId="ADAL" clId="{48B824AD-1B2A-47A8-8D92-6FE6E622A650}" dt="2024-12-16T18:14:41.998" v="170854"/>
          <ac:spMkLst>
            <pc:docMk/>
            <pc:sldMk cId="3316977847" sldId="293"/>
            <ac:spMk id="348" creationId="{AD455B64-8790-2366-50DF-6762D69B5617}"/>
          </ac:spMkLst>
        </pc:spChg>
        <pc:spChg chg="add del mod">
          <ac:chgData name="Oğuz Öztekin" userId="33c0df0f-d5fe-4bda-8f43-141ad7af67e3" providerId="ADAL" clId="{48B824AD-1B2A-47A8-8D92-6FE6E622A650}" dt="2024-12-16T18:14:41.999" v="170857"/>
          <ac:spMkLst>
            <pc:docMk/>
            <pc:sldMk cId="3316977847" sldId="293"/>
            <ac:spMk id="349" creationId="{898EBC87-9171-09C6-96C7-361AC80C5095}"/>
          </ac:spMkLst>
        </pc:spChg>
        <pc:spChg chg="add del mod">
          <ac:chgData name="Oğuz Öztekin" userId="33c0df0f-d5fe-4bda-8f43-141ad7af67e3" providerId="ADAL" clId="{48B824AD-1B2A-47A8-8D92-6FE6E622A650}" dt="2024-12-16T18:14:36.352" v="169311"/>
          <ac:spMkLst>
            <pc:docMk/>
            <pc:sldMk cId="3316977847" sldId="293"/>
            <ac:spMk id="350" creationId="{5DE57092-500F-F33D-67D9-D00F2A7818D8}"/>
          </ac:spMkLst>
        </pc:spChg>
        <pc:spChg chg="add del mod">
          <ac:chgData name="Oğuz Öztekin" userId="33c0df0f-d5fe-4bda-8f43-141ad7af67e3" providerId="ADAL" clId="{48B824AD-1B2A-47A8-8D92-6FE6E622A650}" dt="2024-12-16T18:14:36.353" v="169314"/>
          <ac:spMkLst>
            <pc:docMk/>
            <pc:sldMk cId="3316977847" sldId="293"/>
            <ac:spMk id="351" creationId="{D43CD5A9-7A07-B2A2-8822-3274B2639962}"/>
          </ac:spMkLst>
        </pc:spChg>
        <pc:spChg chg="add del mod">
          <ac:chgData name="Oğuz Öztekin" userId="33c0df0f-d5fe-4bda-8f43-141ad7af67e3" providerId="ADAL" clId="{48B824AD-1B2A-47A8-8D92-6FE6E622A650}" dt="2024-12-16T18:14:36.354" v="169317"/>
          <ac:spMkLst>
            <pc:docMk/>
            <pc:sldMk cId="3316977847" sldId="293"/>
            <ac:spMk id="352" creationId="{0B37E3EA-2158-EB24-BFBD-F76D4F11C76D}"/>
          </ac:spMkLst>
        </pc:spChg>
        <pc:spChg chg="add del mod">
          <ac:chgData name="Oğuz Öztekin" userId="33c0df0f-d5fe-4bda-8f43-141ad7af67e3" providerId="ADAL" clId="{48B824AD-1B2A-47A8-8D92-6FE6E622A650}" dt="2024-12-16T18:14:36.354" v="169320"/>
          <ac:spMkLst>
            <pc:docMk/>
            <pc:sldMk cId="3316977847" sldId="293"/>
            <ac:spMk id="353" creationId="{3C54748F-F829-9C16-CB1E-205A7249250A}"/>
          </ac:spMkLst>
        </pc:spChg>
        <pc:spChg chg="add del mod">
          <ac:chgData name="Oğuz Öztekin" userId="33c0df0f-d5fe-4bda-8f43-141ad7af67e3" providerId="ADAL" clId="{48B824AD-1B2A-47A8-8D92-6FE6E622A650}" dt="2024-12-16T18:14:36.355" v="169323"/>
          <ac:spMkLst>
            <pc:docMk/>
            <pc:sldMk cId="3316977847" sldId="293"/>
            <ac:spMk id="354" creationId="{03EE4B31-0047-18BC-0BE3-853862A66435}"/>
          </ac:spMkLst>
        </pc:spChg>
        <pc:spChg chg="add del mod">
          <ac:chgData name="Oğuz Öztekin" userId="33c0df0f-d5fe-4bda-8f43-141ad7af67e3" providerId="ADAL" clId="{48B824AD-1B2A-47A8-8D92-6FE6E622A650}" dt="2024-12-16T18:14:36.356" v="169326"/>
          <ac:spMkLst>
            <pc:docMk/>
            <pc:sldMk cId="3316977847" sldId="293"/>
            <ac:spMk id="355" creationId="{9FE0B328-68FB-24BA-B8B0-9ABA5D0FD4B7}"/>
          </ac:spMkLst>
        </pc:spChg>
        <pc:spChg chg="add del mod">
          <ac:chgData name="Oğuz Öztekin" userId="33c0df0f-d5fe-4bda-8f43-141ad7af67e3" providerId="ADAL" clId="{48B824AD-1B2A-47A8-8D92-6FE6E622A650}" dt="2024-12-16T18:14:36.358" v="169329"/>
          <ac:spMkLst>
            <pc:docMk/>
            <pc:sldMk cId="3316977847" sldId="293"/>
            <ac:spMk id="356" creationId="{C3E1C233-1FED-CAD1-12E9-2EAD64CA97DB}"/>
          </ac:spMkLst>
        </pc:spChg>
        <pc:spChg chg="add del mod">
          <ac:chgData name="Oğuz Öztekin" userId="33c0df0f-d5fe-4bda-8f43-141ad7af67e3" providerId="ADAL" clId="{48B824AD-1B2A-47A8-8D92-6FE6E622A650}" dt="2024-12-16T18:14:36.358" v="169332"/>
          <ac:spMkLst>
            <pc:docMk/>
            <pc:sldMk cId="3316977847" sldId="293"/>
            <ac:spMk id="357" creationId="{DCA4E641-8F8B-F1C3-B480-0F69D07DBC0E}"/>
          </ac:spMkLst>
        </pc:spChg>
        <pc:spChg chg="add del mod">
          <ac:chgData name="Oğuz Öztekin" userId="33c0df0f-d5fe-4bda-8f43-141ad7af67e3" providerId="ADAL" clId="{48B824AD-1B2A-47A8-8D92-6FE6E622A650}" dt="2024-12-16T18:14:36.359" v="169335"/>
          <ac:spMkLst>
            <pc:docMk/>
            <pc:sldMk cId="3316977847" sldId="293"/>
            <ac:spMk id="358" creationId="{6CE99D55-0304-45CD-78C6-2EE47CF9EA41}"/>
          </ac:spMkLst>
        </pc:spChg>
        <pc:spChg chg="add del mod">
          <ac:chgData name="Oğuz Öztekin" userId="33c0df0f-d5fe-4bda-8f43-141ad7af67e3" providerId="ADAL" clId="{48B824AD-1B2A-47A8-8D92-6FE6E622A650}" dt="2024-12-16T18:14:36.360" v="169338"/>
          <ac:spMkLst>
            <pc:docMk/>
            <pc:sldMk cId="3316977847" sldId="293"/>
            <ac:spMk id="359" creationId="{D1109DCA-F487-1999-A118-ADBE1FD9F3F4}"/>
          </ac:spMkLst>
        </pc:spChg>
        <pc:spChg chg="add del mod">
          <ac:chgData name="Oğuz Öztekin" userId="33c0df0f-d5fe-4bda-8f43-141ad7af67e3" providerId="ADAL" clId="{48B824AD-1B2A-47A8-8D92-6FE6E622A650}" dt="2024-12-16T18:14:36.361" v="169341"/>
          <ac:spMkLst>
            <pc:docMk/>
            <pc:sldMk cId="3316977847" sldId="293"/>
            <ac:spMk id="360" creationId="{EEE7FD4F-6F62-0B6B-8510-C2E6C692645D}"/>
          </ac:spMkLst>
        </pc:spChg>
        <pc:spChg chg="add del mod">
          <ac:chgData name="Oğuz Öztekin" userId="33c0df0f-d5fe-4bda-8f43-141ad7af67e3" providerId="ADAL" clId="{48B824AD-1B2A-47A8-8D92-6FE6E622A650}" dt="2024-12-16T18:14:36.361" v="169344"/>
          <ac:spMkLst>
            <pc:docMk/>
            <pc:sldMk cId="3316977847" sldId="293"/>
            <ac:spMk id="361" creationId="{B2C5BBFB-30A3-0881-57C9-2A66F5958D57}"/>
          </ac:spMkLst>
        </pc:spChg>
        <pc:spChg chg="add del mod">
          <ac:chgData name="Oğuz Öztekin" userId="33c0df0f-d5fe-4bda-8f43-141ad7af67e3" providerId="ADAL" clId="{48B824AD-1B2A-47A8-8D92-6FE6E622A650}" dt="2024-12-16T18:14:36.362" v="169347"/>
          <ac:spMkLst>
            <pc:docMk/>
            <pc:sldMk cId="3316977847" sldId="293"/>
            <ac:spMk id="362" creationId="{5524D1FD-4A1D-1269-A31F-7B9079BC457D}"/>
          </ac:spMkLst>
        </pc:spChg>
        <pc:spChg chg="mod">
          <ac:chgData name="Oğuz Öztekin" userId="33c0df0f-d5fe-4bda-8f43-141ad7af67e3" providerId="ADAL" clId="{48B824AD-1B2A-47A8-8D92-6FE6E622A650}" dt="2024-12-16T18:21:37.203" v="179025"/>
          <ac:spMkLst>
            <pc:docMk/>
            <pc:sldMk cId="3316977847" sldId="293"/>
            <ac:spMk id="363" creationId="{46673161-CFE2-0A1D-A468-CD6F1CC6E53D}"/>
          </ac:spMkLst>
        </pc:spChg>
        <pc:spChg chg="add del mod">
          <ac:chgData name="Oğuz Öztekin" userId="33c0df0f-d5fe-4bda-8f43-141ad7af67e3" providerId="ADAL" clId="{48B824AD-1B2A-47A8-8D92-6FE6E622A650}" dt="2024-12-16T18:14:36.364" v="169350"/>
          <ac:spMkLst>
            <pc:docMk/>
            <pc:sldMk cId="3316977847" sldId="293"/>
            <ac:spMk id="364" creationId="{C0FB4ECA-DDF0-18B4-E967-330B0D0BD1CC}"/>
          </ac:spMkLst>
        </pc:spChg>
        <pc:spChg chg="add del mod">
          <ac:chgData name="Oğuz Öztekin" userId="33c0df0f-d5fe-4bda-8f43-141ad7af67e3" providerId="ADAL" clId="{48B824AD-1B2A-47A8-8D92-6FE6E622A650}" dt="2024-12-16T18:14:36.364" v="169353"/>
          <ac:spMkLst>
            <pc:docMk/>
            <pc:sldMk cId="3316977847" sldId="293"/>
            <ac:spMk id="365" creationId="{F30BCA0B-1C9C-6C11-1C6A-E9992409225D}"/>
          </ac:spMkLst>
        </pc:spChg>
        <pc:spChg chg="add del mod">
          <ac:chgData name="Oğuz Öztekin" userId="33c0df0f-d5fe-4bda-8f43-141ad7af67e3" providerId="ADAL" clId="{48B824AD-1B2A-47A8-8D92-6FE6E622A650}" dt="2024-12-16T18:14:36.365" v="169356"/>
          <ac:spMkLst>
            <pc:docMk/>
            <pc:sldMk cId="3316977847" sldId="293"/>
            <ac:spMk id="366" creationId="{D21EB58F-D184-DD57-C6FE-EFEEAEB7711D}"/>
          </ac:spMkLst>
        </pc:spChg>
        <pc:spChg chg="add del mod">
          <ac:chgData name="Oğuz Öztekin" userId="33c0df0f-d5fe-4bda-8f43-141ad7af67e3" providerId="ADAL" clId="{48B824AD-1B2A-47A8-8D92-6FE6E622A650}" dt="2024-12-16T18:14:36.366" v="169359"/>
          <ac:spMkLst>
            <pc:docMk/>
            <pc:sldMk cId="3316977847" sldId="293"/>
            <ac:spMk id="372" creationId="{35E8FB12-24DC-CCB2-1095-FAEDB249FFB4}"/>
          </ac:spMkLst>
        </pc:spChg>
        <pc:spChg chg="add del mod">
          <ac:chgData name="Oğuz Öztekin" userId="33c0df0f-d5fe-4bda-8f43-141ad7af67e3" providerId="ADAL" clId="{48B824AD-1B2A-47A8-8D92-6FE6E622A650}" dt="2024-12-16T18:14:36.367" v="169362"/>
          <ac:spMkLst>
            <pc:docMk/>
            <pc:sldMk cId="3316977847" sldId="293"/>
            <ac:spMk id="373" creationId="{E7A05C87-7EC3-BE91-E49A-B9A639164D2A}"/>
          </ac:spMkLst>
        </pc:spChg>
        <pc:spChg chg="add del mod">
          <ac:chgData name="Oğuz Öztekin" userId="33c0df0f-d5fe-4bda-8f43-141ad7af67e3" providerId="ADAL" clId="{48B824AD-1B2A-47A8-8D92-6FE6E622A650}" dt="2024-12-16T18:14:36.368" v="169365"/>
          <ac:spMkLst>
            <pc:docMk/>
            <pc:sldMk cId="3316977847" sldId="293"/>
            <ac:spMk id="374" creationId="{2F54A240-20FC-A2A1-67E0-A0643715082F}"/>
          </ac:spMkLst>
        </pc:spChg>
        <pc:spChg chg="add del mod">
          <ac:chgData name="Oğuz Öztekin" userId="33c0df0f-d5fe-4bda-8f43-141ad7af67e3" providerId="ADAL" clId="{48B824AD-1B2A-47A8-8D92-6FE6E622A650}" dt="2024-12-16T18:14:36.369" v="169368"/>
          <ac:spMkLst>
            <pc:docMk/>
            <pc:sldMk cId="3316977847" sldId="293"/>
            <ac:spMk id="375" creationId="{EDB7B60D-BD46-1A6F-8793-91B6720E758B}"/>
          </ac:spMkLst>
        </pc:spChg>
        <pc:spChg chg="add del mod">
          <ac:chgData name="Oğuz Öztekin" userId="33c0df0f-d5fe-4bda-8f43-141ad7af67e3" providerId="ADAL" clId="{48B824AD-1B2A-47A8-8D92-6FE6E622A650}" dt="2024-12-16T18:14:30.117" v="167622"/>
          <ac:spMkLst>
            <pc:docMk/>
            <pc:sldMk cId="3316977847" sldId="293"/>
            <ac:spMk id="376" creationId="{4A8C960A-06C7-013C-3585-F7E52A4A98C3}"/>
          </ac:spMkLst>
        </pc:spChg>
        <pc:spChg chg="add del mod">
          <ac:chgData name="Oğuz Öztekin" userId="33c0df0f-d5fe-4bda-8f43-141ad7af67e3" providerId="ADAL" clId="{48B824AD-1B2A-47A8-8D92-6FE6E622A650}" dt="2024-12-16T18:14:30.118" v="167625"/>
          <ac:spMkLst>
            <pc:docMk/>
            <pc:sldMk cId="3316977847" sldId="293"/>
            <ac:spMk id="377" creationId="{B404AA29-CE5F-3A9F-C0F6-B0515C798FAE}"/>
          </ac:spMkLst>
        </pc:spChg>
        <pc:spChg chg="add del mod">
          <ac:chgData name="Oğuz Öztekin" userId="33c0df0f-d5fe-4bda-8f43-141ad7af67e3" providerId="ADAL" clId="{48B824AD-1B2A-47A8-8D92-6FE6E622A650}" dt="2024-12-16T18:14:30.119" v="167628"/>
          <ac:spMkLst>
            <pc:docMk/>
            <pc:sldMk cId="3316977847" sldId="293"/>
            <ac:spMk id="378" creationId="{DD27F8B3-8C0A-2D47-8F59-A6072A5355FF}"/>
          </ac:spMkLst>
        </pc:spChg>
        <pc:spChg chg="add del mod">
          <ac:chgData name="Oğuz Öztekin" userId="33c0df0f-d5fe-4bda-8f43-141ad7af67e3" providerId="ADAL" clId="{48B824AD-1B2A-47A8-8D92-6FE6E622A650}" dt="2024-12-16T18:14:30.121" v="167631"/>
          <ac:spMkLst>
            <pc:docMk/>
            <pc:sldMk cId="3316977847" sldId="293"/>
            <ac:spMk id="379" creationId="{D3C632A0-9C21-9768-FACC-489C54F99A29}"/>
          </ac:spMkLst>
        </pc:spChg>
        <pc:spChg chg="add del mod">
          <ac:chgData name="Oğuz Öztekin" userId="33c0df0f-d5fe-4bda-8f43-141ad7af67e3" providerId="ADAL" clId="{48B824AD-1B2A-47A8-8D92-6FE6E622A650}" dt="2024-12-16T18:14:30.121" v="167634"/>
          <ac:spMkLst>
            <pc:docMk/>
            <pc:sldMk cId="3316977847" sldId="293"/>
            <ac:spMk id="380" creationId="{06585276-7C21-CAD8-2360-20177EDD3795}"/>
          </ac:spMkLst>
        </pc:spChg>
        <pc:spChg chg="add del mod">
          <ac:chgData name="Oğuz Öztekin" userId="33c0df0f-d5fe-4bda-8f43-141ad7af67e3" providerId="ADAL" clId="{48B824AD-1B2A-47A8-8D92-6FE6E622A650}" dt="2024-12-16T18:14:30.122" v="167637"/>
          <ac:spMkLst>
            <pc:docMk/>
            <pc:sldMk cId="3316977847" sldId="293"/>
            <ac:spMk id="381" creationId="{88E6BE63-86F1-0C1F-0183-90BD1BB957D3}"/>
          </ac:spMkLst>
        </pc:spChg>
        <pc:spChg chg="add del mod">
          <ac:chgData name="Oğuz Öztekin" userId="33c0df0f-d5fe-4bda-8f43-141ad7af67e3" providerId="ADAL" clId="{48B824AD-1B2A-47A8-8D92-6FE6E622A650}" dt="2024-12-16T18:14:30.123" v="167640"/>
          <ac:spMkLst>
            <pc:docMk/>
            <pc:sldMk cId="3316977847" sldId="293"/>
            <ac:spMk id="382" creationId="{85991193-06A7-0AB6-17F9-5FDB6CD78D70}"/>
          </ac:spMkLst>
        </pc:spChg>
        <pc:spChg chg="add del mod">
          <ac:chgData name="Oğuz Öztekin" userId="33c0df0f-d5fe-4bda-8f43-141ad7af67e3" providerId="ADAL" clId="{48B824AD-1B2A-47A8-8D92-6FE6E622A650}" dt="2024-12-16T18:14:30.123" v="167643"/>
          <ac:spMkLst>
            <pc:docMk/>
            <pc:sldMk cId="3316977847" sldId="293"/>
            <ac:spMk id="383" creationId="{C9B857DB-5FF5-00B6-FBF5-1BFEB4D77CB7}"/>
          </ac:spMkLst>
        </pc:spChg>
        <pc:spChg chg="add del mod">
          <ac:chgData name="Oğuz Öztekin" userId="33c0df0f-d5fe-4bda-8f43-141ad7af67e3" providerId="ADAL" clId="{48B824AD-1B2A-47A8-8D92-6FE6E622A650}" dt="2024-12-16T18:14:30.124" v="167646"/>
          <ac:spMkLst>
            <pc:docMk/>
            <pc:sldMk cId="3316977847" sldId="293"/>
            <ac:spMk id="384" creationId="{0754397E-DE3B-049A-EF04-108CECB9BDB7}"/>
          </ac:spMkLst>
        </pc:spChg>
        <pc:spChg chg="add del mod">
          <ac:chgData name="Oğuz Öztekin" userId="33c0df0f-d5fe-4bda-8f43-141ad7af67e3" providerId="ADAL" clId="{48B824AD-1B2A-47A8-8D92-6FE6E622A650}" dt="2024-12-16T18:14:30.125" v="167649"/>
          <ac:spMkLst>
            <pc:docMk/>
            <pc:sldMk cId="3316977847" sldId="293"/>
            <ac:spMk id="385" creationId="{DF235C25-8DE1-2194-599B-F1450056F2A9}"/>
          </ac:spMkLst>
        </pc:spChg>
        <pc:spChg chg="add del mod">
          <ac:chgData name="Oğuz Öztekin" userId="33c0df0f-d5fe-4bda-8f43-141ad7af67e3" providerId="ADAL" clId="{48B824AD-1B2A-47A8-8D92-6FE6E622A650}" dt="2024-12-16T18:14:30.125" v="167652"/>
          <ac:spMkLst>
            <pc:docMk/>
            <pc:sldMk cId="3316977847" sldId="293"/>
            <ac:spMk id="386" creationId="{D29087F1-9A22-93F6-7205-EF2DCEE8724C}"/>
          </ac:spMkLst>
        </pc:spChg>
        <pc:spChg chg="add del mod">
          <ac:chgData name="Oğuz Öztekin" userId="33c0df0f-d5fe-4bda-8f43-141ad7af67e3" providerId="ADAL" clId="{48B824AD-1B2A-47A8-8D92-6FE6E622A650}" dt="2024-12-16T18:14:30.127" v="167655"/>
          <ac:spMkLst>
            <pc:docMk/>
            <pc:sldMk cId="3316977847" sldId="293"/>
            <ac:spMk id="387" creationId="{9A7915E0-4A72-74C5-5E79-BD23FBAC547D}"/>
          </ac:spMkLst>
        </pc:spChg>
        <pc:spChg chg="add del mod">
          <ac:chgData name="Oğuz Öztekin" userId="33c0df0f-d5fe-4bda-8f43-141ad7af67e3" providerId="ADAL" clId="{48B824AD-1B2A-47A8-8D92-6FE6E622A650}" dt="2024-12-16T18:14:30.128" v="167658"/>
          <ac:spMkLst>
            <pc:docMk/>
            <pc:sldMk cId="3316977847" sldId="293"/>
            <ac:spMk id="388" creationId="{115430C5-A7AD-84E2-56E7-CE7E6334B192}"/>
          </ac:spMkLst>
        </pc:spChg>
        <pc:spChg chg="add del mod">
          <ac:chgData name="Oğuz Öztekin" userId="33c0df0f-d5fe-4bda-8f43-141ad7af67e3" providerId="ADAL" clId="{48B824AD-1B2A-47A8-8D92-6FE6E622A650}" dt="2024-12-16T18:14:30.128" v="167661"/>
          <ac:spMkLst>
            <pc:docMk/>
            <pc:sldMk cId="3316977847" sldId="293"/>
            <ac:spMk id="389" creationId="{73FAD2A2-04CA-D56A-DAF5-C835972C9BF8}"/>
          </ac:spMkLst>
        </pc:spChg>
        <pc:spChg chg="add del mod">
          <ac:chgData name="Oğuz Öztekin" userId="33c0df0f-d5fe-4bda-8f43-141ad7af67e3" providerId="ADAL" clId="{48B824AD-1B2A-47A8-8D92-6FE6E622A650}" dt="2024-12-16T18:14:30.129" v="167664"/>
          <ac:spMkLst>
            <pc:docMk/>
            <pc:sldMk cId="3316977847" sldId="293"/>
            <ac:spMk id="390" creationId="{E91B802C-5832-A3E9-F2FA-E53470D6981D}"/>
          </ac:spMkLst>
        </pc:spChg>
        <pc:spChg chg="add del mod">
          <ac:chgData name="Oğuz Öztekin" userId="33c0df0f-d5fe-4bda-8f43-141ad7af67e3" providerId="ADAL" clId="{48B824AD-1B2A-47A8-8D92-6FE6E622A650}" dt="2024-12-16T18:14:30.130" v="167667"/>
          <ac:spMkLst>
            <pc:docMk/>
            <pc:sldMk cId="3316977847" sldId="293"/>
            <ac:spMk id="391" creationId="{56B64CBA-DE12-AA55-4D27-66D17E39DAB5}"/>
          </ac:spMkLst>
        </pc:spChg>
        <pc:spChg chg="add del mod">
          <ac:chgData name="Oğuz Öztekin" userId="33c0df0f-d5fe-4bda-8f43-141ad7af67e3" providerId="ADAL" clId="{48B824AD-1B2A-47A8-8D92-6FE6E622A650}" dt="2024-12-16T18:14:30.131" v="167670"/>
          <ac:spMkLst>
            <pc:docMk/>
            <pc:sldMk cId="3316977847" sldId="293"/>
            <ac:spMk id="392" creationId="{8A76B74F-2F8C-E148-583C-22688402AD84}"/>
          </ac:spMkLst>
        </pc:spChg>
        <pc:spChg chg="add del mod">
          <ac:chgData name="Oğuz Öztekin" userId="33c0df0f-d5fe-4bda-8f43-141ad7af67e3" providerId="ADAL" clId="{48B824AD-1B2A-47A8-8D92-6FE6E622A650}" dt="2024-12-16T18:14:30.132" v="167673"/>
          <ac:spMkLst>
            <pc:docMk/>
            <pc:sldMk cId="3316977847" sldId="293"/>
            <ac:spMk id="393" creationId="{915CDCD2-31A4-B98B-0957-C70983AE8BAA}"/>
          </ac:spMkLst>
        </pc:spChg>
        <pc:spChg chg="add del mod">
          <ac:chgData name="Oğuz Öztekin" userId="33c0df0f-d5fe-4bda-8f43-141ad7af67e3" providerId="ADAL" clId="{48B824AD-1B2A-47A8-8D92-6FE6E622A650}" dt="2024-12-16T18:14:30.132" v="167676"/>
          <ac:spMkLst>
            <pc:docMk/>
            <pc:sldMk cId="3316977847" sldId="293"/>
            <ac:spMk id="394" creationId="{FB43781D-D046-4D35-8F22-42371AABAF61}"/>
          </ac:spMkLst>
        </pc:spChg>
        <pc:spChg chg="add del mod">
          <ac:chgData name="Oğuz Öztekin" userId="33c0df0f-d5fe-4bda-8f43-141ad7af67e3" providerId="ADAL" clId="{48B824AD-1B2A-47A8-8D92-6FE6E622A650}" dt="2024-12-16T18:14:30.133" v="167679"/>
          <ac:spMkLst>
            <pc:docMk/>
            <pc:sldMk cId="3316977847" sldId="293"/>
            <ac:spMk id="395" creationId="{ABD9F4B7-BDA7-4ED5-1FED-D07FEEF26ADF}"/>
          </ac:spMkLst>
        </pc:spChg>
        <pc:spChg chg="add del mod">
          <ac:chgData name="Oğuz Öztekin" userId="33c0df0f-d5fe-4bda-8f43-141ad7af67e3" providerId="ADAL" clId="{48B824AD-1B2A-47A8-8D92-6FE6E622A650}" dt="2024-12-16T18:14:23.888" v="165729"/>
          <ac:spMkLst>
            <pc:docMk/>
            <pc:sldMk cId="3316977847" sldId="293"/>
            <ac:spMk id="396" creationId="{6AEEE18F-673C-7B99-A011-9FB7464B80C2}"/>
          </ac:spMkLst>
        </pc:spChg>
        <pc:spChg chg="add del mod">
          <ac:chgData name="Oğuz Öztekin" userId="33c0df0f-d5fe-4bda-8f43-141ad7af67e3" providerId="ADAL" clId="{48B824AD-1B2A-47A8-8D92-6FE6E622A650}" dt="2024-12-16T18:14:23.889" v="165732"/>
          <ac:spMkLst>
            <pc:docMk/>
            <pc:sldMk cId="3316977847" sldId="293"/>
            <ac:spMk id="397" creationId="{8B38E872-39DD-7324-3C88-1186F2110684}"/>
          </ac:spMkLst>
        </pc:spChg>
        <pc:spChg chg="add del mod">
          <ac:chgData name="Oğuz Öztekin" userId="33c0df0f-d5fe-4bda-8f43-141ad7af67e3" providerId="ADAL" clId="{48B824AD-1B2A-47A8-8D92-6FE6E622A650}" dt="2024-12-16T18:14:23.890" v="165735"/>
          <ac:spMkLst>
            <pc:docMk/>
            <pc:sldMk cId="3316977847" sldId="293"/>
            <ac:spMk id="398" creationId="{75CE2AA2-DA47-6427-82C9-0F73E5DB9961}"/>
          </ac:spMkLst>
        </pc:spChg>
        <pc:spChg chg="add del mod">
          <ac:chgData name="Oğuz Öztekin" userId="33c0df0f-d5fe-4bda-8f43-141ad7af67e3" providerId="ADAL" clId="{48B824AD-1B2A-47A8-8D92-6FE6E622A650}" dt="2024-12-16T18:14:23.891" v="165738"/>
          <ac:spMkLst>
            <pc:docMk/>
            <pc:sldMk cId="3316977847" sldId="293"/>
            <ac:spMk id="399" creationId="{19FD8031-161E-03EB-8E98-F2BEE19C04B7}"/>
          </ac:spMkLst>
        </pc:spChg>
        <pc:spChg chg="add del mod">
          <ac:chgData name="Oğuz Öztekin" userId="33c0df0f-d5fe-4bda-8f43-141ad7af67e3" providerId="ADAL" clId="{48B824AD-1B2A-47A8-8D92-6FE6E622A650}" dt="2024-12-16T18:14:23.892" v="165741"/>
          <ac:spMkLst>
            <pc:docMk/>
            <pc:sldMk cId="3316977847" sldId="293"/>
            <ac:spMk id="400" creationId="{8AD1B791-9EEA-4F00-99D2-0FD2F3E53A0D}"/>
          </ac:spMkLst>
        </pc:spChg>
        <pc:spChg chg="add del mod">
          <ac:chgData name="Oğuz Öztekin" userId="33c0df0f-d5fe-4bda-8f43-141ad7af67e3" providerId="ADAL" clId="{48B824AD-1B2A-47A8-8D92-6FE6E622A650}" dt="2024-12-16T18:14:23.893" v="165744"/>
          <ac:spMkLst>
            <pc:docMk/>
            <pc:sldMk cId="3316977847" sldId="293"/>
            <ac:spMk id="401" creationId="{99ACF3B9-2BBB-BB4D-BF5E-1B06F19F5FBC}"/>
          </ac:spMkLst>
        </pc:spChg>
        <pc:spChg chg="add del mod">
          <ac:chgData name="Oğuz Öztekin" userId="33c0df0f-d5fe-4bda-8f43-141ad7af67e3" providerId="ADAL" clId="{48B824AD-1B2A-47A8-8D92-6FE6E622A650}" dt="2024-12-16T18:14:23.894" v="165747"/>
          <ac:spMkLst>
            <pc:docMk/>
            <pc:sldMk cId="3316977847" sldId="293"/>
            <ac:spMk id="402" creationId="{F30ABF4F-2250-7DA0-719C-A761C390E24B}"/>
          </ac:spMkLst>
        </pc:spChg>
        <pc:spChg chg="add del mod">
          <ac:chgData name="Oğuz Öztekin" userId="33c0df0f-d5fe-4bda-8f43-141ad7af67e3" providerId="ADAL" clId="{48B824AD-1B2A-47A8-8D92-6FE6E622A650}" dt="2024-12-16T18:14:23.894" v="165750"/>
          <ac:spMkLst>
            <pc:docMk/>
            <pc:sldMk cId="3316977847" sldId="293"/>
            <ac:spMk id="403" creationId="{2F5A55CE-5DBA-29F4-A8EB-DF769915BCEF}"/>
          </ac:spMkLst>
        </pc:spChg>
        <pc:spChg chg="add del mod">
          <ac:chgData name="Oğuz Öztekin" userId="33c0df0f-d5fe-4bda-8f43-141ad7af67e3" providerId="ADAL" clId="{48B824AD-1B2A-47A8-8D92-6FE6E622A650}" dt="2024-12-16T18:14:23.895" v="165753"/>
          <ac:spMkLst>
            <pc:docMk/>
            <pc:sldMk cId="3316977847" sldId="293"/>
            <ac:spMk id="404" creationId="{DD0ACA36-380D-42F7-2B12-9771F71B493A}"/>
          </ac:spMkLst>
        </pc:spChg>
        <pc:spChg chg="add del mod">
          <ac:chgData name="Oğuz Öztekin" userId="33c0df0f-d5fe-4bda-8f43-141ad7af67e3" providerId="ADAL" clId="{48B824AD-1B2A-47A8-8D92-6FE6E622A650}" dt="2024-12-16T18:14:23.896" v="165756"/>
          <ac:spMkLst>
            <pc:docMk/>
            <pc:sldMk cId="3316977847" sldId="293"/>
            <ac:spMk id="405" creationId="{925C1BA9-BFFE-27B8-8A75-435D371AC0D7}"/>
          </ac:spMkLst>
        </pc:spChg>
        <pc:spChg chg="add del mod">
          <ac:chgData name="Oğuz Öztekin" userId="33c0df0f-d5fe-4bda-8f43-141ad7af67e3" providerId="ADAL" clId="{48B824AD-1B2A-47A8-8D92-6FE6E622A650}" dt="2024-12-16T18:14:23.897" v="165759"/>
          <ac:spMkLst>
            <pc:docMk/>
            <pc:sldMk cId="3316977847" sldId="293"/>
            <ac:spMk id="406" creationId="{D9CA6862-CF8F-28D5-DA11-1B93973B0C09}"/>
          </ac:spMkLst>
        </pc:spChg>
        <pc:spChg chg="add del mod">
          <ac:chgData name="Oğuz Öztekin" userId="33c0df0f-d5fe-4bda-8f43-141ad7af67e3" providerId="ADAL" clId="{48B824AD-1B2A-47A8-8D92-6FE6E622A650}" dt="2024-12-16T18:14:23.898" v="165762"/>
          <ac:spMkLst>
            <pc:docMk/>
            <pc:sldMk cId="3316977847" sldId="293"/>
            <ac:spMk id="407" creationId="{BBDD9366-E5DF-9AF8-57D8-3AFCFD9A2E0F}"/>
          </ac:spMkLst>
        </pc:spChg>
        <pc:spChg chg="add del mod">
          <ac:chgData name="Oğuz Öztekin" userId="33c0df0f-d5fe-4bda-8f43-141ad7af67e3" providerId="ADAL" clId="{48B824AD-1B2A-47A8-8D92-6FE6E622A650}" dt="2024-12-16T18:14:23.899" v="165765"/>
          <ac:spMkLst>
            <pc:docMk/>
            <pc:sldMk cId="3316977847" sldId="293"/>
            <ac:spMk id="408" creationId="{59CD91A9-69B0-63C1-5151-D530DB0ECF9F}"/>
          </ac:spMkLst>
        </pc:spChg>
        <pc:spChg chg="add del mod">
          <ac:chgData name="Oğuz Öztekin" userId="33c0df0f-d5fe-4bda-8f43-141ad7af67e3" providerId="ADAL" clId="{48B824AD-1B2A-47A8-8D92-6FE6E622A650}" dt="2024-12-16T18:14:23.901" v="165768"/>
          <ac:spMkLst>
            <pc:docMk/>
            <pc:sldMk cId="3316977847" sldId="293"/>
            <ac:spMk id="409" creationId="{65295655-6354-1736-10E0-0B5003043E17}"/>
          </ac:spMkLst>
        </pc:spChg>
        <pc:spChg chg="add del mod">
          <ac:chgData name="Oğuz Öztekin" userId="33c0df0f-d5fe-4bda-8f43-141ad7af67e3" providerId="ADAL" clId="{48B824AD-1B2A-47A8-8D92-6FE6E622A650}" dt="2024-12-16T18:14:23.902" v="165771"/>
          <ac:spMkLst>
            <pc:docMk/>
            <pc:sldMk cId="3316977847" sldId="293"/>
            <ac:spMk id="410" creationId="{6EF8C1F4-1125-1E96-8321-D166137CBA9D}"/>
          </ac:spMkLst>
        </pc:spChg>
        <pc:spChg chg="add del mod">
          <ac:chgData name="Oğuz Öztekin" userId="33c0df0f-d5fe-4bda-8f43-141ad7af67e3" providerId="ADAL" clId="{48B824AD-1B2A-47A8-8D92-6FE6E622A650}" dt="2024-12-16T18:14:23.902" v="165774"/>
          <ac:spMkLst>
            <pc:docMk/>
            <pc:sldMk cId="3316977847" sldId="293"/>
            <ac:spMk id="411" creationId="{027D6577-A714-5128-ECF8-CD854B2FA5BF}"/>
          </ac:spMkLst>
        </pc:spChg>
        <pc:spChg chg="add del mod">
          <ac:chgData name="Oğuz Öztekin" userId="33c0df0f-d5fe-4bda-8f43-141ad7af67e3" providerId="ADAL" clId="{48B824AD-1B2A-47A8-8D92-6FE6E622A650}" dt="2024-12-16T18:14:23.903" v="165777"/>
          <ac:spMkLst>
            <pc:docMk/>
            <pc:sldMk cId="3316977847" sldId="293"/>
            <ac:spMk id="412" creationId="{EC6AF860-4186-DDA6-07DE-8BEA5EB7FF3C}"/>
          </ac:spMkLst>
        </pc:spChg>
        <pc:spChg chg="add del mod">
          <ac:chgData name="Oğuz Öztekin" userId="33c0df0f-d5fe-4bda-8f43-141ad7af67e3" providerId="ADAL" clId="{48B824AD-1B2A-47A8-8D92-6FE6E622A650}" dt="2024-12-16T18:14:23.904" v="165780"/>
          <ac:spMkLst>
            <pc:docMk/>
            <pc:sldMk cId="3316977847" sldId="293"/>
            <ac:spMk id="413" creationId="{ADA3FEEC-8348-D26A-126C-1D86B25B02A1}"/>
          </ac:spMkLst>
        </pc:spChg>
        <pc:spChg chg="add del mod">
          <ac:chgData name="Oğuz Öztekin" userId="33c0df0f-d5fe-4bda-8f43-141ad7af67e3" providerId="ADAL" clId="{48B824AD-1B2A-47A8-8D92-6FE6E622A650}" dt="2024-12-16T18:14:23.905" v="165783"/>
          <ac:spMkLst>
            <pc:docMk/>
            <pc:sldMk cId="3316977847" sldId="293"/>
            <ac:spMk id="414" creationId="{86104B1E-EB7F-2C1F-35E4-9D22D6D3573C}"/>
          </ac:spMkLst>
        </pc:spChg>
        <pc:spChg chg="add del mod">
          <ac:chgData name="Oğuz Öztekin" userId="33c0df0f-d5fe-4bda-8f43-141ad7af67e3" providerId="ADAL" clId="{48B824AD-1B2A-47A8-8D92-6FE6E622A650}" dt="2024-12-16T18:14:23.906" v="165786"/>
          <ac:spMkLst>
            <pc:docMk/>
            <pc:sldMk cId="3316977847" sldId="293"/>
            <ac:spMk id="415" creationId="{9208BDBF-779A-0457-1A01-3C74BDB88EE7}"/>
          </ac:spMkLst>
        </pc:spChg>
        <pc:spChg chg="add del mod modVis">
          <ac:chgData name="Oğuz Öztekin" userId="33c0df0f-d5fe-4bda-8f43-141ad7af67e3" providerId="ADAL" clId="{48B824AD-1B2A-47A8-8D92-6FE6E622A650}" dt="2024-12-16T18:14:23.800" v="165724"/>
          <ac:spMkLst>
            <pc:docMk/>
            <pc:sldMk cId="3316977847" sldId="293"/>
            <ac:spMk id="416" creationId="{CCB8E48D-9C4D-263A-91C4-6F52E4A2170C}"/>
          </ac:spMkLst>
        </pc:spChg>
        <pc:spChg chg="add del mod modVis">
          <ac:chgData name="Oğuz Öztekin" userId="33c0df0f-d5fe-4bda-8f43-141ad7af67e3" providerId="ADAL" clId="{48B824AD-1B2A-47A8-8D92-6FE6E622A650}" dt="2024-12-16T18:14:24.672" v="167617"/>
          <ac:spMkLst>
            <pc:docMk/>
            <pc:sldMk cId="3316977847" sldId="293"/>
            <ac:spMk id="604" creationId="{36A34837-466E-BCDA-239F-AD80C0544380}"/>
          </ac:spMkLst>
        </pc:spChg>
        <pc:spChg chg="add del mod modVis">
          <ac:chgData name="Oğuz Öztekin" userId="33c0df0f-d5fe-4bda-8f43-141ad7af67e3" providerId="ADAL" clId="{48B824AD-1B2A-47A8-8D92-6FE6E622A650}" dt="2024-12-16T18:14:30.780" v="169306"/>
          <ac:spMkLst>
            <pc:docMk/>
            <pc:sldMk cId="3316977847" sldId="293"/>
            <ac:spMk id="606" creationId="{5C032F28-F361-541C-BA30-25963C80A225}"/>
          </ac:spMkLst>
        </pc:spChg>
        <pc:spChg chg="add del mod modVis">
          <ac:chgData name="Oğuz Öztekin" userId="33c0df0f-d5fe-4bda-8f43-141ad7af67e3" providerId="ADAL" clId="{48B824AD-1B2A-47A8-8D92-6FE6E622A650}" dt="2024-12-16T18:14:37.032" v="170795"/>
          <ac:spMkLst>
            <pc:docMk/>
            <pc:sldMk cId="3316977847" sldId="293"/>
            <ac:spMk id="608" creationId="{7AB20D7C-0F59-D203-942A-0643CD5BE966}"/>
          </ac:spMkLst>
        </pc:spChg>
        <pc:spChg chg="add del mod modVis">
          <ac:chgData name="Oğuz Öztekin" userId="33c0df0f-d5fe-4bda-8f43-141ad7af67e3" providerId="ADAL" clId="{48B824AD-1B2A-47A8-8D92-6FE6E622A650}" dt="2024-12-16T18:14:42.493" v="172080"/>
          <ac:spMkLst>
            <pc:docMk/>
            <pc:sldMk cId="3316977847" sldId="293"/>
            <ac:spMk id="610" creationId="{CEE0296A-FF26-A5FE-6521-5A4F596F820C}"/>
          </ac:spMkLst>
        </pc:spChg>
        <pc:spChg chg="add del mod modVis">
          <ac:chgData name="Oğuz Öztekin" userId="33c0df0f-d5fe-4bda-8f43-141ad7af67e3" providerId="ADAL" clId="{48B824AD-1B2A-47A8-8D92-6FE6E622A650}" dt="2024-12-16T18:14:48.238" v="173165"/>
          <ac:spMkLst>
            <pc:docMk/>
            <pc:sldMk cId="3316977847" sldId="293"/>
            <ac:spMk id="612" creationId="{A6F5CAF0-6BF5-D969-8369-BD5E3FE45A62}"/>
          </ac:spMkLst>
        </pc:spChg>
        <pc:spChg chg="add del mod modVis">
          <ac:chgData name="Oğuz Öztekin" userId="33c0df0f-d5fe-4bda-8f43-141ad7af67e3" providerId="ADAL" clId="{48B824AD-1B2A-47A8-8D92-6FE6E622A650}" dt="2024-12-16T18:14:54.405" v="174050"/>
          <ac:spMkLst>
            <pc:docMk/>
            <pc:sldMk cId="3316977847" sldId="293"/>
            <ac:spMk id="614" creationId="{986D8745-1839-13DE-7B13-4E0EA10D3E16}"/>
          </ac:spMkLst>
        </pc:spChg>
        <pc:spChg chg="add del mod modVis">
          <ac:chgData name="Oğuz Öztekin" userId="33c0df0f-d5fe-4bda-8f43-141ad7af67e3" providerId="ADAL" clId="{48B824AD-1B2A-47A8-8D92-6FE6E622A650}" dt="2024-12-16T18:15:00.278" v="174735"/>
          <ac:spMkLst>
            <pc:docMk/>
            <pc:sldMk cId="3316977847" sldId="293"/>
            <ac:spMk id="616" creationId="{3E5D719F-1944-D7E9-4D7B-9B3E9F144CC8}"/>
          </ac:spMkLst>
        </pc:spChg>
        <pc:spChg chg="add del mod modVis">
          <ac:chgData name="Oğuz Öztekin" userId="33c0df0f-d5fe-4bda-8f43-141ad7af67e3" providerId="ADAL" clId="{48B824AD-1B2A-47A8-8D92-6FE6E622A650}" dt="2024-12-16T18:15:08.352" v="175256"/>
          <ac:spMkLst>
            <pc:docMk/>
            <pc:sldMk cId="3316977847" sldId="293"/>
            <ac:spMk id="618" creationId="{65CD90A8-22DF-7EF8-9B62-B0037A2EF6EC}"/>
          </ac:spMkLst>
        </pc:spChg>
        <pc:spChg chg="add del mod modVis">
          <ac:chgData name="Oğuz Öztekin" userId="33c0df0f-d5fe-4bda-8f43-141ad7af67e3" providerId="ADAL" clId="{48B824AD-1B2A-47A8-8D92-6FE6E622A650}" dt="2024-12-16T18:15:16.178" v="175563"/>
          <ac:spMkLst>
            <pc:docMk/>
            <pc:sldMk cId="3316977847" sldId="293"/>
            <ac:spMk id="620" creationId="{A708C686-D1ED-39C6-C11F-17013C54BEFA}"/>
          </ac:spMkLst>
        </pc:spChg>
        <pc:spChg chg="add del mod modVis">
          <ac:chgData name="Oğuz Öztekin" userId="33c0df0f-d5fe-4bda-8f43-141ad7af67e3" providerId="ADAL" clId="{48B824AD-1B2A-47A8-8D92-6FE6E622A650}" dt="2024-12-16T18:15:39.488" v="175695"/>
          <ac:spMkLst>
            <pc:docMk/>
            <pc:sldMk cId="3316977847" sldId="293"/>
            <ac:spMk id="622" creationId="{EE13C312-51A6-1973-A100-227899E64CA3}"/>
          </ac:spMkLst>
        </pc:spChg>
        <pc:spChg chg="add del mod modVis">
          <ac:chgData name="Oğuz Öztekin" userId="33c0df0f-d5fe-4bda-8f43-141ad7af67e3" providerId="ADAL" clId="{48B824AD-1B2A-47A8-8D92-6FE6E622A650}" dt="2024-12-16T18:15:41.674" v="175831"/>
          <ac:spMkLst>
            <pc:docMk/>
            <pc:sldMk cId="3316977847" sldId="293"/>
            <ac:spMk id="624" creationId="{0C64CB9E-8729-92FD-0F05-BE99B98AA605}"/>
          </ac:spMkLst>
        </pc:spChg>
        <pc:spChg chg="add del mod modVis">
          <ac:chgData name="Oğuz Öztekin" userId="33c0df0f-d5fe-4bda-8f43-141ad7af67e3" providerId="ADAL" clId="{48B824AD-1B2A-47A8-8D92-6FE6E622A650}" dt="2024-12-16T18:15:42.289" v="175963"/>
          <ac:spMkLst>
            <pc:docMk/>
            <pc:sldMk cId="3316977847" sldId="293"/>
            <ac:spMk id="626" creationId="{DB3EC4A2-03BF-7C6F-97D3-DFAD01849214}"/>
          </ac:spMkLst>
        </pc:spChg>
        <pc:spChg chg="add del mod modVis">
          <ac:chgData name="Oğuz Öztekin" userId="33c0df0f-d5fe-4bda-8f43-141ad7af67e3" providerId="ADAL" clId="{48B824AD-1B2A-47A8-8D92-6FE6E622A650}" dt="2024-12-16T18:15:44.141" v="176097"/>
          <ac:spMkLst>
            <pc:docMk/>
            <pc:sldMk cId="3316977847" sldId="293"/>
            <ac:spMk id="628" creationId="{D210090D-C45D-A9B1-A303-E69A7198D799}"/>
          </ac:spMkLst>
        </pc:spChg>
        <pc:spChg chg="add mod">
          <ac:chgData name="Oğuz Öztekin" userId="33c0df0f-d5fe-4bda-8f43-141ad7af67e3" providerId="ADAL" clId="{48B824AD-1B2A-47A8-8D92-6FE6E622A650}" dt="2024-12-16T18:21:37.207" v="179043"/>
          <ac:spMkLst>
            <pc:docMk/>
            <pc:sldMk cId="3316977847" sldId="293"/>
            <ac:spMk id="630" creationId="{97569206-65CE-A374-DE8A-CF0974A9E80C}"/>
          </ac:spMkLst>
        </pc:spChg>
        <pc:spChg chg="add del mod modVis">
          <ac:chgData name="Oğuz Öztekin" userId="33c0df0f-d5fe-4bda-8f43-141ad7af67e3" providerId="ADAL" clId="{48B824AD-1B2A-47A8-8D92-6FE6E622A650}" dt="2024-12-16T18:15:56.118" v="176276"/>
          <ac:spMkLst>
            <pc:docMk/>
            <pc:sldMk cId="3316977847" sldId="293"/>
            <ac:spMk id="631" creationId="{7CA30664-2CB1-F562-74D1-AB7B608CCCE4}"/>
          </ac:spMkLst>
        </pc:spChg>
        <pc:spChg chg="add mod">
          <ac:chgData name="Oğuz Öztekin" userId="33c0df0f-d5fe-4bda-8f43-141ad7af67e3" providerId="ADAL" clId="{48B824AD-1B2A-47A8-8D92-6FE6E622A650}" dt="2024-12-16T18:21:37.208" v="179050"/>
          <ac:spMkLst>
            <pc:docMk/>
            <pc:sldMk cId="3316977847" sldId="293"/>
            <ac:spMk id="634" creationId="{4AB7114E-6BCE-4148-DB15-39B483D42C6B}"/>
          </ac:spMkLst>
        </pc:spChg>
        <pc:spChg chg="add del mod modVis">
          <ac:chgData name="Oğuz Öztekin" userId="33c0df0f-d5fe-4bda-8f43-141ad7af67e3" providerId="ADAL" clId="{48B824AD-1B2A-47A8-8D92-6FE6E622A650}" dt="2024-12-16T18:16:00.068" v="176443"/>
          <ac:spMkLst>
            <pc:docMk/>
            <pc:sldMk cId="3316977847" sldId="293"/>
            <ac:spMk id="635" creationId="{985A9C1F-7E4B-CC1B-7273-50618C7EF1F4}"/>
          </ac:spMkLst>
        </pc:spChg>
        <pc:spChg chg="add mod">
          <ac:chgData name="Oğuz Öztekin" userId="33c0df0f-d5fe-4bda-8f43-141ad7af67e3" providerId="ADAL" clId="{48B824AD-1B2A-47A8-8D92-6FE6E622A650}" dt="2024-12-16T18:21:37.208" v="179046"/>
          <ac:spMkLst>
            <pc:docMk/>
            <pc:sldMk cId="3316977847" sldId="293"/>
            <ac:spMk id="637" creationId="{279F235A-203F-12CE-28CC-4B75F55EE114}"/>
          </ac:spMkLst>
        </pc:spChg>
        <pc:spChg chg="add del mod modVis">
          <ac:chgData name="Oğuz Öztekin" userId="33c0df0f-d5fe-4bda-8f43-141ad7af67e3" providerId="ADAL" clId="{48B824AD-1B2A-47A8-8D92-6FE6E622A650}" dt="2024-12-16T18:16:01.927" v="176648"/>
          <ac:spMkLst>
            <pc:docMk/>
            <pc:sldMk cId="3316977847" sldId="293"/>
            <ac:spMk id="638" creationId="{B59B33CA-72FE-2E8A-2B3F-1A12F763DB23}"/>
          </ac:spMkLst>
        </pc:spChg>
        <pc:spChg chg="add mod">
          <ac:chgData name="Oğuz Öztekin" userId="33c0df0f-d5fe-4bda-8f43-141ad7af67e3" providerId="ADAL" clId="{48B824AD-1B2A-47A8-8D92-6FE6E622A650}" dt="2024-12-16T18:21:37.208" v="179049"/>
          <ac:spMkLst>
            <pc:docMk/>
            <pc:sldMk cId="3316977847" sldId="293"/>
            <ac:spMk id="642" creationId="{A756850B-828B-8945-6FF2-848DAA0C88B8}"/>
          </ac:spMkLst>
        </pc:spChg>
        <pc:spChg chg="add del mod modVis">
          <ac:chgData name="Oğuz Öztekin" userId="33c0df0f-d5fe-4bda-8f43-141ad7af67e3" providerId="ADAL" clId="{48B824AD-1B2A-47A8-8D92-6FE6E622A650}" dt="2024-12-16T18:17:16.043" v="177610"/>
          <ac:spMkLst>
            <pc:docMk/>
            <pc:sldMk cId="3316977847" sldId="293"/>
            <ac:spMk id="643" creationId="{510CB443-A7C9-A3F9-C7C7-E55097B41242}"/>
          </ac:spMkLst>
        </pc:spChg>
        <pc:spChg chg="add del mod modVis">
          <ac:chgData name="Oğuz Öztekin" userId="33c0df0f-d5fe-4bda-8f43-141ad7af67e3" providerId="ADAL" clId="{48B824AD-1B2A-47A8-8D92-6FE6E622A650}" dt="2024-12-16T18:21:37.210" v="179052"/>
          <ac:spMkLst>
            <pc:docMk/>
            <pc:sldMk cId="3316977847" sldId="293"/>
            <ac:spMk id="645" creationId="{2653B0D9-05C0-8B0D-AADD-2EF107D656AC}"/>
          </ac:spMkLst>
        </pc:spChg>
        <pc:spChg chg="add del mod modVis">
          <ac:chgData name="Oğuz Öztekin" userId="33c0df0f-d5fe-4bda-8f43-141ad7af67e3" providerId="ADAL" clId="{48B824AD-1B2A-47A8-8D92-6FE6E622A650}" dt="2024-12-16T18:23:31.780" v="197084"/>
          <ac:spMkLst>
            <pc:docMk/>
            <pc:sldMk cId="3316977847" sldId="293"/>
            <ac:spMk id="647" creationId="{08EA367C-87A3-FE63-CBF2-79ED8131145D}"/>
          </ac:spMkLst>
        </pc:spChg>
        <pc:spChg chg="add del mod modVis">
          <ac:chgData name="Oğuz Öztekin" userId="33c0df0f-d5fe-4bda-8f43-141ad7af67e3" providerId="ADAL" clId="{48B824AD-1B2A-47A8-8D92-6FE6E622A650}" dt="2024-12-16T18:23:32.621" v="197112"/>
          <ac:spMkLst>
            <pc:docMk/>
            <pc:sldMk cId="3316977847" sldId="293"/>
            <ac:spMk id="648" creationId="{A71C09CF-73F4-4D29-39D4-CE58E792A7F2}"/>
          </ac:spMkLst>
        </pc:spChg>
        <pc:graphicFrameChg chg="mod">
          <ac:chgData name="Oğuz Öztekin" userId="33c0df0f-d5fe-4bda-8f43-141ad7af67e3" providerId="ADAL" clId="{48B824AD-1B2A-47A8-8D92-6FE6E622A650}" dt="2024-12-16T18:23:32.621" v="197114"/>
          <ac:graphicFrameMkLst>
            <pc:docMk/>
            <pc:sldMk cId="3316977847" sldId="293"/>
            <ac:graphicFrameMk id="3" creationId="{43B151A1-1BB8-A568-A7ED-EA1E478C888B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14:23.517" v="165112"/>
          <ac:graphicFrameMkLst>
            <pc:docMk/>
            <pc:sldMk cId="3316977847" sldId="293"/>
            <ac:graphicFrameMk id="371" creationId="{1AE93DA2-FEE9-E681-8ABF-5C54E67F256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4:24.477" v="167069"/>
          <ac:graphicFrameMkLst>
            <pc:docMk/>
            <pc:sldMk cId="3316977847" sldId="293"/>
            <ac:graphicFrameMk id="603" creationId="{1B1BF060-3EEF-4793-DF34-CE06A6EDBC9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4:30.594" v="168818"/>
          <ac:graphicFrameMkLst>
            <pc:docMk/>
            <pc:sldMk cId="3316977847" sldId="293"/>
            <ac:graphicFrameMk id="605" creationId="{6825996A-A150-23FC-FE60-A1CA2B71CE1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4:36.845" v="170367"/>
          <ac:graphicFrameMkLst>
            <pc:docMk/>
            <pc:sldMk cId="3316977847" sldId="293"/>
            <ac:graphicFrameMk id="607" creationId="{07F7021E-3387-42E3-8AB6-F8AB5298579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4:42.358" v="171712"/>
          <ac:graphicFrameMkLst>
            <pc:docMk/>
            <pc:sldMk cId="3316977847" sldId="293"/>
            <ac:graphicFrameMk id="609" creationId="{6DC50EDF-77C5-DF5A-FE4C-2A12E63B6BD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4:48.130" v="172857"/>
          <ac:graphicFrameMkLst>
            <pc:docMk/>
            <pc:sldMk cId="3316977847" sldId="293"/>
            <ac:graphicFrameMk id="611" creationId="{6F5C0456-EFC2-9232-4508-40B65DC704F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4:54.305" v="173802"/>
          <ac:graphicFrameMkLst>
            <pc:docMk/>
            <pc:sldMk cId="3316977847" sldId="293"/>
            <ac:graphicFrameMk id="613" creationId="{AEBF5E7A-1917-AD1C-B88E-E5547426736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5:00.202" v="174547"/>
          <ac:graphicFrameMkLst>
            <pc:docMk/>
            <pc:sldMk cId="3316977847" sldId="293"/>
            <ac:graphicFrameMk id="615" creationId="{9BF1F0DC-ED18-EAEE-4B09-FF006CE0E9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5:08.287" v="175128"/>
          <ac:graphicFrameMkLst>
            <pc:docMk/>
            <pc:sldMk cId="3316977847" sldId="293"/>
            <ac:graphicFrameMk id="617" creationId="{12861943-EEA1-1430-8A9B-5F1B4FA6EDB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5:16.142" v="175505"/>
          <ac:graphicFrameMkLst>
            <pc:docMk/>
            <pc:sldMk cId="3316977847" sldId="293"/>
            <ac:graphicFrameMk id="619" creationId="{C89A1752-3EB7-E98A-75D7-6CB69C127D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5:39.457" v="175637"/>
          <ac:graphicFrameMkLst>
            <pc:docMk/>
            <pc:sldMk cId="3316977847" sldId="293"/>
            <ac:graphicFrameMk id="621" creationId="{3A51BF52-9D53-3852-9D20-3673FE0D6CC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5:41.644" v="175773"/>
          <ac:graphicFrameMkLst>
            <pc:docMk/>
            <pc:sldMk cId="3316977847" sldId="293"/>
            <ac:graphicFrameMk id="623" creationId="{7F6477EA-2320-28DD-9BD6-959B5E81975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5:42.261" v="175905"/>
          <ac:graphicFrameMkLst>
            <pc:docMk/>
            <pc:sldMk cId="3316977847" sldId="293"/>
            <ac:graphicFrameMk id="625" creationId="{D8CB6FB2-1CA4-0F04-F460-81F78F563E8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5:44.112" v="176039"/>
          <ac:graphicFrameMkLst>
            <pc:docMk/>
            <pc:sldMk cId="3316977847" sldId="293"/>
            <ac:graphicFrameMk id="627" creationId="{49BF2987-6D44-8933-7583-872D6F9BFC4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5:56.076" v="176207"/>
          <ac:graphicFrameMkLst>
            <pc:docMk/>
            <pc:sldMk cId="3316977847" sldId="293"/>
            <ac:graphicFrameMk id="629" creationId="{CFA53460-0E01-4030-02FD-027B41AE009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6:00.026" v="176373"/>
          <ac:graphicFrameMkLst>
            <pc:docMk/>
            <pc:sldMk cId="3316977847" sldId="293"/>
            <ac:graphicFrameMk id="633" creationId="{D4145CFD-15A8-C675-8D1D-D66268CB334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6:01.882" v="176573"/>
          <ac:graphicFrameMkLst>
            <pc:docMk/>
            <pc:sldMk cId="3316977847" sldId="293"/>
            <ac:graphicFrameMk id="636" creationId="{B92C8234-B680-566D-EC02-29A5B4519C4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17:16" v="177534"/>
          <ac:graphicFrameMkLst>
            <pc:docMk/>
            <pc:sldMk cId="3316977847" sldId="293"/>
            <ac:graphicFrameMk id="641" creationId="{AFCC8E66-A62D-AFD4-BB3D-25A798F77B3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1:37.179" v="178984"/>
          <ac:graphicFrameMkLst>
            <pc:docMk/>
            <pc:sldMk cId="3316977847" sldId="293"/>
            <ac:graphicFrameMk id="644" creationId="{59129268-BB4B-CCFB-882F-95FD035746D4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21:37.197" v="178993"/>
          <ac:graphicFrameMkLst>
            <pc:docMk/>
            <pc:sldMk cId="3316977847" sldId="293"/>
            <ac:graphicFrameMk id="646" creationId="{2E97CD07-98F1-704C-A586-13041C21C3EB}"/>
          </ac:graphicFrameMkLst>
        </pc:graphicFrameChg>
        <pc:cxnChg chg="mod ord">
          <ac:chgData name="Oğuz Öztekin" userId="33c0df0f-d5fe-4bda-8f43-141ad7af67e3" providerId="ADAL" clId="{48B824AD-1B2A-47A8-8D92-6FE6E622A650}" dt="2024-12-16T18:21:37.198" v="179001"/>
          <ac:cxnSpMkLst>
            <pc:docMk/>
            <pc:sldMk cId="3316977847" sldId="293"/>
            <ac:cxnSpMk id="293" creationId="{D1623FDD-F992-C806-7BFD-286268660B59}"/>
          </ac:cxnSpMkLst>
        </pc:cxnChg>
        <pc:cxnChg chg="mod ord">
          <ac:chgData name="Oğuz Öztekin" userId="33c0df0f-d5fe-4bda-8f43-141ad7af67e3" providerId="ADAL" clId="{48B824AD-1B2A-47A8-8D92-6FE6E622A650}" dt="2024-12-16T18:21:37.197" v="178999"/>
          <ac:cxnSpMkLst>
            <pc:docMk/>
            <pc:sldMk cId="3316977847" sldId="293"/>
            <ac:cxnSpMk id="306" creationId="{1CD6D52F-4A0D-BCEB-2331-5BFCBFB3B777}"/>
          </ac:cxnSpMkLst>
        </pc:cxnChg>
        <pc:cxnChg chg="mod ord">
          <ac:chgData name="Oğuz Öztekin" userId="33c0df0f-d5fe-4bda-8f43-141ad7af67e3" providerId="ADAL" clId="{48B824AD-1B2A-47A8-8D92-6FE6E622A650}" dt="2024-12-16T18:21:37.198" v="179007"/>
          <ac:cxnSpMkLst>
            <pc:docMk/>
            <pc:sldMk cId="3316977847" sldId="293"/>
            <ac:cxnSpMk id="313" creationId="{D9CEEEA4-DE26-DAC7-398B-0A7873A412CB}"/>
          </ac:cxnSpMkLst>
        </pc:cxnChg>
        <pc:cxnChg chg="mod ord">
          <ac:chgData name="Oğuz Öztekin" userId="33c0df0f-d5fe-4bda-8f43-141ad7af67e3" providerId="ADAL" clId="{48B824AD-1B2A-47A8-8D92-6FE6E622A650}" dt="2024-12-16T18:21:37.199" v="179009"/>
          <ac:cxnSpMkLst>
            <pc:docMk/>
            <pc:sldMk cId="3316977847" sldId="293"/>
            <ac:cxnSpMk id="317" creationId="{D14C7923-429E-0A0B-9006-FB219936901B}"/>
          </ac:cxnSpMkLst>
        </pc:cxnChg>
        <pc:cxnChg chg="mod ord">
          <ac:chgData name="Oğuz Öztekin" userId="33c0df0f-d5fe-4bda-8f43-141ad7af67e3" providerId="ADAL" clId="{48B824AD-1B2A-47A8-8D92-6FE6E622A650}" dt="2024-12-16T18:21:37.199" v="179011"/>
          <ac:cxnSpMkLst>
            <pc:docMk/>
            <pc:sldMk cId="3316977847" sldId="293"/>
            <ac:cxnSpMk id="321" creationId="{126918A1-2007-5E61-64ED-994E6C35FA67}"/>
          </ac:cxnSpMkLst>
        </pc:cxnChg>
        <pc:cxnChg chg="mod ord">
          <ac:chgData name="Oğuz Öztekin" userId="33c0df0f-d5fe-4bda-8f43-141ad7af67e3" providerId="ADAL" clId="{48B824AD-1B2A-47A8-8D92-6FE6E622A650}" dt="2024-12-16T18:21:37.197" v="178997"/>
          <ac:cxnSpMkLst>
            <pc:docMk/>
            <pc:sldMk cId="3316977847" sldId="293"/>
            <ac:cxnSpMk id="367" creationId="{6771B627-04BF-A884-40CE-022B47B2F962}"/>
          </ac:cxnSpMkLst>
        </pc:cxnChg>
        <pc:cxnChg chg="mod ord">
          <ac:chgData name="Oğuz Öztekin" userId="33c0df0f-d5fe-4bda-8f43-141ad7af67e3" providerId="ADAL" clId="{48B824AD-1B2A-47A8-8D92-6FE6E622A650}" dt="2024-12-16T18:21:37.198" v="179003"/>
          <ac:cxnSpMkLst>
            <pc:docMk/>
            <pc:sldMk cId="3316977847" sldId="293"/>
            <ac:cxnSpMk id="368" creationId="{61C631FE-1325-E032-5CFF-2D64C8E75396}"/>
          </ac:cxnSpMkLst>
        </pc:cxnChg>
        <pc:cxnChg chg="mod ord">
          <ac:chgData name="Oğuz Öztekin" userId="33c0df0f-d5fe-4bda-8f43-141ad7af67e3" providerId="ADAL" clId="{48B824AD-1B2A-47A8-8D92-6FE6E622A650}" dt="2024-12-16T18:21:37.197" v="178995"/>
          <ac:cxnSpMkLst>
            <pc:docMk/>
            <pc:sldMk cId="3316977847" sldId="293"/>
            <ac:cxnSpMk id="369" creationId="{0D1478F5-5283-7CD2-96B2-58511A4B970F}"/>
          </ac:cxnSpMkLst>
        </pc:cxnChg>
        <pc:cxnChg chg="mod ord">
          <ac:chgData name="Oğuz Öztekin" userId="33c0df0f-d5fe-4bda-8f43-141ad7af67e3" providerId="ADAL" clId="{48B824AD-1B2A-47A8-8D92-6FE6E622A650}" dt="2024-12-16T18:21:37.198" v="179005"/>
          <ac:cxnSpMkLst>
            <pc:docMk/>
            <pc:sldMk cId="3316977847" sldId="293"/>
            <ac:cxnSpMk id="370" creationId="{F59BEE90-877A-C183-5FC7-5BC7614488B0}"/>
          </ac:cxnSpMkLst>
        </pc:cxnChg>
        <pc:cxnChg chg="add del mod ord">
          <ac:chgData name="Oğuz Öztekin" userId="33c0df0f-d5fe-4bda-8f43-141ad7af67e3" providerId="ADAL" clId="{48B824AD-1B2A-47A8-8D92-6FE6E622A650}" dt="2024-12-16T18:15:16.116" v="175415"/>
          <ac:cxnSpMkLst>
            <pc:docMk/>
            <pc:sldMk cId="3316977847" sldId="293"/>
            <ac:cxnSpMk id="417" creationId="{8E827BFF-3C07-F235-EA38-3AA6B69F18CF}"/>
          </ac:cxnSpMkLst>
        </pc:cxnChg>
        <pc:cxnChg chg="add mod ord">
          <ac:chgData name="Oğuz Öztekin" userId="33c0df0f-d5fe-4bda-8f43-141ad7af67e3" providerId="ADAL" clId="{48B824AD-1B2A-47A8-8D92-6FE6E622A650}" dt="2024-12-16T18:21:37.199" v="179013"/>
          <ac:cxnSpMkLst>
            <pc:docMk/>
            <pc:sldMk cId="3316977847" sldId="293"/>
            <ac:cxnSpMk id="418" creationId="{1F1B14DB-C29A-6945-8950-FFE9F3D4FF80}"/>
          </ac:cxnSpMkLst>
        </pc:cxnChg>
        <pc:cxnChg chg="add del mod ord">
          <ac:chgData name="Oğuz Öztekin" userId="33c0df0f-d5fe-4bda-8f43-141ad7af67e3" providerId="ADAL" clId="{48B824AD-1B2A-47A8-8D92-6FE6E622A650}" dt="2024-12-16T18:15:16.137" v="175491"/>
          <ac:cxnSpMkLst>
            <pc:docMk/>
            <pc:sldMk cId="3316977847" sldId="293"/>
            <ac:cxnSpMk id="419" creationId="{BD984EE8-8E98-9EFD-842B-1A3533072661}"/>
          </ac:cxnSpMkLst>
        </pc:cxnChg>
        <pc:cxnChg chg="add del mod ord">
          <ac:chgData name="Oğuz Öztekin" userId="33c0df0f-d5fe-4bda-8f43-141ad7af67e3" providerId="ADAL" clId="{48B824AD-1B2A-47A8-8D92-6FE6E622A650}" dt="2024-12-16T18:15:16.138" v="175495"/>
          <ac:cxnSpMkLst>
            <pc:docMk/>
            <pc:sldMk cId="3316977847" sldId="293"/>
            <ac:cxnSpMk id="420" creationId="{B0B6062F-8A78-857B-2BB0-954AE0006819}"/>
          </ac:cxnSpMkLst>
        </pc:cxnChg>
        <pc:cxnChg chg="add del mod ord">
          <ac:chgData name="Oğuz Öztekin" userId="33c0df0f-d5fe-4bda-8f43-141ad7af67e3" providerId="ADAL" clId="{48B824AD-1B2A-47A8-8D92-6FE6E622A650}" dt="2024-12-16T18:15:16.139" v="175499"/>
          <ac:cxnSpMkLst>
            <pc:docMk/>
            <pc:sldMk cId="3316977847" sldId="293"/>
            <ac:cxnSpMk id="421" creationId="{31F32A2D-0B19-E27C-755E-57FBF982CD2E}"/>
          </ac:cxnSpMkLst>
        </pc:cxnChg>
        <pc:cxnChg chg="add del mod ord">
          <ac:chgData name="Oğuz Öztekin" userId="33c0df0f-d5fe-4bda-8f43-141ad7af67e3" providerId="ADAL" clId="{48B824AD-1B2A-47A8-8D92-6FE6E622A650}" dt="2024-12-16T18:15:16.141" v="175503"/>
          <ac:cxnSpMkLst>
            <pc:docMk/>
            <pc:sldMk cId="3316977847" sldId="293"/>
            <ac:cxnSpMk id="422" creationId="{9D008639-4AA1-2EE3-5D08-C6B80026D2DC}"/>
          </ac:cxnSpMkLst>
        </pc:cxnChg>
        <pc:cxnChg chg="add del mod ord">
          <ac:chgData name="Oğuz Öztekin" userId="33c0df0f-d5fe-4bda-8f43-141ad7af67e3" providerId="ADAL" clId="{48B824AD-1B2A-47A8-8D92-6FE6E622A650}" dt="2024-12-16T18:15:16.024" v="175260"/>
          <ac:cxnSpMkLst>
            <pc:docMk/>
            <pc:sldMk cId="3316977847" sldId="293"/>
            <ac:cxnSpMk id="423" creationId="{34AE3075-969F-EE3A-5728-AFFB40DAA271}"/>
          </ac:cxnSpMkLst>
        </pc:cxnChg>
        <pc:cxnChg chg="add del mod ord">
          <ac:chgData name="Oğuz Öztekin" userId="33c0df0f-d5fe-4bda-8f43-141ad7af67e3" providerId="ADAL" clId="{48B824AD-1B2A-47A8-8D92-6FE6E622A650}" dt="2024-12-16T18:15:16.025" v="175263"/>
          <ac:cxnSpMkLst>
            <pc:docMk/>
            <pc:sldMk cId="3316977847" sldId="293"/>
            <ac:cxnSpMk id="424" creationId="{5423D5C1-00A8-0DEC-8780-A28553F87AB1}"/>
          </ac:cxnSpMkLst>
        </pc:cxnChg>
        <pc:cxnChg chg="add del mod ord">
          <ac:chgData name="Oğuz Öztekin" userId="33c0df0f-d5fe-4bda-8f43-141ad7af67e3" providerId="ADAL" clId="{48B824AD-1B2A-47A8-8D92-6FE6E622A650}" dt="2024-12-16T18:15:16.025" v="175266"/>
          <ac:cxnSpMkLst>
            <pc:docMk/>
            <pc:sldMk cId="3316977847" sldId="293"/>
            <ac:cxnSpMk id="425" creationId="{E5C18264-F761-129C-02AE-1656AD0CD704}"/>
          </ac:cxnSpMkLst>
        </pc:cxnChg>
        <pc:cxnChg chg="add del mod ord">
          <ac:chgData name="Oğuz Öztekin" userId="33c0df0f-d5fe-4bda-8f43-141ad7af67e3" providerId="ADAL" clId="{48B824AD-1B2A-47A8-8D92-6FE6E622A650}" dt="2024-12-16T18:15:16.027" v="175269"/>
          <ac:cxnSpMkLst>
            <pc:docMk/>
            <pc:sldMk cId="3316977847" sldId="293"/>
            <ac:cxnSpMk id="426" creationId="{1CC8D9CE-E919-81CF-30A0-C77CDF0E7BF3}"/>
          </ac:cxnSpMkLst>
        </pc:cxnChg>
        <pc:cxnChg chg="add del mod ord">
          <ac:chgData name="Oğuz Öztekin" userId="33c0df0f-d5fe-4bda-8f43-141ad7af67e3" providerId="ADAL" clId="{48B824AD-1B2A-47A8-8D92-6FE6E622A650}" dt="2024-12-16T18:15:16.027" v="175272"/>
          <ac:cxnSpMkLst>
            <pc:docMk/>
            <pc:sldMk cId="3316977847" sldId="293"/>
            <ac:cxnSpMk id="427" creationId="{98E79870-35FF-9428-D435-F64E1B084E2E}"/>
          </ac:cxnSpMkLst>
        </pc:cxnChg>
        <pc:cxnChg chg="add del mod ord">
          <ac:chgData name="Oğuz Öztekin" userId="33c0df0f-d5fe-4bda-8f43-141ad7af67e3" providerId="ADAL" clId="{48B824AD-1B2A-47A8-8D92-6FE6E622A650}" dt="2024-12-16T18:15:16.028" v="175275"/>
          <ac:cxnSpMkLst>
            <pc:docMk/>
            <pc:sldMk cId="3316977847" sldId="293"/>
            <ac:cxnSpMk id="428" creationId="{C5AD98E8-77DD-218A-B760-BD5B432E82CA}"/>
          </ac:cxnSpMkLst>
        </pc:cxnChg>
        <pc:cxnChg chg="add del mod ord">
          <ac:chgData name="Oğuz Öztekin" userId="33c0df0f-d5fe-4bda-8f43-141ad7af67e3" providerId="ADAL" clId="{48B824AD-1B2A-47A8-8D92-6FE6E622A650}" dt="2024-12-16T18:15:16.029" v="175278"/>
          <ac:cxnSpMkLst>
            <pc:docMk/>
            <pc:sldMk cId="3316977847" sldId="293"/>
            <ac:cxnSpMk id="429" creationId="{198240D4-5305-ACE6-6C4D-B74E3F71468D}"/>
          </ac:cxnSpMkLst>
        </pc:cxnChg>
        <pc:cxnChg chg="add del mod ord">
          <ac:chgData name="Oğuz Öztekin" userId="33c0df0f-d5fe-4bda-8f43-141ad7af67e3" providerId="ADAL" clId="{48B824AD-1B2A-47A8-8D92-6FE6E622A650}" dt="2024-12-16T18:15:16.029" v="175281"/>
          <ac:cxnSpMkLst>
            <pc:docMk/>
            <pc:sldMk cId="3316977847" sldId="293"/>
            <ac:cxnSpMk id="430" creationId="{9E9E5154-B7A8-16E1-DB91-A30B678CC3C9}"/>
          </ac:cxnSpMkLst>
        </pc:cxnChg>
        <pc:cxnChg chg="add del mod ord">
          <ac:chgData name="Oğuz Öztekin" userId="33c0df0f-d5fe-4bda-8f43-141ad7af67e3" providerId="ADAL" clId="{48B824AD-1B2A-47A8-8D92-6FE6E622A650}" dt="2024-12-16T18:15:16.030" v="175284"/>
          <ac:cxnSpMkLst>
            <pc:docMk/>
            <pc:sldMk cId="3316977847" sldId="293"/>
            <ac:cxnSpMk id="431" creationId="{2610B8D1-4670-714B-0C65-558A4DDAEF79}"/>
          </ac:cxnSpMkLst>
        </pc:cxnChg>
        <pc:cxnChg chg="add del mod ord">
          <ac:chgData name="Oğuz Öztekin" userId="33c0df0f-d5fe-4bda-8f43-141ad7af67e3" providerId="ADAL" clId="{48B824AD-1B2A-47A8-8D92-6FE6E622A650}" dt="2024-12-16T18:15:16.032" v="175287"/>
          <ac:cxnSpMkLst>
            <pc:docMk/>
            <pc:sldMk cId="3316977847" sldId="293"/>
            <ac:cxnSpMk id="432" creationId="{C9B713E5-12F4-7EEF-DD42-B4465E53CCAC}"/>
          </ac:cxnSpMkLst>
        </pc:cxnChg>
        <pc:cxnChg chg="add del mod ord">
          <ac:chgData name="Oğuz Öztekin" userId="33c0df0f-d5fe-4bda-8f43-141ad7af67e3" providerId="ADAL" clId="{48B824AD-1B2A-47A8-8D92-6FE6E622A650}" dt="2024-12-16T18:15:16.032" v="175290"/>
          <ac:cxnSpMkLst>
            <pc:docMk/>
            <pc:sldMk cId="3316977847" sldId="293"/>
            <ac:cxnSpMk id="433" creationId="{56A03543-ACE3-3768-C2C3-C5C7492EDFD5}"/>
          </ac:cxnSpMkLst>
        </pc:cxnChg>
        <pc:cxnChg chg="add del mod ord">
          <ac:chgData name="Oğuz Öztekin" userId="33c0df0f-d5fe-4bda-8f43-141ad7af67e3" providerId="ADAL" clId="{48B824AD-1B2A-47A8-8D92-6FE6E622A650}" dt="2024-12-16T18:15:16.033" v="175293"/>
          <ac:cxnSpMkLst>
            <pc:docMk/>
            <pc:sldMk cId="3316977847" sldId="293"/>
            <ac:cxnSpMk id="434" creationId="{7B232B85-7F53-BBDA-5061-CD55011E9F29}"/>
          </ac:cxnSpMkLst>
        </pc:cxnChg>
        <pc:cxnChg chg="add del mod ord">
          <ac:chgData name="Oğuz Öztekin" userId="33c0df0f-d5fe-4bda-8f43-141ad7af67e3" providerId="ADAL" clId="{48B824AD-1B2A-47A8-8D92-6FE6E622A650}" dt="2024-12-16T18:15:16.034" v="175296"/>
          <ac:cxnSpMkLst>
            <pc:docMk/>
            <pc:sldMk cId="3316977847" sldId="293"/>
            <ac:cxnSpMk id="435" creationId="{6A35F59C-FE88-AD86-A24D-E7B6AE1A2BB5}"/>
          </ac:cxnSpMkLst>
        </pc:cxnChg>
        <pc:cxnChg chg="add del mod ord">
          <ac:chgData name="Oğuz Öztekin" userId="33c0df0f-d5fe-4bda-8f43-141ad7af67e3" providerId="ADAL" clId="{48B824AD-1B2A-47A8-8D92-6FE6E622A650}" dt="2024-12-16T18:15:16.035" v="175299"/>
          <ac:cxnSpMkLst>
            <pc:docMk/>
            <pc:sldMk cId="3316977847" sldId="293"/>
            <ac:cxnSpMk id="436" creationId="{82D6F3A3-3168-FEE6-B2BF-29063D062D95}"/>
          </ac:cxnSpMkLst>
        </pc:cxnChg>
        <pc:cxnChg chg="add del mod ord">
          <ac:chgData name="Oğuz Öztekin" userId="33c0df0f-d5fe-4bda-8f43-141ad7af67e3" providerId="ADAL" clId="{48B824AD-1B2A-47A8-8D92-6FE6E622A650}" dt="2024-12-16T18:15:16.036" v="175302"/>
          <ac:cxnSpMkLst>
            <pc:docMk/>
            <pc:sldMk cId="3316977847" sldId="293"/>
            <ac:cxnSpMk id="437" creationId="{44DD8C13-3229-1993-13A8-1AE76E926137}"/>
          </ac:cxnSpMkLst>
        </pc:cxnChg>
        <pc:cxnChg chg="add del mod ord">
          <ac:chgData name="Oğuz Öztekin" userId="33c0df0f-d5fe-4bda-8f43-141ad7af67e3" providerId="ADAL" clId="{48B824AD-1B2A-47A8-8D92-6FE6E622A650}" dt="2024-12-16T18:15:16.037" v="175305"/>
          <ac:cxnSpMkLst>
            <pc:docMk/>
            <pc:sldMk cId="3316977847" sldId="293"/>
            <ac:cxnSpMk id="438" creationId="{A8A7926B-1130-24D4-D1E1-42AB9957D27C}"/>
          </ac:cxnSpMkLst>
        </pc:cxnChg>
        <pc:cxnChg chg="add del mod ord">
          <ac:chgData name="Oğuz Öztekin" userId="33c0df0f-d5fe-4bda-8f43-141ad7af67e3" providerId="ADAL" clId="{48B824AD-1B2A-47A8-8D92-6FE6E622A650}" dt="2024-12-16T18:15:16.037" v="175308"/>
          <ac:cxnSpMkLst>
            <pc:docMk/>
            <pc:sldMk cId="3316977847" sldId="293"/>
            <ac:cxnSpMk id="439" creationId="{0AA29601-9E25-F3EF-05A1-C4065B899E27}"/>
          </ac:cxnSpMkLst>
        </pc:cxnChg>
        <pc:cxnChg chg="add del mod ord">
          <ac:chgData name="Oğuz Öztekin" userId="33c0df0f-d5fe-4bda-8f43-141ad7af67e3" providerId="ADAL" clId="{48B824AD-1B2A-47A8-8D92-6FE6E622A650}" dt="2024-12-16T18:15:16.038" v="175311"/>
          <ac:cxnSpMkLst>
            <pc:docMk/>
            <pc:sldMk cId="3316977847" sldId="293"/>
            <ac:cxnSpMk id="440" creationId="{5B1D41C6-879B-7F08-7958-39EC6ABB29C3}"/>
          </ac:cxnSpMkLst>
        </pc:cxnChg>
        <pc:cxnChg chg="add del mod ord">
          <ac:chgData name="Oğuz Öztekin" userId="33c0df0f-d5fe-4bda-8f43-141ad7af67e3" providerId="ADAL" clId="{48B824AD-1B2A-47A8-8D92-6FE6E622A650}" dt="2024-12-16T18:15:16.039" v="175314"/>
          <ac:cxnSpMkLst>
            <pc:docMk/>
            <pc:sldMk cId="3316977847" sldId="293"/>
            <ac:cxnSpMk id="441" creationId="{32DABB3F-A6A1-F12F-095D-BF754B6D3796}"/>
          </ac:cxnSpMkLst>
        </pc:cxnChg>
        <pc:cxnChg chg="add del mod ord">
          <ac:chgData name="Oğuz Öztekin" userId="33c0df0f-d5fe-4bda-8f43-141ad7af67e3" providerId="ADAL" clId="{48B824AD-1B2A-47A8-8D92-6FE6E622A650}" dt="2024-12-16T18:15:16.039" v="175317"/>
          <ac:cxnSpMkLst>
            <pc:docMk/>
            <pc:sldMk cId="3316977847" sldId="293"/>
            <ac:cxnSpMk id="442" creationId="{BC8C0BEF-3BC2-923C-F633-8A6BFAD9F8E0}"/>
          </ac:cxnSpMkLst>
        </pc:cxnChg>
        <pc:cxnChg chg="add del mod ord">
          <ac:chgData name="Oğuz Öztekin" userId="33c0df0f-d5fe-4bda-8f43-141ad7af67e3" providerId="ADAL" clId="{48B824AD-1B2A-47A8-8D92-6FE6E622A650}" dt="2024-12-16T18:15:08.083" v="174739"/>
          <ac:cxnSpMkLst>
            <pc:docMk/>
            <pc:sldMk cId="3316977847" sldId="293"/>
            <ac:cxnSpMk id="443" creationId="{662A9CAC-883E-6D3C-EF0E-452A4AABA100}"/>
          </ac:cxnSpMkLst>
        </pc:cxnChg>
        <pc:cxnChg chg="add del mod ord">
          <ac:chgData name="Oğuz Öztekin" userId="33c0df0f-d5fe-4bda-8f43-141ad7af67e3" providerId="ADAL" clId="{48B824AD-1B2A-47A8-8D92-6FE6E622A650}" dt="2024-12-16T18:15:08.084" v="174742"/>
          <ac:cxnSpMkLst>
            <pc:docMk/>
            <pc:sldMk cId="3316977847" sldId="293"/>
            <ac:cxnSpMk id="444" creationId="{AF755B7F-2383-5487-12A8-ED78A694A82F}"/>
          </ac:cxnSpMkLst>
        </pc:cxnChg>
        <pc:cxnChg chg="add del mod ord">
          <ac:chgData name="Oğuz Öztekin" userId="33c0df0f-d5fe-4bda-8f43-141ad7af67e3" providerId="ADAL" clId="{48B824AD-1B2A-47A8-8D92-6FE6E622A650}" dt="2024-12-16T18:15:08.084" v="174745"/>
          <ac:cxnSpMkLst>
            <pc:docMk/>
            <pc:sldMk cId="3316977847" sldId="293"/>
            <ac:cxnSpMk id="445" creationId="{F1430FCC-D8F2-016B-3945-1A4E376966B3}"/>
          </ac:cxnSpMkLst>
        </pc:cxnChg>
        <pc:cxnChg chg="add del mod ord">
          <ac:chgData name="Oğuz Öztekin" userId="33c0df0f-d5fe-4bda-8f43-141ad7af67e3" providerId="ADAL" clId="{48B824AD-1B2A-47A8-8D92-6FE6E622A650}" dt="2024-12-16T18:15:08.085" v="174748"/>
          <ac:cxnSpMkLst>
            <pc:docMk/>
            <pc:sldMk cId="3316977847" sldId="293"/>
            <ac:cxnSpMk id="446" creationId="{F5283C46-5C97-03B4-808F-6D14DC4F949E}"/>
          </ac:cxnSpMkLst>
        </pc:cxnChg>
        <pc:cxnChg chg="add del mod ord">
          <ac:chgData name="Oğuz Öztekin" userId="33c0df0f-d5fe-4bda-8f43-141ad7af67e3" providerId="ADAL" clId="{48B824AD-1B2A-47A8-8D92-6FE6E622A650}" dt="2024-12-16T18:15:08.086" v="174751"/>
          <ac:cxnSpMkLst>
            <pc:docMk/>
            <pc:sldMk cId="3316977847" sldId="293"/>
            <ac:cxnSpMk id="447" creationId="{2C8D01AE-D91B-7E51-37E6-21E553F68E32}"/>
          </ac:cxnSpMkLst>
        </pc:cxnChg>
        <pc:cxnChg chg="add del mod ord">
          <ac:chgData name="Oğuz Öztekin" userId="33c0df0f-d5fe-4bda-8f43-141ad7af67e3" providerId="ADAL" clId="{48B824AD-1B2A-47A8-8D92-6FE6E622A650}" dt="2024-12-16T18:15:08.086" v="174754"/>
          <ac:cxnSpMkLst>
            <pc:docMk/>
            <pc:sldMk cId="3316977847" sldId="293"/>
            <ac:cxnSpMk id="448" creationId="{92D04820-0C8C-1A56-034E-2D1AAAA96012}"/>
          </ac:cxnSpMkLst>
        </pc:cxnChg>
        <pc:cxnChg chg="add del mod ord">
          <ac:chgData name="Oğuz Öztekin" userId="33c0df0f-d5fe-4bda-8f43-141ad7af67e3" providerId="ADAL" clId="{48B824AD-1B2A-47A8-8D92-6FE6E622A650}" dt="2024-12-16T18:15:08.088" v="174757"/>
          <ac:cxnSpMkLst>
            <pc:docMk/>
            <pc:sldMk cId="3316977847" sldId="293"/>
            <ac:cxnSpMk id="449" creationId="{6848E1D8-E176-C45D-C46F-BC17BBFFE98A}"/>
          </ac:cxnSpMkLst>
        </pc:cxnChg>
        <pc:cxnChg chg="add del mod ord">
          <ac:chgData name="Oğuz Öztekin" userId="33c0df0f-d5fe-4bda-8f43-141ad7af67e3" providerId="ADAL" clId="{48B824AD-1B2A-47A8-8D92-6FE6E622A650}" dt="2024-12-16T18:15:08.089" v="174760"/>
          <ac:cxnSpMkLst>
            <pc:docMk/>
            <pc:sldMk cId="3316977847" sldId="293"/>
            <ac:cxnSpMk id="450" creationId="{B98C3C08-1B3B-9864-297D-60A3787ADA71}"/>
          </ac:cxnSpMkLst>
        </pc:cxnChg>
        <pc:cxnChg chg="add del mod ord">
          <ac:chgData name="Oğuz Öztekin" userId="33c0df0f-d5fe-4bda-8f43-141ad7af67e3" providerId="ADAL" clId="{48B824AD-1B2A-47A8-8D92-6FE6E622A650}" dt="2024-12-16T18:15:08.089" v="174763"/>
          <ac:cxnSpMkLst>
            <pc:docMk/>
            <pc:sldMk cId="3316977847" sldId="293"/>
            <ac:cxnSpMk id="451" creationId="{C2F2F823-87BB-0ABF-2BC7-FDEBF9A8150E}"/>
          </ac:cxnSpMkLst>
        </pc:cxnChg>
        <pc:cxnChg chg="add del mod ord">
          <ac:chgData name="Oğuz Öztekin" userId="33c0df0f-d5fe-4bda-8f43-141ad7af67e3" providerId="ADAL" clId="{48B824AD-1B2A-47A8-8D92-6FE6E622A650}" dt="2024-12-16T18:15:08.090" v="174766"/>
          <ac:cxnSpMkLst>
            <pc:docMk/>
            <pc:sldMk cId="3316977847" sldId="293"/>
            <ac:cxnSpMk id="452" creationId="{7C3CA4A3-5558-42A1-D4BD-EFFE1796CECC}"/>
          </ac:cxnSpMkLst>
        </pc:cxnChg>
        <pc:cxnChg chg="add del mod ord">
          <ac:chgData name="Oğuz Öztekin" userId="33c0df0f-d5fe-4bda-8f43-141ad7af67e3" providerId="ADAL" clId="{48B824AD-1B2A-47A8-8D92-6FE6E622A650}" dt="2024-12-16T18:15:08.092" v="174769"/>
          <ac:cxnSpMkLst>
            <pc:docMk/>
            <pc:sldMk cId="3316977847" sldId="293"/>
            <ac:cxnSpMk id="453" creationId="{88EF7201-4ABB-4111-077F-532F0C297025}"/>
          </ac:cxnSpMkLst>
        </pc:cxnChg>
        <pc:cxnChg chg="add del mod ord">
          <ac:chgData name="Oğuz Öztekin" userId="33c0df0f-d5fe-4bda-8f43-141ad7af67e3" providerId="ADAL" clId="{48B824AD-1B2A-47A8-8D92-6FE6E622A650}" dt="2024-12-16T18:15:08.093" v="174772"/>
          <ac:cxnSpMkLst>
            <pc:docMk/>
            <pc:sldMk cId="3316977847" sldId="293"/>
            <ac:cxnSpMk id="454" creationId="{44753CD3-BE16-1216-305B-4A8EB9A52015}"/>
          </ac:cxnSpMkLst>
        </pc:cxnChg>
        <pc:cxnChg chg="add del mod ord">
          <ac:chgData name="Oğuz Öztekin" userId="33c0df0f-d5fe-4bda-8f43-141ad7af67e3" providerId="ADAL" clId="{48B824AD-1B2A-47A8-8D92-6FE6E622A650}" dt="2024-12-16T18:15:08.094" v="174775"/>
          <ac:cxnSpMkLst>
            <pc:docMk/>
            <pc:sldMk cId="3316977847" sldId="293"/>
            <ac:cxnSpMk id="455" creationId="{8330D338-44DB-8EFF-4B4F-D3A477EFD620}"/>
          </ac:cxnSpMkLst>
        </pc:cxnChg>
        <pc:cxnChg chg="add del mod ord">
          <ac:chgData name="Oğuz Öztekin" userId="33c0df0f-d5fe-4bda-8f43-141ad7af67e3" providerId="ADAL" clId="{48B824AD-1B2A-47A8-8D92-6FE6E622A650}" dt="2024-12-16T18:15:08.094" v="174778"/>
          <ac:cxnSpMkLst>
            <pc:docMk/>
            <pc:sldMk cId="3316977847" sldId="293"/>
            <ac:cxnSpMk id="456" creationId="{178DCFB4-0467-2B42-1B5F-1639C3FCAD91}"/>
          </ac:cxnSpMkLst>
        </pc:cxnChg>
        <pc:cxnChg chg="add del mod ord">
          <ac:chgData name="Oğuz Öztekin" userId="33c0df0f-d5fe-4bda-8f43-141ad7af67e3" providerId="ADAL" clId="{48B824AD-1B2A-47A8-8D92-6FE6E622A650}" dt="2024-12-16T18:15:08.095" v="174781"/>
          <ac:cxnSpMkLst>
            <pc:docMk/>
            <pc:sldMk cId="3316977847" sldId="293"/>
            <ac:cxnSpMk id="457" creationId="{8A6E1F55-FF82-436E-EFC3-137D5080BBE3}"/>
          </ac:cxnSpMkLst>
        </pc:cxnChg>
        <pc:cxnChg chg="add del mod ord">
          <ac:chgData name="Oğuz Öztekin" userId="33c0df0f-d5fe-4bda-8f43-141ad7af67e3" providerId="ADAL" clId="{48B824AD-1B2A-47A8-8D92-6FE6E622A650}" dt="2024-12-16T18:15:08.096" v="174784"/>
          <ac:cxnSpMkLst>
            <pc:docMk/>
            <pc:sldMk cId="3316977847" sldId="293"/>
            <ac:cxnSpMk id="458" creationId="{B3A1F338-3F8A-4F69-239A-26EE1CB46E76}"/>
          </ac:cxnSpMkLst>
        </pc:cxnChg>
        <pc:cxnChg chg="add del mod ord">
          <ac:chgData name="Oğuz Öztekin" userId="33c0df0f-d5fe-4bda-8f43-141ad7af67e3" providerId="ADAL" clId="{48B824AD-1B2A-47A8-8D92-6FE6E622A650}" dt="2024-12-16T18:15:08.096" v="174787"/>
          <ac:cxnSpMkLst>
            <pc:docMk/>
            <pc:sldMk cId="3316977847" sldId="293"/>
            <ac:cxnSpMk id="459" creationId="{B01684F5-938F-B599-7BE5-3171E26A5A3D}"/>
          </ac:cxnSpMkLst>
        </pc:cxnChg>
        <pc:cxnChg chg="add del mod ord">
          <ac:chgData name="Oğuz Öztekin" userId="33c0df0f-d5fe-4bda-8f43-141ad7af67e3" providerId="ADAL" clId="{48B824AD-1B2A-47A8-8D92-6FE6E622A650}" dt="2024-12-16T18:15:08.097" v="174790"/>
          <ac:cxnSpMkLst>
            <pc:docMk/>
            <pc:sldMk cId="3316977847" sldId="293"/>
            <ac:cxnSpMk id="460" creationId="{93DBA70D-6C1F-80FD-3889-9FA4B66D9065}"/>
          </ac:cxnSpMkLst>
        </pc:cxnChg>
        <pc:cxnChg chg="add del mod ord">
          <ac:chgData name="Oğuz Öztekin" userId="33c0df0f-d5fe-4bda-8f43-141ad7af67e3" providerId="ADAL" clId="{48B824AD-1B2A-47A8-8D92-6FE6E622A650}" dt="2024-12-16T18:15:08.098" v="174793"/>
          <ac:cxnSpMkLst>
            <pc:docMk/>
            <pc:sldMk cId="3316977847" sldId="293"/>
            <ac:cxnSpMk id="461" creationId="{C01D5CAC-CB56-C152-761A-CBC07019CE9C}"/>
          </ac:cxnSpMkLst>
        </pc:cxnChg>
        <pc:cxnChg chg="add del mod ord">
          <ac:chgData name="Oğuz Öztekin" userId="33c0df0f-d5fe-4bda-8f43-141ad7af67e3" providerId="ADAL" clId="{48B824AD-1B2A-47A8-8D92-6FE6E622A650}" dt="2024-12-16T18:15:08.098" v="174796"/>
          <ac:cxnSpMkLst>
            <pc:docMk/>
            <pc:sldMk cId="3316977847" sldId="293"/>
            <ac:cxnSpMk id="462" creationId="{96D04CF4-EF52-E600-1CEE-9E1EEE591213}"/>
          </ac:cxnSpMkLst>
        </pc:cxnChg>
        <pc:cxnChg chg="add del mod ord">
          <ac:chgData name="Oğuz Öztekin" userId="33c0df0f-d5fe-4bda-8f43-141ad7af67e3" providerId="ADAL" clId="{48B824AD-1B2A-47A8-8D92-6FE6E622A650}" dt="2024-12-16T18:14:59.986" v="174054"/>
          <ac:cxnSpMkLst>
            <pc:docMk/>
            <pc:sldMk cId="3316977847" sldId="293"/>
            <ac:cxnSpMk id="463" creationId="{7C6F0D32-AC9B-7042-0C1C-BF22C71ADD8C}"/>
          </ac:cxnSpMkLst>
        </pc:cxnChg>
        <pc:cxnChg chg="add del mod ord">
          <ac:chgData name="Oğuz Öztekin" userId="33c0df0f-d5fe-4bda-8f43-141ad7af67e3" providerId="ADAL" clId="{48B824AD-1B2A-47A8-8D92-6FE6E622A650}" dt="2024-12-16T18:14:59.988" v="174057"/>
          <ac:cxnSpMkLst>
            <pc:docMk/>
            <pc:sldMk cId="3316977847" sldId="293"/>
            <ac:cxnSpMk id="464" creationId="{0D77220A-790C-A23C-9BCD-34B2199F7D8F}"/>
          </ac:cxnSpMkLst>
        </pc:cxnChg>
        <pc:cxnChg chg="add del mod ord">
          <ac:chgData name="Oğuz Öztekin" userId="33c0df0f-d5fe-4bda-8f43-141ad7af67e3" providerId="ADAL" clId="{48B824AD-1B2A-47A8-8D92-6FE6E622A650}" dt="2024-12-16T18:14:59.989" v="174060"/>
          <ac:cxnSpMkLst>
            <pc:docMk/>
            <pc:sldMk cId="3316977847" sldId="293"/>
            <ac:cxnSpMk id="465" creationId="{5773D2A3-2C9B-51D5-7436-B6EFA1CA11F3}"/>
          </ac:cxnSpMkLst>
        </pc:cxnChg>
        <pc:cxnChg chg="add del mod ord">
          <ac:chgData name="Oğuz Öztekin" userId="33c0df0f-d5fe-4bda-8f43-141ad7af67e3" providerId="ADAL" clId="{48B824AD-1B2A-47A8-8D92-6FE6E622A650}" dt="2024-12-16T18:14:59.990" v="174063"/>
          <ac:cxnSpMkLst>
            <pc:docMk/>
            <pc:sldMk cId="3316977847" sldId="293"/>
            <ac:cxnSpMk id="466" creationId="{9C050747-4960-0EB1-B2D4-C4B171644697}"/>
          </ac:cxnSpMkLst>
        </pc:cxnChg>
        <pc:cxnChg chg="add del mod ord">
          <ac:chgData name="Oğuz Öztekin" userId="33c0df0f-d5fe-4bda-8f43-141ad7af67e3" providerId="ADAL" clId="{48B824AD-1B2A-47A8-8D92-6FE6E622A650}" dt="2024-12-16T18:14:59.991" v="174066"/>
          <ac:cxnSpMkLst>
            <pc:docMk/>
            <pc:sldMk cId="3316977847" sldId="293"/>
            <ac:cxnSpMk id="467" creationId="{4B76D15E-C20C-698A-D11B-4DD9F3F75D89}"/>
          </ac:cxnSpMkLst>
        </pc:cxnChg>
        <pc:cxnChg chg="add del mod ord">
          <ac:chgData name="Oğuz Öztekin" userId="33c0df0f-d5fe-4bda-8f43-141ad7af67e3" providerId="ADAL" clId="{48B824AD-1B2A-47A8-8D92-6FE6E622A650}" dt="2024-12-16T18:14:59.992" v="174069"/>
          <ac:cxnSpMkLst>
            <pc:docMk/>
            <pc:sldMk cId="3316977847" sldId="293"/>
            <ac:cxnSpMk id="468" creationId="{CABBCD67-A66A-D772-8FFC-5FC462AED3F1}"/>
          </ac:cxnSpMkLst>
        </pc:cxnChg>
        <pc:cxnChg chg="add del mod ord">
          <ac:chgData name="Oğuz Öztekin" userId="33c0df0f-d5fe-4bda-8f43-141ad7af67e3" providerId="ADAL" clId="{48B824AD-1B2A-47A8-8D92-6FE6E622A650}" dt="2024-12-16T18:14:59.993" v="174072"/>
          <ac:cxnSpMkLst>
            <pc:docMk/>
            <pc:sldMk cId="3316977847" sldId="293"/>
            <ac:cxnSpMk id="469" creationId="{C717944E-7A06-1F81-6729-ABB404049EA9}"/>
          </ac:cxnSpMkLst>
        </pc:cxnChg>
        <pc:cxnChg chg="add del mod ord">
          <ac:chgData name="Oğuz Öztekin" userId="33c0df0f-d5fe-4bda-8f43-141ad7af67e3" providerId="ADAL" clId="{48B824AD-1B2A-47A8-8D92-6FE6E622A650}" dt="2024-12-16T18:14:59.994" v="174075"/>
          <ac:cxnSpMkLst>
            <pc:docMk/>
            <pc:sldMk cId="3316977847" sldId="293"/>
            <ac:cxnSpMk id="470" creationId="{CC162FBB-1B3B-74AA-5690-39B2B2115EE2}"/>
          </ac:cxnSpMkLst>
        </pc:cxnChg>
        <pc:cxnChg chg="add del mod ord">
          <ac:chgData name="Oğuz Öztekin" userId="33c0df0f-d5fe-4bda-8f43-141ad7af67e3" providerId="ADAL" clId="{48B824AD-1B2A-47A8-8D92-6FE6E622A650}" dt="2024-12-16T18:14:59.996" v="174078"/>
          <ac:cxnSpMkLst>
            <pc:docMk/>
            <pc:sldMk cId="3316977847" sldId="293"/>
            <ac:cxnSpMk id="471" creationId="{1DB867E6-9910-29F1-9E47-52080C3498D0}"/>
          </ac:cxnSpMkLst>
        </pc:cxnChg>
        <pc:cxnChg chg="add del mod ord">
          <ac:chgData name="Oğuz Öztekin" userId="33c0df0f-d5fe-4bda-8f43-141ad7af67e3" providerId="ADAL" clId="{48B824AD-1B2A-47A8-8D92-6FE6E622A650}" dt="2024-12-16T18:14:59.996" v="174081"/>
          <ac:cxnSpMkLst>
            <pc:docMk/>
            <pc:sldMk cId="3316977847" sldId="293"/>
            <ac:cxnSpMk id="472" creationId="{F3C7896F-5BBF-16E3-A41E-C5E51849B77E}"/>
          </ac:cxnSpMkLst>
        </pc:cxnChg>
        <pc:cxnChg chg="add del mod ord">
          <ac:chgData name="Oğuz Öztekin" userId="33c0df0f-d5fe-4bda-8f43-141ad7af67e3" providerId="ADAL" clId="{48B824AD-1B2A-47A8-8D92-6FE6E622A650}" dt="2024-12-16T18:14:59.997" v="174084"/>
          <ac:cxnSpMkLst>
            <pc:docMk/>
            <pc:sldMk cId="3316977847" sldId="293"/>
            <ac:cxnSpMk id="473" creationId="{26FDD390-51FF-6A7D-607A-A0C0AB1AC21A}"/>
          </ac:cxnSpMkLst>
        </pc:cxnChg>
        <pc:cxnChg chg="add del mod ord">
          <ac:chgData name="Oğuz Öztekin" userId="33c0df0f-d5fe-4bda-8f43-141ad7af67e3" providerId="ADAL" clId="{48B824AD-1B2A-47A8-8D92-6FE6E622A650}" dt="2024-12-16T18:14:59.998" v="174087"/>
          <ac:cxnSpMkLst>
            <pc:docMk/>
            <pc:sldMk cId="3316977847" sldId="293"/>
            <ac:cxnSpMk id="474" creationId="{0725B7C7-0BD6-A274-A11F-6C6D735EF279}"/>
          </ac:cxnSpMkLst>
        </pc:cxnChg>
        <pc:cxnChg chg="add del mod ord">
          <ac:chgData name="Oğuz Öztekin" userId="33c0df0f-d5fe-4bda-8f43-141ad7af67e3" providerId="ADAL" clId="{48B824AD-1B2A-47A8-8D92-6FE6E622A650}" dt="2024-12-16T18:14:59.999" v="174090"/>
          <ac:cxnSpMkLst>
            <pc:docMk/>
            <pc:sldMk cId="3316977847" sldId="293"/>
            <ac:cxnSpMk id="475" creationId="{E883C42E-63EC-0C8F-4E04-0E780113E1F0}"/>
          </ac:cxnSpMkLst>
        </pc:cxnChg>
        <pc:cxnChg chg="add del mod ord">
          <ac:chgData name="Oğuz Öztekin" userId="33c0df0f-d5fe-4bda-8f43-141ad7af67e3" providerId="ADAL" clId="{48B824AD-1B2A-47A8-8D92-6FE6E622A650}" dt="2024-12-16T18:15:00.001" v="174093"/>
          <ac:cxnSpMkLst>
            <pc:docMk/>
            <pc:sldMk cId="3316977847" sldId="293"/>
            <ac:cxnSpMk id="476" creationId="{1E232720-D0CE-9CC4-7531-50B7D67D4C58}"/>
          </ac:cxnSpMkLst>
        </pc:cxnChg>
        <pc:cxnChg chg="add del mod ord">
          <ac:chgData name="Oğuz Öztekin" userId="33c0df0f-d5fe-4bda-8f43-141ad7af67e3" providerId="ADAL" clId="{48B824AD-1B2A-47A8-8D92-6FE6E622A650}" dt="2024-12-16T18:15:00.002" v="174096"/>
          <ac:cxnSpMkLst>
            <pc:docMk/>
            <pc:sldMk cId="3316977847" sldId="293"/>
            <ac:cxnSpMk id="477" creationId="{64E1CD10-D532-40A0-B05A-C1C392711F77}"/>
          </ac:cxnSpMkLst>
        </pc:cxnChg>
        <pc:cxnChg chg="add del mod ord">
          <ac:chgData name="Oğuz Öztekin" userId="33c0df0f-d5fe-4bda-8f43-141ad7af67e3" providerId="ADAL" clId="{48B824AD-1B2A-47A8-8D92-6FE6E622A650}" dt="2024-12-16T18:15:00.003" v="174099"/>
          <ac:cxnSpMkLst>
            <pc:docMk/>
            <pc:sldMk cId="3316977847" sldId="293"/>
            <ac:cxnSpMk id="478" creationId="{01EB920A-FC80-24A9-AD33-2F782B598688}"/>
          </ac:cxnSpMkLst>
        </pc:cxnChg>
        <pc:cxnChg chg="add del mod ord">
          <ac:chgData name="Oğuz Öztekin" userId="33c0df0f-d5fe-4bda-8f43-141ad7af67e3" providerId="ADAL" clId="{48B824AD-1B2A-47A8-8D92-6FE6E622A650}" dt="2024-12-16T18:15:00.004" v="174102"/>
          <ac:cxnSpMkLst>
            <pc:docMk/>
            <pc:sldMk cId="3316977847" sldId="293"/>
            <ac:cxnSpMk id="479" creationId="{6BCD2000-B47D-3D8A-C570-2CE3A96EC6E1}"/>
          </ac:cxnSpMkLst>
        </pc:cxnChg>
        <pc:cxnChg chg="add del mod ord">
          <ac:chgData name="Oğuz Öztekin" userId="33c0df0f-d5fe-4bda-8f43-141ad7af67e3" providerId="ADAL" clId="{48B824AD-1B2A-47A8-8D92-6FE6E622A650}" dt="2024-12-16T18:15:00.005" v="174105"/>
          <ac:cxnSpMkLst>
            <pc:docMk/>
            <pc:sldMk cId="3316977847" sldId="293"/>
            <ac:cxnSpMk id="480" creationId="{1B995D91-BAA0-AEBD-D2CB-8EFC4EEA0CE1}"/>
          </ac:cxnSpMkLst>
        </pc:cxnChg>
        <pc:cxnChg chg="add del mod ord">
          <ac:chgData name="Oğuz Öztekin" userId="33c0df0f-d5fe-4bda-8f43-141ad7af67e3" providerId="ADAL" clId="{48B824AD-1B2A-47A8-8D92-6FE6E622A650}" dt="2024-12-16T18:15:00.005" v="174108"/>
          <ac:cxnSpMkLst>
            <pc:docMk/>
            <pc:sldMk cId="3316977847" sldId="293"/>
            <ac:cxnSpMk id="481" creationId="{7650361F-0B4C-4152-4613-31F18690FC5D}"/>
          </ac:cxnSpMkLst>
        </pc:cxnChg>
        <pc:cxnChg chg="add del mod ord">
          <ac:chgData name="Oğuz Öztekin" userId="33c0df0f-d5fe-4bda-8f43-141ad7af67e3" providerId="ADAL" clId="{48B824AD-1B2A-47A8-8D92-6FE6E622A650}" dt="2024-12-16T18:15:00.006" v="174111"/>
          <ac:cxnSpMkLst>
            <pc:docMk/>
            <pc:sldMk cId="3316977847" sldId="293"/>
            <ac:cxnSpMk id="482" creationId="{B12600F7-33C0-A2E5-59B4-CA8F094DA031}"/>
          </ac:cxnSpMkLst>
        </pc:cxnChg>
        <pc:cxnChg chg="add del mod ord">
          <ac:chgData name="Oğuz Öztekin" userId="33c0df0f-d5fe-4bda-8f43-141ad7af67e3" providerId="ADAL" clId="{48B824AD-1B2A-47A8-8D92-6FE6E622A650}" dt="2024-12-16T18:14:54.001" v="173169"/>
          <ac:cxnSpMkLst>
            <pc:docMk/>
            <pc:sldMk cId="3316977847" sldId="293"/>
            <ac:cxnSpMk id="483" creationId="{6A0B6859-2E7E-A9AF-73AA-A28CE6B67673}"/>
          </ac:cxnSpMkLst>
        </pc:cxnChg>
        <pc:cxnChg chg="add del mod ord">
          <ac:chgData name="Oğuz Öztekin" userId="33c0df0f-d5fe-4bda-8f43-141ad7af67e3" providerId="ADAL" clId="{48B824AD-1B2A-47A8-8D92-6FE6E622A650}" dt="2024-12-16T18:14:54.002" v="173172"/>
          <ac:cxnSpMkLst>
            <pc:docMk/>
            <pc:sldMk cId="3316977847" sldId="293"/>
            <ac:cxnSpMk id="484" creationId="{47EBE273-0EF5-D4D2-419E-B742F95A58F8}"/>
          </ac:cxnSpMkLst>
        </pc:cxnChg>
        <pc:cxnChg chg="add del mod ord">
          <ac:chgData name="Oğuz Öztekin" userId="33c0df0f-d5fe-4bda-8f43-141ad7af67e3" providerId="ADAL" clId="{48B824AD-1B2A-47A8-8D92-6FE6E622A650}" dt="2024-12-16T18:14:54.003" v="173175"/>
          <ac:cxnSpMkLst>
            <pc:docMk/>
            <pc:sldMk cId="3316977847" sldId="293"/>
            <ac:cxnSpMk id="485" creationId="{8ED43AFB-F5B4-DFFF-3354-3123A2DC4ECD}"/>
          </ac:cxnSpMkLst>
        </pc:cxnChg>
        <pc:cxnChg chg="add del mod ord">
          <ac:chgData name="Oğuz Öztekin" userId="33c0df0f-d5fe-4bda-8f43-141ad7af67e3" providerId="ADAL" clId="{48B824AD-1B2A-47A8-8D92-6FE6E622A650}" dt="2024-12-16T18:14:54.004" v="173178"/>
          <ac:cxnSpMkLst>
            <pc:docMk/>
            <pc:sldMk cId="3316977847" sldId="293"/>
            <ac:cxnSpMk id="486" creationId="{796C9C42-D641-F92D-FCC8-A7ADEF838070}"/>
          </ac:cxnSpMkLst>
        </pc:cxnChg>
        <pc:cxnChg chg="add del mod ord">
          <ac:chgData name="Oğuz Öztekin" userId="33c0df0f-d5fe-4bda-8f43-141ad7af67e3" providerId="ADAL" clId="{48B824AD-1B2A-47A8-8D92-6FE6E622A650}" dt="2024-12-16T18:14:54.005" v="173181"/>
          <ac:cxnSpMkLst>
            <pc:docMk/>
            <pc:sldMk cId="3316977847" sldId="293"/>
            <ac:cxnSpMk id="487" creationId="{E41BF94B-A137-2A32-1841-45B74B8FE86F}"/>
          </ac:cxnSpMkLst>
        </pc:cxnChg>
        <pc:cxnChg chg="add del mod ord">
          <ac:chgData name="Oğuz Öztekin" userId="33c0df0f-d5fe-4bda-8f43-141ad7af67e3" providerId="ADAL" clId="{48B824AD-1B2A-47A8-8D92-6FE6E622A650}" dt="2024-12-16T18:14:54.006" v="173184"/>
          <ac:cxnSpMkLst>
            <pc:docMk/>
            <pc:sldMk cId="3316977847" sldId="293"/>
            <ac:cxnSpMk id="488" creationId="{3ABFBC29-F254-F68A-4CF6-32FD264AC9BB}"/>
          </ac:cxnSpMkLst>
        </pc:cxnChg>
        <pc:cxnChg chg="add del mod ord">
          <ac:chgData name="Oğuz Öztekin" userId="33c0df0f-d5fe-4bda-8f43-141ad7af67e3" providerId="ADAL" clId="{48B824AD-1B2A-47A8-8D92-6FE6E622A650}" dt="2024-12-16T18:14:54.007" v="173187"/>
          <ac:cxnSpMkLst>
            <pc:docMk/>
            <pc:sldMk cId="3316977847" sldId="293"/>
            <ac:cxnSpMk id="489" creationId="{C5DADFCE-987D-1CE7-06EB-AAD881E3BA3C}"/>
          </ac:cxnSpMkLst>
        </pc:cxnChg>
        <pc:cxnChg chg="add del mod ord">
          <ac:chgData name="Oğuz Öztekin" userId="33c0df0f-d5fe-4bda-8f43-141ad7af67e3" providerId="ADAL" clId="{48B824AD-1B2A-47A8-8D92-6FE6E622A650}" dt="2024-12-16T18:14:54.007" v="173190"/>
          <ac:cxnSpMkLst>
            <pc:docMk/>
            <pc:sldMk cId="3316977847" sldId="293"/>
            <ac:cxnSpMk id="490" creationId="{7797A796-96F7-C67D-6070-6EE2D69C6C60}"/>
          </ac:cxnSpMkLst>
        </pc:cxnChg>
        <pc:cxnChg chg="add del mod ord">
          <ac:chgData name="Oğuz Öztekin" userId="33c0df0f-d5fe-4bda-8f43-141ad7af67e3" providerId="ADAL" clId="{48B824AD-1B2A-47A8-8D92-6FE6E622A650}" dt="2024-12-16T18:14:54.008" v="173193"/>
          <ac:cxnSpMkLst>
            <pc:docMk/>
            <pc:sldMk cId="3316977847" sldId="293"/>
            <ac:cxnSpMk id="491" creationId="{6C037FB3-648D-D380-77F3-060C9774ACD0}"/>
          </ac:cxnSpMkLst>
        </pc:cxnChg>
        <pc:cxnChg chg="add del mod ord">
          <ac:chgData name="Oğuz Öztekin" userId="33c0df0f-d5fe-4bda-8f43-141ad7af67e3" providerId="ADAL" clId="{48B824AD-1B2A-47A8-8D92-6FE6E622A650}" dt="2024-12-16T18:14:54.009" v="173196"/>
          <ac:cxnSpMkLst>
            <pc:docMk/>
            <pc:sldMk cId="3316977847" sldId="293"/>
            <ac:cxnSpMk id="492" creationId="{15E4D0B4-CE4B-4ED4-D7F7-80025C60A9F4}"/>
          </ac:cxnSpMkLst>
        </pc:cxnChg>
        <pc:cxnChg chg="add del mod ord">
          <ac:chgData name="Oğuz Öztekin" userId="33c0df0f-d5fe-4bda-8f43-141ad7af67e3" providerId="ADAL" clId="{48B824AD-1B2A-47A8-8D92-6FE6E622A650}" dt="2024-12-16T18:14:54.010" v="173199"/>
          <ac:cxnSpMkLst>
            <pc:docMk/>
            <pc:sldMk cId="3316977847" sldId="293"/>
            <ac:cxnSpMk id="493" creationId="{9B79673A-162E-3D74-2CA7-DA079D0CB918}"/>
          </ac:cxnSpMkLst>
        </pc:cxnChg>
        <pc:cxnChg chg="add del mod ord">
          <ac:chgData name="Oğuz Öztekin" userId="33c0df0f-d5fe-4bda-8f43-141ad7af67e3" providerId="ADAL" clId="{48B824AD-1B2A-47A8-8D92-6FE6E622A650}" dt="2024-12-16T18:14:54.011" v="173202"/>
          <ac:cxnSpMkLst>
            <pc:docMk/>
            <pc:sldMk cId="3316977847" sldId="293"/>
            <ac:cxnSpMk id="494" creationId="{0C53B1CF-4CB8-E455-5D2F-B4A974448D8A}"/>
          </ac:cxnSpMkLst>
        </pc:cxnChg>
        <pc:cxnChg chg="add del mod ord">
          <ac:chgData name="Oğuz Öztekin" userId="33c0df0f-d5fe-4bda-8f43-141ad7af67e3" providerId="ADAL" clId="{48B824AD-1B2A-47A8-8D92-6FE6E622A650}" dt="2024-12-16T18:14:54.012" v="173205"/>
          <ac:cxnSpMkLst>
            <pc:docMk/>
            <pc:sldMk cId="3316977847" sldId="293"/>
            <ac:cxnSpMk id="495" creationId="{434CFB0A-7AF0-B1AE-356C-1C16A28D7DD0}"/>
          </ac:cxnSpMkLst>
        </pc:cxnChg>
        <pc:cxnChg chg="add del mod ord">
          <ac:chgData name="Oğuz Öztekin" userId="33c0df0f-d5fe-4bda-8f43-141ad7af67e3" providerId="ADAL" clId="{48B824AD-1B2A-47A8-8D92-6FE6E622A650}" dt="2024-12-16T18:14:54.013" v="173208"/>
          <ac:cxnSpMkLst>
            <pc:docMk/>
            <pc:sldMk cId="3316977847" sldId="293"/>
            <ac:cxnSpMk id="496" creationId="{1620F5D6-2172-E5A5-0AB2-74DD9F8DE598}"/>
          </ac:cxnSpMkLst>
        </pc:cxnChg>
        <pc:cxnChg chg="add del mod ord">
          <ac:chgData name="Oğuz Öztekin" userId="33c0df0f-d5fe-4bda-8f43-141ad7af67e3" providerId="ADAL" clId="{48B824AD-1B2A-47A8-8D92-6FE6E622A650}" dt="2024-12-16T18:14:54.014" v="173211"/>
          <ac:cxnSpMkLst>
            <pc:docMk/>
            <pc:sldMk cId="3316977847" sldId="293"/>
            <ac:cxnSpMk id="497" creationId="{355BE03B-AFA0-DC3D-ABD5-B105068677E1}"/>
          </ac:cxnSpMkLst>
        </pc:cxnChg>
        <pc:cxnChg chg="add del mod ord">
          <ac:chgData name="Oğuz Öztekin" userId="33c0df0f-d5fe-4bda-8f43-141ad7af67e3" providerId="ADAL" clId="{48B824AD-1B2A-47A8-8D92-6FE6E622A650}" dt="2024-12-16T18:14:54.016" v="173214"/>
          <ac:cxnSpMkLst>
            <pc:docMk/>
            <pc:sldMk cId="3316977847" sldId="293"/>
            <ac:cxnSpMk id="498" creationId="{A5E06E61-16BD-4CA0-443B-C0CA61172229}"/>
          </ac:cxnSpMkLst>
        </pc:cxnChg>
        <pc:cxnChg chg="add del mod ord">
          <ac:chgData name="Oğuz Öztekin" userId="33c0df0f-d5fe-4bda-8f43-141ad7af67e3" providerId="ADAL" clId="{48B824AD-1B2A-47A8-8D92-6FE6E622A650}" dt="2024-12-16T18:14:54.017" v="173217"/>
          <ac:cxnSpMkLst>
            <pc:docMk/>
            <pc:sldMk cId="3316977847" sldId="293"/>
            <ac:cxnSpMk id="499" creationId="{E6734DDF-D584-4FF1-0540-312D98CA53AD}"/>
          </ac:cxnSpMkLst>
        </pc:cxnChg>
        <pc:cxnChg chg="add del mod ord">
          <ac:chgData name="Oğuz Öztekin" userId="33c0df0f-d5fe-4bda-8f43-141ad7af67e3" providerId="ADAL" clId="{48B824AD-1B2A-47A8-8D92-6FE6E622A650}" dt="2024-12-16T18:14:54.018" v="173220"/>
          <ac:cxnSpMkLst>
            <pc:docMk/>
            <pc:sldMk cId="3316977847" sldId="293"/>
            <ac:cxnSpMk id="500" creationId="{9D0EDBDC-577A-37C5-6910-FF6B581CFDF8}"/>
          </ac:cxnSpMkLst>
        </pc:cxnChg>
        <pc:cxnChg chg="add del mod ord">
          <ac:chgData name="Oğuz Öztekin" userId="33c0df0f-d5fe-4bda-8f43-141ad7af67e3" providerId="ADAL" clId="{48B824AD-1B2A-47A8-8D92-6FE6E622A650}" dt="2024-12-16T18:14:54.019" v="173223"/>
          <ac:cxnSpMkLst>
            <pc:docMk/>
            <pc:sldMk cId="3316977847" sldId="293"/>
            <ac:cxnSpMk id="501" creationId="{4809755E-201B-1A56-16D0-EE57A9A0B332}"/>
          </ac:cxnSpMkLst>
        </pc:cxnChg>
        <pc:cxnChg chg="add del mod ord">
          <ac:chgData name="Oğuz Öztekin" userId="33c0df0f-d5fe-4bda-8f43-141ad7af67e3" providerId="ADAL" clId="{48B824AD-1B2A-47A8-8D92-6FE6E622A650}" dt="2024-12-16T18:14:54.020" v="173226"/>
          <ac:cxnSpMkLst>
            <pc:docMk/>
            <pc:sldMk cId="3316977847" sldId="293"/>
            <ac:cxnSpMk id="502" creationId="{01F77317-9655-3249-B8BF-7A4E961714B5}"/>
          </ac:cxnSpMkLst>
        </pc:cxnChg>
        <pc:cxnChg chg="add del mod ord">
          <ac:chgData name="Oğuz Öztekin" userId="33c0df0f-d5fe-4bda-8f43-141ad7af67e3" providerId="ADAL" clId="{48B824AD-1B2A-47A8-8D92-6FE6E622A650}" dt="2024-12-16T18:14:47.796" v="172084"/>
          <ac:cxnSpMkLst>
            <pc:docMk/>
            <pc:sldMk cId="3316977847" sldId="293"/>
            <ac:cxnSpMk id="503" creationId="{F2094790-1EA7-8DDE-E03B-B0B930607DD9}"/>
          </ac:cxnSpMkLst>
        </pc:cxnChg>
        <pc:cxnChg chg="add del mod ord">
          <ac:chgData name="Oğuz Öztekin" userId="33c0df0f-d5fe-4bda-8f43-141ad7af67e3" providerId="ADAL" clId="{48B824AD-1B2A-47A8-8D92-6FE6E622A650}" dt="2024-12-16T18:14:47.800" v="172087"/>
          <ac:cxnSpMkLst>
            <pc:docMk/>
            <pc:sldMk cId="3316977847" sldId="293"/>
            <ac:cxnSpMk id="504" creationId="{925E8013-D203-C5F0-3EFA-7474BD706241}"/>
          </ac:cxnSpMkLst>
        </pc:cxnChg>
        <pc:cxnChg chg="add del mod ord">
          <ac:chgData name="Oğuz Öztekin" userId="33c0df0f-d5fe-4bda-8f43-141ad7af67e3" providerId="ADAL" clId="{48B824AD-1B2A-47A8-8D92-6FE6E622A650}" dt="2024-12-16T18:14:47.801" v="172090"/>
          <ac:cxnSpMkLst>
            <pc:docMk/>
            <pc:sldMk cId="3316977847" sldId="293"/>
            <ac:cxnSpMk id="505" creationId="{23C5F83C-EDF5-0920-2EA2-A88DC0550E78}"/>
          </ac:cxnSpMkLst>
        </pc:cxnChg>
        <pc:cxnChg chg="add del mod ord">
          <ac:chgData name="Oğuz Öztekin" userId="33c0df0f-d5fe-4bda-8f43-141ad7af67e3" providerId="ADAL" clId="{48B824AD-1B2A-47A8-8D92-6FE6E622A650}" dt="2024-12-16T18:14:47.802" v="172093"/>
          <ac:cxnSpMkLst>
            <pc:docMk/>
            <pc:sldMk cId="3316977847" sldId="293"/>
            <ac:cxnSpMk id="506" creationId="{D863E98C-A4B9-4D39-CFA1-C14042E403B0}"/>
          </ac:cxnSpMkLst>
        </pc:cxnChg>
        <pc:cxnChg chg="add del mod ord">
          <ac:chgData name="Oğuz Öztekin" userId="33c0df0f-d5fe-4bda-8f43-141ad7af67e3" providerId="ADAL" clId="{48B824AD-1B2A-47A8-8D92-6FE6E622A650}" dt="2024-12-16T18:14:47.803" v="172096"/>
          <ac:cxnSpMkLst>
            <pc:docMk/>
            <pc:sldMk cId="3316977847" sldId="293"/>
            <ac:cxnSpMk id="507" creationId="{955865BD-6195-4959-AECB-07F6BA6E1B19}"/>
          </ac:cxnSpMkLst>
        </pc:cxnChg>
        <pc:cxnChg chg="add del mod ord">
          <ac:chgData name="Oğuz Öztekin" userId="33c0df0f-d5fe-4bda-8f43-141ad7af67e3" providerId="ADAL" clId="{48B824AD-1B2A-47A8-8D92-6FE6E622A650}" dt="2024-12-16T18:14:47.804" v="172099"/>
          <ac:cxnSpMkLst>
            <pc:docMk/>
            <pc:sldMk cId="3316977847" sldId="293"/>
            <ac:cxnSpMk id="508" creationId="{2FB1CA4E-78F9-A603-4FD8-E288B6A16911}"/>
          </ac:cxnSpMkLst>
        </pc:cxnChg>
        <pc:cxnChg chg="add del mod ord">
          <ac:chgData name="Oğuz Öztekin" userId="33c0df0f-d5fe-4bda-8f43-141ad7af67e3" providerId="ADAL" clId="{48B824AD-1B2A-47A8-8D92-6FE6E622A650}" dt="2024-12-16T18:14:47.805" v="172102"/>
          <ac:cxnSpMkLst>
            <pc:docMk/>
            <pc:sldMk cId="3316977847" sldId="293"/>
            <ac:cxnSpMk id="509" creationId="{1EAC9893-BB7B-E041-38A7-0F1C52E68B3A}"/>
          </ac:cxnSpMkLst>
        </pc:cxnChg>
        <pc:cxnChg chg="add del mod ord">
          <ac:chgData name="Oğuz Öztekin" userId="33c0df0f-d5fe-4bda-8f43-141ad7af67e3" providerId="ADAL" clId="{48B824AD-1B2A-47A8-8D92-6FE6E622A650}" dt="2024-12-16T18:14:47.806" v="172105"/>
          <ac:cxnSpMkLst>
            <pc:docMk/>
            <pc:sldMk cId="3316977847" sldId="293"/>
            <ac:cxnSpMk id="510" creationId="{7F5FF619-51DD-CD6F-D79E-09E9EB024AD9}"/>
          </ac:cxnSpMkLst>
        </pc:cxnChg>
        <pc:cxnChg chg="add del mod ord">
          <ac:chgData name="Oğuz Öztekin" userId="33c0df0f-d5fe-4bda-8f43-141ad7af67e3" providerId="ADAL" clId="{48B824AD-1B2A-47A8-8D92-6FE6E622A650}" dt="2024-12-16T18:14:47.807" v="172108"/>
          <ac:cxnSpMkLst>
            <pc:docMk/>
            <pc:sldMk cId="3316977847" sldId="293"/>
            <ac:cxnSpMk id="511" creationId="{F6944126-69E9-F498-B8D5-E085755663F9}"/>
          </ac:cxnSpMkLst>
        </pc:cxnChg>
        <pc:cxnChg chg="add del mod ord">
          <ac:chgData name="Oğuz Öztekin" userId="33c0df0f-d5fe-4bda-8f43-141ad7af67e3" providerId="ADAL" clId="{48B824AD-1B2A-47A8-8D92-6FE6E622A650}" dt="2024-12-16T18:14:47.807" v="172111"/>
          <ac:cxnSpMkLst>
            <pc:docMk/>
            <pc:sldMk cId="3316977847" sldId="293"/>
            <ac:cxnSpMk id="512" creationId="{DCFB3822-FA2A-E224-81CC-ADE547F946ED}"/>
          </ac:cxnSpMkLst>
        </pc:cxnChg>
        <pc:cxnChg chg="add del mod ord">
          <ac:chgData name="Oğuz Öztekin" userId="33c0df0f-d5fe-4bda-8f43-141ad7af67e3" providerId="ADAL" clId="{48B824AD-1B2A-47A8-8D92-6FE6E622A650}" dt="2024-12-16T18:14:47.808" v="172114"/>
          <ac:cxnSpMkLst>
            <pc:docMk/>
            <pc:sldMk cId="3316977847" sldId="293"/>
            <ac:cxnSpMk id="513" creationId="{877BF5EC-E556-941F-0E2A-49F796E4C87D}"/>
          </ac:cxnSpMkLst>
        </pc:cxnChg>
        <pc:cxnChg chg="add del mod ord">
          <ac:chgData name="Oğuz Öztekin" userId="33c0df0f-d5fe-4bda-8f43-141ad7af67e3" providerId="ADAL" clId="{48B824AD-1B2A-47A8-8D92-6FE6E622A650}" dt="2024-12-16T18:14:47.809" v="172117"/>
          <ac:cxnSpMkLst>
            <pc:docMk/>
            <pc:sldMk cId="3316977847" sldId="293"/>
            <ac:cxnSpMk id="514" creationId="{B45ADC07-08BF-475A-D6F3-B9B72EAFF5E6}"/>
          </ac:cxnSpMkLst>
        </pc:cxnChg>
        <pc:cxnChg chg="add del mod ord">
          <ac:chgData name="Oğuz Öztekin" userId="33c0df0f-d5fe-4bda-8f43-141ad7af67e3" providerId="ADAL" clId="{48B824AD-1B2A-47A8-8D92-6FE6E622A650}" dt="2024-12-16T18:14:47.810" v="172120"/>
          <ac:cxnSpMkLst>
            <pc:docMk/>
            <pc:sldMk cId="3316977847" sldId="293"/>
            <ac:cxnSpMk id="515" creationId="{1E2FF638-8A2B-CDBA-6D5B-AC502CED2EC6}"/>
          </ac:cxnSpMkLst>
        </pc:cxnChg>
        <pc:cxnChg chg="add del mod ord">
          <ac:chgData name="Oğuz Öztekin" userId="33c0df0f-d5fe-4bda-8f43-141ad7af67e3" providerId="ADAL" clId="{48B824AD-1B2A-47A8-8D92-6FE6E622A650}" dt="2024-12-16T18:14:47.811" v="172123"/>
          <ac:cxnSpMkLst>
            <pc:docMk/>
            <pc:sldMk cId="3316977847" sldId="293"/>
            <ac:cxnSpMk id="516" creationId="{0EB48EA7-19DC-E425-404B-018E5ADFA316}"/>
          </ac:cxnSpMkLst>
        </pc:cxnChg>
        <pc:cxnChg chg="add del mod ord">
          <ac:chgData name="Oğuz Öztekin" userId="33c0df0f-d5fe-4bda-8f43-141ad7af67e3" providerId="ADAL" clId="{48B824AD-1B2A-47A8-8D92-6FE6E622A650}" dt="2024-12-16T18:14:47.812" v="172126"/>
          <ac:cxnSpMkLst>
            <pc:docMk/>
            <pc:sldMk cId="3316977847" sldId="293"/>
            <ac:cxnSpMk id="517" creationId="{E04C8B8C-A6F6-C829-3BE5-CA6AC7728B65}"/>
          </ac:cxnSpMkLst>
        </pc:cxnChg>
        <pc:cxnChg chg="add del mod ord">
          <ac:chgData name="Oğuz Öztekin" userId="33c0df0f-d5fe-4bda-8f43-141ad7af67e3" providerId="ADAL" clId="{48B824AD-1B2A-47A8-8D92-6FE6E622A650}" dt="2024-12-16T18:14:47.814" v="172129"/>
          <ac:cxnSpMkLst>
            <pc:docMk/>
            <pc:sldMk cId="3316977847" sldId="293"/>
            <ac:cxnSpMk id="518" creationId="{DB9BC642-B423-CE5E-4CEB-CFAFC942A7E5}"/>
          </ac:cxnSpMkLst>
        </pc:cxnChg>
        <pc:cxnChg chg="add del mod ord">
          <ac:chgData name="Oğuz Öztekin" userId="33c0df0f-d5fe-4bda-8f43-141ad7af67e3" providerId="ADAL" clId="{48B824AD-1B2A-47A8-8D92-6FE6E622A650}" dt="2024-12-16T18:14:47.815" v="172132"/>
          <ac:cxnSpMkLst>
            <pc:docMk/>
            <pc:sldMk cId="3316977847" sldId="293"/>
            <ac:cxnSpMk id="519" creationId="{D88AB134-B033-BC66-A8C8-B7D414E1F966}"/>
          </ac:cxnSpMkLst>
        </pc:cxnChg>
        <pc:cxnChg chg="add del mod ord">
          <ac:chgData name="Oğuz Öztekin" userId="33c0df0f-d5fe-4bda-8f43-141ad7af67e3" providerId="ADAL" clId="{48B824AD-1B2A-47A8-8D92-6FE6E622A650}" dt="2024-12-16T18:14:47.816" v="172135"/>
          <ac:cxnSpMkLst>
            <pc:docMk/>
            <pc:sldMk cId="3316977847" sldId="293"/>
            <ac:cxnSpMk id="520" creationId="{EFEE65D5-A98E-9F0C-C282-F3FAB617D1CD}"/>
          </ac:cxnSpMkLst>
        </pc:cxnChg>
        <pc:cxnChg chg="add del mod ord">
          <ac:chgData name="Oğuz Öztekin" userId="33c0df0f-d5fe-4bda-8f43-141ad7af67e3" providerId="ADAL" clId="{48B824AD-1B2A-47A8-8D92-6FE6E622A650}" dt="2024-12-16T18:14:47.817" v="172138"/>
          <ac:cxnSpMkLst>
            <pc:docMk/>
            <pc:sldMk cId="3316977847" sldId="293"/>
            <ac:cxnSpMk id="521" creationId="{B4081342-7036-7005-A6E1-9C9046A28386}"/>
          </ac:cxnSpMkLst>
        </pc:cxnChg>
        <pc:cxnChg chg="add del mod ord">
          <ac:chgData name="Oğuz Öztekin" userId="33c0df0f-d5fe-4bda-8f43-141ad7af67e3" providerId="ADAL" clId="{48B824AD-1B2A-47A8-8D92-6FE6E622A650}" dt="2024-12-16T18:14:47.818" v="172141"/>
          <ac:cxnSpMkLst>
            <pc:docMk/>
            <pc:sldMk cId="3316977847" sldId="293"/>
            <ac:cxnSpMk id="522" creationId="{8A83764F-86CF-9147-9328-980A19619A0B}"/>
          </ac:cxnSpMkLst>
        </pc:cxnChg>
        <pc:cxnChg chg="add del mod ord">
          <ac:chgData name="Oğuz Öztekin" userId="33c0df0f-d5fe-4bda-8f43-141ad7af67e3" providerId="ADAL" clId="{48B824AD-1B2A-47A8-8D92-6FE6E622A650}" dt="2024-12-16T18:14:41.980" v="170799"/>
          <ac:cxnSpMkLst>
            <pc:docMk/>
            <pc:sldMk cId="3316977847" sldId="293"/>
            <ac:cxnSpMk id="523" creationId="{54CE6674-2625-7927-2297-0ED3A08CB1DB}"/>
          </ac:cxnSpMkLst>
        </pc:cxnChg>
        <pc:cxnChg chg="add del mod ord">
          <ac:chgData name="Oğuz Öztekin" userId="33c0df0f-d5fe-4bda-8f43-141ad7af67e3" providerId="ADAL" clId="{48B824AD-1B2A-47A8-8D92-6FE6E622A650}" dt="2024-12-16T18:14:41.983" v="170802"/>
          <ac:cxnSpMkLst>
            <pc:docMk/>
            <pc:sldMk cId="3316977847" sldId="293"/>
            <ac:cxnSpMk id="524" creationId="{28C59FE5-405D-3822-2848-3DE42A73B239}"/>
          </ac:cxnSpMkLst>
        </pc:cxnChg>
        <pc:cxnChg chg="add del mod ord">
          <ac:chgData name="Oğuz Öztekin" userId="33c0df0f-d5fe-4bda-8f43-141ad7af67e3" providerId="ADAL" clId="{48B824AD-1B2A-47A8-8D92-6FE6E622A650}" dt="2024-12-16T18:14:41.984" v="170805"/>
          <ac:cxnSpMkLst>
            <pc:docMk/>
            <pc:sldMk cId="3316977847" sldId="293"/>
            <ac:cxnSpMk id="525" creationId="{A7A50E4F-286E-6530-E705-681FAA5A2B97}"/>
          </ac:cxnSpMkLst>
        </pc:cxnChg>
        <pc:cxnChg chg="add del mod ord">
          <ac:chgData name="Oğuz Öztekin" userId="33c0df0f-d5fe-4bda-8f43-141ad7af67e3" providerId="ADAL" clId="{48B824AD-1B2A-47A8-8D92-6FE6E622A650}" dt="2024-12-16T18:14:41.985" v="170808"/>
          <ac:cxnSpMkLst>
            <pc:docMk/>
            <pc:sldMk cId="3316977847" sldId="293"/>
            <ac:cxnSpMk id="526" creationId="{EDE19A47-D6E2-F1AA-8CA6-DB513DED6576}"/>
          </ac:cxnSpMkLst>
        </pc:cxnChg>
        <pc:cxnChg chg="add del mod ord">
          <ac:chgData name="Oğuz Öztekin" userId="33c0df0f-d5fe-4bda-8f43-141ad7af67e3" providerId="ADAL" clId="{48B824AD-1B2A-47A8-8D92-6FE6E622A650}" dt="2024-12-16T18:14:41.985" v="170811"/>
          <ac:cxnSpMkLst>
            <pc:docMk/>
            <pc:sldMk cId="3316977847" sldId="293"/>
            <ac:cxnSpMk id="527" creationId="{FF82E89E-049A-3676-0A45-D3CFA9B0218F}"/>
          </ac:cxnSpMkLst>
        </pc:cxnChg>
        <pc:cxnChg chg="add del mod ord">
          <ac:chgData name="Oğuz Öztekin" userId="33c0df0f-d5fe-4bda-8f43-141ad7af67e3" providerId="ADAL" clId="{48B824AD-1B2A-47A8-8D92-6FE6E622A650}" dt="2024-12-16T18:14:41.986" v="170814"/>
          <ac:cxnSpMkLst>
            <pc:docMk/>
            <pc:sldMk cId="3316977847" sldId="293"/>
            <ac:cxnSpMk id="528" creationId="{7C7EE540-D070-AE29-557A-45831D8DE036}"/>
          </ac:cxnSpMkLst>
        </pc:cxnChg>
        <pc:cxnChg chg="add del mod ord">
          <ac:chgData name="Oğuz Öztekin" userId="33c0df0f-d5fe-4bda-8f43-141ad7af67e3" providerId="ADAL" clId="{48B824AD-1B2A-47A8-8D92-6FE6E622A650}" dt="2024-12-16T18:14:41.987" v="170817"/>
          <ac:cxnSpMkLst>
            <pc:docMk/>
            <pc:sldMk cId="3316977847" sldId="293"/>
            <ac:cxnSpMk id="529" creationId="{BA4DC248-C485-24E1-8E68-2379BBB51BB2}"/>
          </ac:cxnSpMkLst>
        </pc:cxnChg>
        <pc:cxnChg chg="add del mod ord">
          <ac:chgData name="Oğuz Öztekin" userId="33c0df0f-d5fe-4bda-8f43-141ad7af67e3" providerId="ADAL" clId="{48B824AD-1B2A-47A8-8D92-6FE6E622A650}" dt="2024-12-16T18:14:41.987" v="170820"/>
          <ac:cxnSpMkLst>
            <pc:docMk/>
            <pc:sldMk cId="3316977847" sldId="293"/>
            <ac:cxnSpMk id="530" creationId="{0BF209FA-8743-6DD7-5A16-562A08F0035C}"/>
          </ac:cxnSpMkLst>
        </pc:cxnChg>
        <pc:cxnChg chg="add del mod ord">
          <ac:chgData name="Oğuz Öztekin" userId="33c0df0f-d5fe-4bda-8f43-141ad7af67e3" providerId="ADAL" clId="{48B824AD-1B2A-47A8-8D92-6FE6E622A650}" dt="2024-12-16T18:14:41.988" v="170823"/>
          <ac:cxnSpMkLst>
            <pc:docMk/>
            <pc:sldMk cId="3316977847" sldId="293"/>
            <ac:cxnSpMk id="531" creationId="{865DBFC3-164A-B246-70C5-ABBC9F1E3CDC}"/>
          </ac:cxnSpMkLst>
        </pc:cxnChg>
        <pc:cxnChg chg="add del mod ord">
          <ac:chgData name="Oğuz Öztekin" userId="33c0df0f-d5fe-4bda-8f43-141ad7af67e3" providerId="ADAL" clId="{48B824AD-1B2A-47A8-8D92-6FE6E622A650}" dt="2024-12-16T18:14:41.989" v="170826"/>
          <ac:cxnSpMkLst>
            <pc:docMk/>
            <pc:sldMk cId="3316977847" sldId="293"/>
            <ac:cxnSpMk id="532" creationId="{74D5F891-860E-7D95-2A32-8FE711ABB956}"/>
          </ac:cxnSpMkLst>
        </pc:cxnChg>
        <pc:cxnChg chg="add del mod ord">
          <ac:chgData name="Oğuz Öztekin" userId="33c0df0f-d5fe-4bda-8f43-141ad7af67e3" providerId="ADAL" clId="{48B824AD-1B2A-47A8-8D92-6FE6E622A650}" dt="2024-12-16T18:14:41.990" v="170829"/>
          <ac:cxnSpMkLst>
            <pc:docMk/>
            <pc:sldMk cId="3316977847" sldId="293"/>
            <ac:cxnSpMk id="533" creationId="{8802A9D1-2F41-8572-2510-7F9346CE6EB8}"/>
          </ac:cxnSpMkLst>
        </pc:cxnChg>
        <pc:cxnChg chg="add del mod ord">
          <ac:chgData name="Oğuz Öztekin" userId="33c0df0f-d5fe-4bda-8f43-141ad7af67e3" providerId="ADAL" clId="{48B824AD-1B2A-47A8-8D92-6FE6E622A650}" dt="2024-12-16T18:14:41.991" v="170832"/>
          <ac:cxnSpMkLst>
            <pc:docMk/>
            <pc:sldMk cId="3316977847" sldId="293"/>
            <ac:cxnSpMk id="534" creationId="{2F208ACD-28A9-3DF9-9AEE-F80A00F8EEA9}"/>
          </ac:cxnSpMkLst>
        </pc:cxnChg>
        <pc:cxnChg chg="add del mod ord">
          <ac:chgData name="Oğuz Öztekin" userId="33c0df0f-d5fe-4bda-8f43-141ad7af67e3" providerId="ADAL" clId="{48B824AD-1B2A-47A8-8D92-6FE6E622A650}" dt="2024-12-16T18:14:41.991" v="170835"/>
          <ac:cxnSpMkLst>
            <pc:docMk/>
            <pc:sldMk cId="3316977847" sldId="293"/>
            <ac:cxnSpMk id="535" creationId="{5AACF645-F120-C961-0DBA-4680391BCEED}"/>
          </ac:cxnSpMkLst>
        </pc:cxnChg>
        <pc:cxnChg chg="add del mod ord">
          <ac:chgData name="Oğuz Öztekin" userId="33c0df0f-d5fe-4bda-8f43-141ad7af67e3" providerId="ADAL" clId="{48B824AD-1B2A-47A8-8D92-6FE6E622A650}" dt="2024-12-16T18:14:41.993" v="170838"/>
          <ac:cxnSpMkLst>
            <pc:docMk/>
            <pc:sldMk cId="3316977847" sldId="293"/>
            <ac:cxnSpMk id="536" creationId="{051CBDEC-1305-6CC3-23F5-D535B95AEC06}"/>
          </ac:cxnSpMkLst>
        </pc:cxnChg>
        <pc:cxnChg chg="add del mod ord">
          <ac:chgData name="Oğuz Öztekin" userId="33c0df0f-d5fe-4bda-8f43-141ad7af67e3" providerId="ADAL" clId="{48B824AD-1B2A-47A8-8D92-6FE6E622A650}" dt="2024-12-16T18:14:41.994" v="170841"/>
          <ac:cxnSpMkLst>
            <pc:docMk/>
            <pc:sldMk cId="3316977847" sldId="293"/>
            <ac:cxnSpMk id="537" creationId="{ECB737AD-B99D-FDE7-3312-9DB5D710B5C2}"/>
          </ac:cxnSpMkLst>
        </pc:cxnChg>
        <pc:cxnChg chg="add del mod ord">
          <ac:chgData name="Oğuz Öztekin" userId="33c0df0f-d5fe-4bda-8f43-141ad7af67e3" providerId="ADAL" clId="{48B824AD-1B2A-47A8-8D92-6FE6E622A650}" dt="2024-12-16T18:14:41.995" v="170844"/>
          <ac:cxnSpMkLst>
            <pc:docMk/>
            <pc:sldMk cId="3316977847" sldId="293"/>
            <ac:cxnSpMk id="538" creationId="{0FC3F5CD-20BD-E259-B577-F577FE44ADDB}"/>
          </ac:cxnSpMkLst>
        </pc:cxnChg>
        <pc:cxnChg chg="add del mod ord">
          <ac:chgData name="Oğuz Öztekin" userId="33c0df0f-d5fe-4bda-8f43-141ad7af67e3" providerId="ADAL" clId="{48B824AD-1B2A-47A8-8D92-6FE6E622A650}" dt="2024-12-16T18:14:41.996" v="170847"/>
          <ac:cxnSpMkLst>
            <pc:docMk/>
            <pc:sldMk cId="3316977847" sldId="293"/>
            <ac:cxnSpMk id="539" creationId="{B5D9D15D-95BD-C8C6-E76A-C06DF8B10272}"/>
          </ac:cxnSpMkLst>
        </pc:cxnChg>
        <pc:cxnChg chg="add del mod ord">
          <ac:chgData name="Oğuz Öztekin" userId="33c0df0f-d5fe-4bda-8f43-141ad7af67e3" providerId="ADAL" clId="{48B824AD-1B2A-47A8-8D92-6FE6E622A650}" dt="2024-12-16T18:14:41.997" v="170850"/>
          <ac:cxnSpMkLst>
            <pc:docMk/>
            <pc:sldMk cId="3316977847" sldId="293"/>
            <ac:cxnSpMk id="540" creationId="{C3492EA0-1A42-A125-DF51-BC166EAC3D1D}"/>
          </ac:cxnSpMkLst>
        </pc:cxnChg>
        <pc:cxnChg chg="add del mod ord">
          <ac:chgData name="Oğuz Öztekin" userId="33c0df0f-d5fe-4bda-8f43-141ad7af67e3" providerId="ADAL" clId="{48B824AD-1B2A-47A8-8D92-6FE6E622A650}" dt="2024-12-16T18:14:41.997" v="170853"/>
          <ac:cxnSpMkLst>
            <pc:docMk/>
            <pc:sldMk cId="3316977847" sldId="293"/>
            <ac:cxnSpMk id="541" creationId="{C81F9D3B-48A9-40D4-B0CF-623FF14908BA}"/>
          </ac:cxnSpMkLst>
        </pc:cxnChg>
        <pc:cxnChg chg="add del mod ord">
          <ac:chgData name="Oğuz Öztekin" userId="33c0df0f-d5fe-4bda-8f43-141ad7af67e3" providerId="ADAL" clId="{48B824AD-1B2A-47A8-8D92-6FE6E622A650}" dt="2024-12-16T18:14:41.998" v="170856"/>
          <ac:cxnSpMkLst>
            <pc:docMk/>
            <pc:sldMk cId="3316977847" sldId="293"/>
            <ac:cxnSpMk id="542" creationId="{64DCA289-C36A-D57D-8A1F-1A1782AC475A}"/>
          </ac:cxnSpMkLst>
        </pc:cxnChg>
        <pc:cxnChg chg="add del mod ord">
          <ac:chgData name="Oğuz Öztekin" userId="33c0df0f-d5fe-4bda-8f43-141ad7af67e3" providerId="ADAL" clId="{48B824AD-1B2A-47A8-8D92-6FE6E622A650}" dt="2024-12-16T18:14:36.349" v="169310"/>
          <ac:cxnSpMkLst>
            <pc:docMk/>
            <pc:sldMk cId="3316977847" sldId="293"/>
            <ac:cxnSpMk id="543" creationId="{A927562F-F94A-B487-CC33-5FCD19CFFEFA}"/>
          </ac:cxnSpMkLst>
        </pc:cxnChg>
        <pc:cxnChg chg="add del mod ord">
          <ac:chgData name="Oğuz Öztekin" userId="33c0df0f-d5fe-4bda-8f43-141ad7af67e3" providerId="ADAL" clId="{48B824AD-1B2A-47A8-8D92-6FE6E622A650}" dt="2024-12-16T18:14:36.353" v="169313"/>
          <ac:cxnSpMkLst>
            <pc:docMk/>
            <pc:sldMk cId="3316977847" sldId="293"/>
            <ac:cxnSpMk id="544" creationId="{47F1382C-49A6-1151-7AED-3B0593539912}"/>
          </ac:cxnSpMkLst>
        </pc:cxnChg>
        <pc:cxnChg chg="add del mod ord">
          <ac:chgData name="Oğuz Öztekin" userId="33c0df0f-d5fe-4bda-8f43-141ad7af67e3" providerId="ADAL" clId="{48B824AD-1B2A-47A8-8D92-6FE6E622A650}" dt="2024-12-16T18:14:36.353" v="169316"/>
          <ac:cxnSpMkLst>
            <pc:docMk/>
            <pc:sldMk cId="3316977847" sldId="293"/>
            <ac:cxnSpMk id="545" creationId="{42543B9B-B649-4B4E-8795-0C407B355050}"/>
          </ac:cxnSpMkLst>
        </pc:cxnChg>
        <pc:cxnChg chg="add del mod ord">
          <ac:chgData name="Oğuz Öztekin" userId="33c0df0f-d5fe-4bda-8f43-141ad7af67e3" providerId="ADAL" clId="{48B824AD-1B2A-47A8-8D92-6FE6E622A650}" dt="2024-12-16T18:14:36.354" v="169319"/>
          <ac:cxnSpMkLst>
            <pc:docMk/>
            <pc:sldMk cId="3316977847" sldId="293"/>
            <ac:cxnSpMk id="546" creationId="{279EA57A-ED1C-299D-D012-EAB3FC330EF7}"/>
          </ac:cxnSpMkLst>
        </pc:cxnChg>
        <pc:cxnChg chg="add del mod ord">
          <ac:chgData name="Oğuz Öztekin" userId="33c0df0f-d5fe-4bda-8f43-141ad7af67e3" providerId="ADAL" clId="{48B824AD-1B2A-47A8-8D92-6FE6E622A650}" dt="2024-12-16T18:14:36.355" v="169322"/>
          <ac:cxnSpMkLst>
            <pc:docMk/>
            <pc:sldMk cId="3316977847" sldId="293"/>
            <ac:cxnSpMk id="547" creationId="{B18DEE4A-6705-D2DE-6DC0-3805D5765E15}"/>
          </ac:cxnSpMkLst>
        </pc:cxnChg>
        <pc:cxnChg chg="add del mod ord">
          <ac:chgData name="Oğuz Öztekin" userId="33c0df0f-d5fe-4bda-8f43-141ad7af67e3" providerId="ADAL" clId="{48B824AD-1B2A-47A8-8D92-6FE6E622A650}" dt="2024-12-16T18:14:36.356" v="169325"/>
          <ac:cxnSpMkLst>
            <pc:docMk/>
            <pc:sldMk cId="3316977847" sldId="293"/>
            <ac:cxnSpMk id="548" creationId="{2B23E7DD-CB71-817B-C533-32309B6BE890}"/>
          </ac:cxnSpMkLst>
        </pc:cxnChg>
        <pc:cxnChg chg="add del mod ord">
          <ac:chgData name="Oğuz Öztekin" userId="33c0df0f-d5fe-4bda-8f43-141ad7af67e3" providerId="ADAL" clId="{48B824AD-1B2A-47A8-8D92-6FE6E622A650}" dt="2024-12-16T18:14:36.356" v="169328"/>
          <ac:cxnSpMkLst>
            <pc:docMk/>
            <pc:sldMk cId="3316977847" sldId="293"/>
            <ac:cxnSpMk id="549" creationId="{25704DD1-7C16-94D2-8782-10F0A8871F5F}"/>
          </ac:cxnSpMkLst>
        </pc:cxnChg>
        <pc:cxnChg chg="add del mod ord">
          <ac:chgData name="Oğuz Öztekin" userId="33c0df0f-d5fe-4bda-8f43-141ad7af67e3" providerId="ADAL" clId="{48B824AD-1B2A-47A8-8D92-6FE6E622A650}" dt="2024-12-16T18:14:36.358" v="169331"/>
          <ac:cxnSpMkLst>
            <pc:docMk/>
            <pc:sldMk cId="3316977847" sldId="293"/>
            <ac:cxnSpMk id="550" creationId="{A56B6FE4-D279-76AD-BD3C-A9151625336F}"/>
          </ac:cxnSpMkLst>
        </pc:cxnChg>
        <pc:cxnChg chg="add del mod ord">
          <ac:chgData name="Oğuz Öztekin" userId="33c0df0f-d5fe-4bda-8f43-141ad7af67e3" providerId="ADAL" clId="{48B824AD-1B2A-47A8-8D92-6FE6E622A650}" dt="2024-12-16T18:14:36.358" v="169334"/>
          <ac:cxnSpMkLst>
            <pc:docMk/>
            <pc:sldMk cId="3316977847" sldId="293"/>
            <ac:cxnSpMk id="551" creationId="{D804E878-141F-DB0E-9514-41A41F14BA1C}"/>
          </ac:cxnSpMkLst>
        </pc:cxnChg>
        <pc:cxnChg chg="add del mod ord">
          <ac:chgData name="Oğuz Öztekin" userId="33c0df0f-d5fe-4bda-8f43-141ad7af67e3" providerId="ADAL" clId="{48B824AD-1B2A-47A8-8D92-6FE6E622A650}" dt="2024-12-16T18:14:36.360" v="169337"/>
          <ac:cxnSpMkLst>
            <pc:docMk/>
            <pc:sldMk cId="3316977847" sldId="293"/>
            <ac:cxnSpMk id="552" creationId="{3D6FDEB5-F818-33CB-5B90-FE5212872701}"/>
          </ac:cxnSpMkLst>
        </pc:cxnChg>
        <pc:cxnChg chg="add del mod ord">
          <ac:chgData name="Oğuz Öztekin" userId="33c0df0f-d5fe-4bda-8f43-141ad7af67e3" providerId="ADAL" clId="{48B824AD-1B2A-47A8-8D92-6FE6E622A650}" dt="2024-12-16T18:14:36.360" v="169340"/>
          <ac:cxnSpMkLst>
            <pc:docMk/>
            <pc:sldMk cId="3316977847" sldId="293"/>
            <ac:cxnSpMk id="553" creationId="{A53029FB-1360-CFE1-EBB9-56D6694D58A6}"/>
          </ac:cxnSpMkLst>
        </pc:cxnChg>
        <pc:cxnChg chg="add del mod ord">
          <ac:chgData name="Oğuz Öztekin" userId="33c0df0f-d5fe-4bda-8f43-141ad7af67e3" providerId="ADAL" clId="{48B824AD-1B2A-47A8-8D92-6FE6E622A650}" dt="2024-12-16T18:14:36.361" v="169343"/>
          <ac:cxnSpMkLst>
            <pc:docMk/>
            <pc:sldMk cId="3316977847" sldId="293"/>
            <ac:cxnSpMk id="554" creationId="{3A52F2D7-9860-8142-865E-480B192E3FB9}"/>
          </ac:cxnSpMkLst>
        </pc:cxnChg>
        <pc:cxnChg chg="add del mod ord">
          <ac:chgData name="Oğuz Öztekin" userId="33c0df0f-d5fe-4bda-8f43-141ad7af67e3" providerId="ADAL" clId="{48B824AD-1B2A-47A8-8D92-6FE6E622A650}" dt="2024-12-16T18:14:36.362" v="169346"/>
          <ac:cxnSpMkLst>
            <pc:docMk/>
            <pc:sldMk cId="3316977847" sldId="293"/>
            <ac:cxnSpMk id="555" creationId="{EB02E217-E650-F8FC-1AB8-021F039BDC3B}"/>
          </ac:cxnSpMkLst>
        </pc:cxnChg>
        <pc:cxnChg chg="add del mod ord">
          <ac:chgData name="Oğuz Öztekin" userId="33c0df0f-d5fe-4bda-8f43-141ad7af67e3" providerId="ADAL" clId="{48B824AD-1B2A-47A8-8D92-6FE6E622A650}" dt="2024-12-16T18:14:36.364" v="169349"/>
          <ac:cxnSpMkLst>
            <pc:docMk/>
            <pc:sldMk cId="3316977847" sldId="293"/>
            <ac:cxnSpMk id="556" creationId="{C7F5DFEA-6256-275A-2CC8-D8B8AA7A28F7}"/>
          </ac:cxnSpMkLst>
        </pc:cxnChg>
        <pc:cxnChg chg="add del mod ord">
          <ac:chgData name="Oğuz Öztekin" userId="33c0df0f-d5fe-4bda-8f43-141ad7af67e3" providerId="ADAL" clId="{48B824AD-1B2A-47A8-8D92-6FE6E622A650}" dt="2024-12-16T18:14:36.364" v="169352"/>
          <ac:cxnSpMkLst>
            <pc:docMk/>
            <pc:sldMk cId="3316977847" sldId="293"/>
            <ac:cxnSpMk id="557" creationId="{AAAD88B0-39CC-4D7C-AE36-B1C4ADBDC68B}"/>
          </ac:cxnSpMkLst>
        </pc:cxnChg>
        <pc:cxnChg chg="add del mod ord">
          <ac:chgData name="Oğuz Öztekin" userId="33c0df0f-d5fe-4bda-8f43-141ad7af67e3" providerId="ADAL" clId="{48B824AD-1B2A-47A8-8D92-6FE6E622A650}" dt="2024-12-16T18:14:36.365" v="169355"/>
          <ac:cxnSpMkLst>
            <pc:docMk/>
            <pc:sldMk cId="3316977847" sldId="293"/>
            <ac:cxnSpMk id="558" creationId="{698AF755-5BCD-D1B7-A186-85203C538A54}"/>
          </ac:cxnSpMkLst>
        </pc:cxnChg>
        <pc:cxnChg chg="add del mod ord">
          <ac:chgData name="Oğuz Öztekin" userId="33c0df0f-d5fe-4bda-8f43-141ad7af67e3" providerId="ADAL" clId="{48B824AD-1B2A-47A8-8D92-6FE6E622A650}" dt="2024-12-16T18:14:36.366" v="169358"/>
          <ac:cxnSpMkLst>
            <pc:docMk/>
            <pc:sldMk cId="3316977847" sldId="293"/>
            <ac:cxnSpMk id="559" creationId="{1110325E-FDB6-29E9-B8BA-C6AB018AC03A}"/>
          </ac:cxnSpMkLst>
        </pc:cxnChg>
        <pc:cxnChg chg="add del mod ord">
          <ac:chgData name="Oğuz Öztekin" userId="33c0df0f-d5fe-4bda-8f43-141ad7af67e3" providerId="ADAL" clId="{48B824AD-1B2A-47A8-8D92-6FE6E622A650}" dt="2024-12-16T18:14:36.366" v="169361"/>
          <ac:cxnSpMkLst>
            <pc:docMk/>
            <pc:sldMk cId="3316977847" sldId="293"/>
            <ac:cxnSpMk id="560" creationId="{A03F30B4-C464-9BE7-EE16-7A2093B3E481}"/>
          </ac:cxnSpMkLst>
        </pc:cxnChg>
        <pc:cxnChg chg="add del mod ord">
          <ac:chgData name="Oğuz Öztekin" userId="33c0df0f-d5fe-4bda-8f43-141ad7af67e3" providerId="ADAL" clId="{48B824AD-1B2A-47A8-8D92-6FE6E622A650}" dt="2024-12-16T18:14:36.368" v="169364"/>
          <ac:cxnSpMkLst>
            <pc:docMk/>
            <pc:sldMk cId="3316977847" sldId="293"/>
            <ac:cxnSpMk id="561" creationId="{C163E7DF-A09D-588B-F240-E63E295D4646}"/>
          </ac:cxnSpMkLst>
        </pc:cxnChg>
        <pc:cxnChg chg="add del mod ord">
          <ac:chgData name="Oğuz Öztekin" userId="33c0df0f-d5fe-4bda-8f43-141ad7af67e3" providerId="ADAL" clId="{48B824AD-1B2A-47A8-8D92-6FE6E622A650}" dt="2024-12-16T18:14:36.369" v="169367"/>
          <ac:cxnSpMkLst>
            <pc:docMk/>
            <pc:sldMk cId="3316977847" sldId="293"/>
            <ac:cxnSpMk id="562" creationId="{F35316F8-11E4-6AD8-20F2-DF98F2949EFA}"/>
          </ac:cxnSpMkLst>
        </pc:cxnChg>
        <pc:cxnChg chg="add del mod ord">
          <ac:chgData name="Oğuz Öztekin" userId="33c0df0f-d5fe-4bda-8f43-141ad7af67e3" providerId="ADAL" clId="{48B824AD-1B2A-47A8-8D92-6FE6E622A650}" dt="2024-12-16T18:14:30.115" v="167621"/>
          <ac:cxnSpMkLst>
            <pc:docMk/>
            <pc:sldMk cId="3316977847" sldId="293"/>
            <ac:cxnSpMk id="563" creationId="{D3C8215F-DB44-2A56-D969-FF68812C9FAD}"/>
          </ac:cxnSpMkLst>
        </pc:cxnChg>
        <pc:cxnChg chg="add del mod ord">
          <ac:chgData name="Oğuz Öztekin" userId="33c0df0f-d5fe-4bda-8f43-141ad7af67e3" providerId="ADAL" clId="{48B824AD-1B2A-47A8-8D92-6FE6E622A650}" dt="2024-12-16T18:14:30.118" v="167624"/>
          <ac:cxnSpMkLst>
            <pc:docMk/>
            <pc:sldMk cId="3316977847" sldId="293"/>
            <ac:cxnSpMk id="564" creationId="{B50862EB-FC34-6D3B-105F-F352BE3C1352}"/>
          </ac:cxnSpMkLst>
        </pc:cxnChg>
        <pc:cxnChg chg="add del mod ord">
          <ac:chgData name="Oğuz Öztekin" userId="33c0df0f-d5fe-4bda-8f43-141ad7af67e3" providerId="ADAL" clId="{48B824AD-1B2A-47A8-8D92-6FE6E622A650}" dt="2024-12-16T18:14:30.119" v="167627"/>
          <ac:cxnSpMkLst>
            <pc:docMk/>
            <pc:sldMk cId="3316977847" sldId="293"/>
            <ac:cxnSpMk id="565" creationId="{B40CAB97-0AA3-4BDC-FFA0-E8F3FA1A135F}"/>
          </ac:cxnSpMkLst>
        </pc:cxnChg>
        <pc:cxnChg chg="add del mod ord">
          <ac:chgData name="Oğuz Öztekin" userId="33c0df0f-d5fe-4bda-8f43-141ad7af67e3" providerId="ADAL" clId="{48B824AD-1B2A-47A8-8D92-6FE6E622A650}" dt="2024-12-16T18:14:30.119" v="167630"/>
          <ac:cxnSpMkLst>
            <pc:docMk/>
            <pc:sldMk cId="3316977847" sldId="293"/>
            <ac:cxnSpMk id="566" creationId="{684FF598-6589-1816-F060-81D6F7D72C41}"/>
          </ac:cxnSpMkLst>
        </pc:cxnChg>
        <pc:cxnChg chg="add del mod ord">
          <ac:chgData name="Oğuz Öztekin" userId="33c0df0f-d5fe-4bda-8f43-141ad7af67e3" providerId="ADAL" clId="{48B824AD-1B2A-47A8-8D92-6FE6E622A650}" dt="2024-12-16T18:14:30.121" v="167633"/>
          <ac:cxnSpMkLst>
            <pc:docMk/>
            <pc:sldMk cId="3316977847" sldId="293"/>
            <ac:cxnSpMk id="567" creationId="{440E77BE-87B1-4F03-4DC4-AFACE64D099B}"/>
          </ac:cxnSpMkLst>
        </pc:cxnChg>
        <pc:cxnChg chg="add del mod ord">
          <ac:chgData name="Oğuz Öztekin" userId="33c0df0f-d5fe-4bda-8f43-141ad7af67e3" providerId="ADAL" clId="{48B824AD-1B2A-47A8-8D92-6FE6E622A650}" dt="2024-12-16T18:14:30.121" v="167636"/>
          <ac:cxnSpMkLst>
            <pc:docMk/>
            <pc:sldMk cId="3316977847" sldId="293"/>
            <ac:cxnSpMk id="568" creationId="{63DDFDA5-0D36-94B2-E646-35A4B8D285C3}"/>
          </ac:cxnSpMkLst>
        </pc:cxnChg>
        <pc:cxnChg chg="add del mod ord">
          <ac:chgData name="Oğuz Öztekin" userId="33c0df0f-d5fe-4bda-8f43-141ad7af67e3" providerId="ADAL" clId="{48B824AD-1B2A-47A8-8D92-6FE6E622A650}" dt="2024-12-16T18:14:30.122" v="167639"/>
          <ac:cxnSpMkLst>
            <pc:docMk/>
            <pc:sldMk cId="3316977847" sldId="293"/>
            <ac:cxnSpMk id="569" creationId="{60A95A77-E858-3985-F545-F47ED01548FD}"/>
          </ac:cxnSpMkLst>
        </pc:cxnChg>
        <pc:cxnChg chg="add del mod ord">
          <ac:chgData name="Oğuz Öztekin" userId="33c0df0f-d5fe-4bda-8f43-141ad7af67e3" providerId="ADAL" clId="{48B824AD-1B2A-47A8-8D92-6FE6E622A650}" dt="2024-12-16T18:14:30.123" v="167642"/>
          <ac:cxnSpMkLst>
            <pc:docMk/>
            <pc:sldMk cId="3316977847" sldId="293"/>
            <ac:cxnSpMk id="570" creationId="{6F0F3785-6ADE-9129-B8DD-DF0CB17C1D9D}"/>
          </ac:cxnSpMkLst>
        </pc:cxnChg>
        <pc:cxnChg chg="add del mod ord">
          <ac:chgData name="Oğuz Öztekin" userId="33c0df0f-d5fe-4bda-8f43-141ad7af67e3" providerId="ADAL" clId="{48B824AD-1B2A-47A8-8D92-6FE6E622A650}" dt="2024-12-16T18:14:30.124" v="167645"/>
          <ac:cxnSpMkLst>
            <pc:docMk/>
            <pc:sldMk cId="3316977847" sldId="293"/>
            <ac:cxnSpMk id="571" creationId="{0B93A7A7-38F0-1EE9-6700-006A4D85C0D3}"/>
          </ac:cxnSpMkLst>
        </pc:cxnChg>
        <pc:cxnChg chg="add del mod ord">
          <ac:chgData name="Oğuz Öztekin" userId="33c0df0f-d5fe-4bda-8f43-141ad7af67e3" providerId="ADAL" clId="{48B824AD-1B2A-47A8-8D92-6FE6E622A650}" dt="2024-12-16T18:14:30.125" v="167648"/>
          <ac:cxnSpMkLst>
            <pc:docMk/>
            <pc:sldMk cId="3316977847" sldId="293"/>
            <ac:cxnSpMk id="572" creationId="{43765B84-29AF-4549-B90C-F4D9EF99220C}"/>
          </ac:cxnSpMkLst>
        </pc:cxnChg>
        <pc:cxnChg chg="add del mod ord">
          <ac:chgData name="Oğuz Öztekin" userId="33c0df0f-d5fe-4bda-8f43-141ad7af67e3" providerId="ADAL" clId="{48B824AD-1B2A-47A8-8D92-6FE6E622A650}" dt="2024-12-16T18:14:30.125" v="167651"/>
          <ac:cxnSpMkLst>
            <pc:docMk/>
            <pc:sldMk cId="3316977847" sldId="293"/>
            <ac:cxnSpMk id="573" creationId="{9E47FEE8-BAEC-C3B8-B4C4-2D85E7A6597D}"/>
          </ac:cxnSpMkLst>
        </pc:cxnChg>
        <pc:cxnChg chg="add del mod ord">
          <ac:chgData name="Oğuz Öztekin" userId="33c0df0f-d5fe-4bda-8f43-141ad7af67e3" providerId="ADAL" clId="{48B824AD-1B2A-47A8-8D92-6FE6E622A650}" dt="2024-12-16T18:14:30.127" v="167654"/>
          <ac:cxnSpMkLst>
            <pc:docMk/>
            <pc:sldMk cId="3316977847" sldId="293"/>
            <ac:cxnSpMk id="574" creationId="{6F622F9A-2542-3B17-A8E2-67E16EEDED35}"/>
          </ac:cxnSpMkLst>
        </pc:cxnChg>
        <pc:cxnChg chg="add del mod ord">
          <ac:chgData name="Oğuz Öztekin" userId="33c0df0f-d5fe-4bda-8f43-141ad7af67e3" providerId="ADAL" clId="{48B824AD-1B2A-47A8-8D92-6FE6E622A650}" dt="2024-12-16T18:14:30.127" v="167657"/>
          <ac:cxnSpMkLst>
            <pc:docMk/>
            <pc:sldMk cId="3316977847" sldId="293"/>
            <ac:cxnSpMk id="575" creationId="{24E47455-2B0C-399A-2413-30AB90E57D06}"/>
          </ac:cxnSpMkLst>
        </pc:cxnChg>
        <pc:cxnChg chg="add del mod ord">
          <ac:chgData name="Oğuz Öztekin" userId="33c0df0f-d5fe-4bda-8f43-141ad7af67e3" providerId="ADAL" clId="{48B824AD-1B2A-47A8-8D92-6FE6E622A650}" dt="2024-12-16T18:14:30.128" v="167660"/>
          <ac:cxnSpMkLst>
            <pc:docMk/>
            <pc:sldMk cId="3316977847" sldId="293"/>
            <ac:cxnSpMk id="576" creationId="{59CE0D48-76E5-095C-E5C3-FD1E4A63CD30}"/>
          </ac:cxnSpMkLst>
        </pc:cxnChg>
        <pc:cxnChg chg="add del mod ord">
          <ac:chgData name="Oğuz Öztekin" userId="33c0df0f-d5fe-4bda-8f43-141ad7af67e3" providerId="ADAL" clId="{48B824AD-1B2A-47A8-8D92-6FE6E622A650}" dt="2024-12-16T18:14:30.129" v="167663"/>
          <ac:cxnSpMkLst>
            <pc:docMk/>
            <pc:sldMk cId="3316977847" sldId="293"/>
            <ac:cxnSpMk id="577" creationId="{D29F833C-BD17-2ACB-AD19-38D2D4E70249}"/>
          </ac:cxnSpMkLst>
        </pc:cxnChg>
        <pc:cxnChg chg="add del mod ord">
          <ac:chgData name="Oğuz Öztekin" userId="33c0df0f-d5fe-4bda-8f43-141ad7af67e3" providerId="ADAL" clId="{48B824AD-1B2A-47A8-8D92-6FE6E622A650}" dt="2024-12-16T18:14:30.130" v="167666"/>
          <ac:cxnSpMkLst>
            <pc:docMk/>
            <pc:sldMk cId="3316977847" sldId="293"/>
            <ac:cxnSpMk id="578" creationId="{9ACFDF37-3071-BB41-5557-748AD946EA48}"/>
          </ac:cxnSpMkLst>
        </pc:cxnChg>
        <pc:cxnChg chg="add del mod ord">
          <ac:chgData name="Oğuz Öztekin" userId="33c0df0f-d5fe-4bda-8f43-141ad7af67e3" providerId="ADAL" clId="{48B824AD-1B2A-47A8-8D92-6FE6E622A650}" dt="2024-12-16T18:14:30.131" v="167669"/>
          <ac:cxnSpMkLst>
            <pc:docMk/>
            <pc:sldMk cId="3316977847" sldId="293"/>
            <ac:cxnSpMk id="579" creationId="{00200C6E-0389-41B0-5163-750F4F7F5796}"/>
          </ac:cxnSpMkLst>
        </pc:cxnChg>
        <pc:cxnChg chg="add del mod ord">
          <ac:chgData name="Oğuz Öztekin" userId="33c0df0f-d5fe-4bda-8f43-141ad7af67e3" providerId="ADAL" clId="{48B824AD-1B2A-47A8-8D92-6FE6E622A650}" dt="2024-12-16T18:14:30.131" v="167672"/>
          <ac:cxnSpMkLst>
            <pc:docMk/>
            <pc:sldMk cId="3316977847" sldId="293"/>
            <ac:cxnSpMk id="580" creationId="{A240E3E4-7505-DBB0-2736-69969CC622FE}"/>
          </ac:cxnSpMkLst>
        </pc:cxnChg>
        <pc:cxnChg chg="add del mod ord">
          <ac:chgData name="Oğuz Öztekin" userId="33c0df0f-d5fe-4bda-8f43-141ad7af67e3" providerId="ADAL" clId="{48B824AD-1B2A-47A8-8D92-6FE6E622A650}" dt="2024-12-16T18:14:30.132" v="167675"/>
          <ac:cxnSpMkLst>
            <pc:docMk/>
            <pc:sldMk cId="3316977847" sldId="293"/>
            <ac:cxnSpMk id="581" creationId="{917B7EE1-F234-9595-18BA-781F69CC2B16}"/>
          </ac:cxnSpMkLst>
        </pc:cxnChg>
        <pc:cxnChg chg="add del mod ord">
          <ac:chgData name="Oğuz Öztekin" userId="33c0df0f-d5fe-4bda-8f43-141ad7af67e3" providerId="ADAL" clId="{48B824AD-1B2A-47A8-8D92-6FE6E622A650}" dt="2024-12-16T18:14:30.133" v="167678"/>
          <ac:cxnSpMkLst>
            <pc:docMk/>
            <pc:sldMk cId="3316977847" sldId="293"/>
            <ac:cxnSpMk id="582" creationId="{539E49C3-07AE-06BA-14E7-CC872AF5DDFF}"/>
          </ac:cxnSpMkLst>
        </pc:cxnChg>
        <pc:cxnChg chg="add del mod ord">
          <ac:chgData name="Oğuz Öztekin" userId="33c0df0f-d5fe-4bda-8f43-141ad7af67e3" providerId="ADAL" clId="{48B824AD-1B2A-47A8-8D92-6FE6E622A650}" dt="2024-12-16T18:14:23.884" v="165728"/>
          <ac:cxnSpMkLst>
            <pc:docMk/>
            <pc:sldMk cId="3316977847" sldId="293"/>
            <ac:cxnSpMk id="583" creationId="{322B1989-B3A3-1E6C-2FEF-D91068740F87}"/>
          </ac:cxnSpMkLst>
        </pc:cxnChg>
        <pc:cxnChg chg="add del mod ord">
          <ac:chgData name="Oğuz Öztekin" userId="33c0df0f-d5fe-4bda-8f43-141ad7af67e3" providerId="ADAL" clId="{48B824AD-1B2A-47A8-8D92-6FE6E622A650}" dt="2024-12-16T18:14:23.889" v="165731"/>
          <ac:cxnSpMkLst>
            <pc:docMk/>
            <pc:sldMk cId="3316977847" sldId="293"/>
            <ac:cxnSpMk id="584" creationId="{981A653F-03EA-29F8-DBB6-3ED607A0AD58}"/>
          </ac:cxnSpMkLst>
        </pc:cxnChg>
        <pc:cxnChg chg="add del mod ord">
          <ac:chgData name="Oğuz Öztekin" userId="33c0df0f-d5fe-4bda-8f43-141ad7af67e3" providerId="ADAL" clId="{48B824AD-1B2A-47A8-8D92-6FE6E622A650}" dt="2024-12-16T18:14:23.890" v="165734"/>
          <ac:cxnSpMkLst>
            <pc:docMk/>
            <pc:sldMk cId="3316977847" sldId="293"/>
            <ac:cxnSpMk id="585" creationId="{1AF07201-79BD-36B6-44CD-72E443E209B8}"/>
          </ac:cxnSpMkLst>
        </pc:cxnChg>
        <pc:cxnChg chg="add del mod ord">
          <ac:chgData name="Oğuz Öztekin" userId="33c0df0f-d5fe-4bda-8f43-141ad7af67e3" providerId="ADAL" clId="{48B824AD-1B2A-47A8-8D92-6FE6E622A650}" dt="2024-12-16T18:14:23.891" v="165737"/>
          <ac:cxnSpMkLst>
            <pc:docMk/>
            <pc:sldMk cId="3316977847" sldId="293"/>
            <ac:cxnSpMk id="586" creationId="{CF92FB46-E381-1D80-1DC3-823FCC1725EF}"/>
          </ac:cxnSpMkLst>
        </pc:cxnChg>
        <pc:cxnChg chg="add del mod ord">
          <ac:chgData name="Oğuz Öztekin" userId="33c0df0f-d5fe-4bda-8f43-141ad7af67e3" providerId="ADAL" clId="{48B824AD-1B2A-47A8-8D92-6FE6E622A650}" dt="2024-12-16T18:14:23.891" v="165740"/>
          <ac:cxnSpMkLst>
            <pc:docMk/>
            <pc:sldMk cId="3316977847" sldId="293"/>
            <ac:cxnSpMk id="587" creationId="{55909700-BA22-0990-41C4-3D3F94E7562F}"/>
          </ac:cxnSpMkLst>
        </pc:cxnChg>
        <pc:cxnChg chg="add del mod ord">
          <ac:chgData name="Oğuz Öztekin" userId="33c0df0f-d5fe-4bda-8f43-141ad7af67e3" providerId="ADAL" clId="{48B824AD-1B2A-47A8-8D92-6FE6E622A650}" dt="2024-12-16T18:14:23.892" v="165743"/>
          <ac:cxnSpMkLst>
            <pc:docMk/>
            <pc:sldMk cId="3316977847" sldId="293"/>
            <ac:cxnSpMk id="588" creationId="{22DAFF14-9F0A-6D7A-5A10-C514E0BF5A62}"/>
          </ac:cxnSpMkLst>
        </pc:cxnChg>
        <pc:cxnChg chg="add del mod ord">
          <ac:chgData name="Oğuz Öztekin" userId="33c0df0f-d5fe-4bda-8f43-141ad7af67e3" providerId="ADAL" clId="{48B824AD-1B2A-47A8-8D92-6FE6E622A650}" dt="2024-12-16T18:14:23.893" v="165746"/>
          <ac:cxnSpMkLst>
            <pc:docMk/>
            <pc:sldMk cId="3316977847" sldId="293"/>
            <ac:cxnSpMk id="589" creationId="{3B3AA213-E04C-D57A-4DEA-F9701FB54A80}"/>
          </ac:cxnSpMkLst>
        </pc:cxnChg>
        <pc:cxnChg chg="add del mod ord">
          <ac:chgData name="Oğuz Öztekin" userId="33c0df0f-d5fe-4bda-8f43-141ad7af67e3" providerId="ADAL" clId="{48B824AD-1B2A-47A8-8D92-6FE6E622A650}" dt="2024-12-16T18:14:23.894" v="165749"/>
          <ac:cxnSpMkLst>
            <pc:docMk/>
            <pc:sldMk cId="3316977847" sldId="293"/>
            <ac:cxnSpMk id="590" creationId="{83F4902E-477A-3535-623E-99BAA2470F92}"/>
          </ac:cxnSpMkLst>
        </pc:cxnChg>
        <pc:cxnChg chg="add del mod ord">
          <ac:chgData name="Oğuz Öztekin" userId="33c0df0f-d5fe-4bda-8f43-141ad7af67e3" providerId="ADAL" clId="{48B824AD-1B2A-47A8-8D92-6FE6E622A650}" dt="2024-12-16T18:14:23.895" v="165752"/>
          <ac:cxnSpMkLst>
            <pc:docMk/>
            <pc:sldMk cId="3316977847" sldId="293"/>
            <ac:cxnSpMk id="591" creationId="{DBD6FAE4-2F0B-A758-92B8-D84CCA67E855}"/>
          </ac:cxnSpMkLst>
        </pc:cxnChg>
        <pc:cxnChg chg="add del mod ord">
          <ac:chgData name="Oğuz Öztekin" userId="33c0df0f-d5fe-4bda-8f43-141ad7af67e3" providerId="ADAL" clId="{48B824AD-1B2A-47A8-8D92-6FE6E622A650}" dt="2024-12-16T18:14:23.896" v="165755"/>
          <ac:cxnSpMkLst>
            <pc:docMk/>
            <pc:sldMk cId="3316977847" sldId="293"/>
            <ac:cxnSpMk id="592" creationId="{BF19955A-C14C-3723-D10C-540797EEABE0}"/>
          </ac:cxnSpMkLst>
        </pc:cxnChg>
        <pc:cxnChg chg="add del mod ord">
          <ac:chgData name="Oğuz Öztekin" userId="33c0df0f-d5fe-4bda-8f43-141ad7af67e3" providerId="ADAL" clId="{48B824AD-1B2A-47A8-8D92-6FE6E622A650}" dt="2024-12-16T18:14:23.897" v="165758"/>
          <ac:cxnSpMkLst>
            <pc:docMk/>
            <pc:sldMk cId="3316977847" sldId="293"/>
            <ac:cxnSpMk id="593" creationId="{42CC05F8-C902-44DF-30EC-6CCCD19037EA}"/>
          </ac:cxnSpMkLst>
        </pc:cxnChg>
        <pc:cxnChg chg="add del mod ord">
          <ac:chgData name="Oğuz Öztekin" userId="33c0df0f-d5fe-4bda-8f43-141ad7af67e3" providerId="ADAL" clId="{48B824AD-1B2A-47A8-8D92-6FE6E622A650}" dt="2024-12-16T18:14:23.898" v="165761"/>
          <ac:cxnSpMkLst>
            <pc:docMk/>
            <pc:sldMk cId="3316977847" sldId="293"/>
            <ac:cxnSpMk id="594" creationId="{A2AC47CF-4121-72AF-FF86-B148FC139D82}"/>
          </ac:cxnSpMkLst>
        </pc:cxnChg>
        <pc:cxnChg chg="add del mod ord">
          <ac:chgData name="Oğuz Öztekin" userId="33c0df0f-d5fe-4bda-8f43-141ad7af67e3" providerId="ADAL" clId="{48B824AD-1B2A-47A8-8D92-6FE6E622A650}" dt="2024-12-16T18:14:23.899" v="165764"/>
          <ac:cxnSpMkLst>
            <pc:docMk/>
            <pc:sldMk cId="3316977847" sldId="293"/>
            <ac:cxnSpMk id="595" creationId="{32EED1F4-3A2E-5C6D-08BC-C74C561E7E0A}"/>
          </ac:cxnSpMkLst>
        </pc:cxnChg>
        <pc:cxnChg chg="add del mod ord">
          <ac:chgData name="Oğuz Öztekin" userId="33c0df0f-d5fe-4bda-8f43-141ad7af67e3" providerId="ADAL" clId="{48B824AD-1B2A-47A8-8D92-6FE6E622A650}" dt="2024-12-16T18:14:23.900" v="165767"/>
          <ac:cxnSpMkLst>
            <pc:docMk/>
            <pc:sldMk cId="3316977847" sldId="293"/>
            <ac:cxnSpMk id="596" creationId="{39523EE5-6363-9E65-B559-89279BCC4342}"/>
          </ac:cxnSpMkLst>
        </pc:cxnChg>
        <pc:cxnChg chg="add del mod ord">
          <ac:chgData name="Oğuz Öztekin" userId="33c0df0f-d5fe-4bda-8f43-141ad7af67e3" providerId="ADAL" clId="{48B824AD-1B2A-47A8-8D92-6FE6E622A650}" dt="2024-12-16T18:14:23.901" v="165770"/>
          <ac:cxnSpMkLst>
            <pc:docMk/>
            <pc:sldMk cId="3316977847" sldId="293"/>
            <ac:cxnSpMk id="597" creationId="{2A13D80E-AFB1-D1E4-5AB8-6F09B8164F35}"/>
          </ac:cxnSpMkLst>
        </pc:cxnChg>
        <pc:cxnChg chg="add del mod ord">
          <ac:chgData name="Oğuz Öztekin" userId="33c0df0f-d5fe-4bda-8f43-141ad7af67e3" providerId="ADAL" clId="{48B824AD-1B2A-47A8-8D92-6FE6E622A650}" dt="2024-12-16T18:14:23.902" v="165773"/>
          <ac:cxnSpMkLst>
            <pc:docMk/>
            <pc:sldMk cId="3316977847" sldId="293"/>
            <ac:cxnSpMk id="598" creationId="{B376DD3E-03FB-9AEF-DD93-DB2B331172BA}"/>
          </ac:cxnSpMkLst>
        </pc:cxnChg>
        <pc:cxnChg chg="add del mod ord">
          <ac:chgData name="Oğuz Öztekin" userId="33c0df0f-d5fe-4bda-8f43-141ad7af67e3" providerId="ADAL" clId="{48B824AD-1B2A-47A8-8D92-6FE6E622A650}" dt="2024-12-16T18:14:23.903" v="165776"/>
          <ac:cxnSpMkLst>
            <pc:docMk/>
            <pc:sldMk cId="3316977847" sldId="293"/>
            <ac:cxnSpMk id="599" creationId="{D6877405-D538-7D0D-8A3F-9A481E887823}"/>
          </ac:cxnSpMkLst>
        </pc:cxnChg>
        <pc:cxnChg chg="add del mod ord">
          <ac:chgData name="Oğuz Öztekin" userId="33c0df0f-d5fe-4bda-8f43-141ad7af67e3" providerId="ADAL" clId="{48B824AD-1B2A-47A8-8D92-6FE6E622A650}" dt="2024-12-16T18:14:23.904" v="165779"/>
          <ac:cxnSpMkLst>
            <pc:docMk/>
            <pc:sldMk cId="3316977847" sldId="293"/>
            <ac:cxnSpMk id="600" creationId="{2F572334-F12C-FF12-A17A-6A74288693A4}"/>
          </ac:cxnSpMkLst>
        </pc:cxnChg>
        <pc:cxnChg chg="add del mod ord">
          <ac:chgData name="Oğuz Öztekin" userId="33c0df0f-d5fe-4bda-8f43-141ad7af67e3" providerId="ADAL" clId="{48B824AD-1B2A-47A8-8D92-6FE6E622A650}" dt="2024-12-16T18:14:23.905" v="165782"/>
          <ac:cxnSpMkLst>
            <pc:docMk/>
            <pc:sldMk cId="3316977847" sldId="293"/>
            <ac:cxnSpMk id="601" creationId="{E2E25D44-1653-E5EB-C3B7-1D7BFDDE3D29}"/>
          </ac:cxnSpMkLst>
        </pc:cxnChg>
        <pc:cxnChg chg="add del mod ord">
          <ac:chgData name="Oğuz Öztekin" userId="33c0df0f-d5fe-4bda-8f43-141ad7af67e3" providerId="ADAL" clId="{48B824AD-1B2A-47A8-8D92-6FE6E622A650}" dt="2024-12-16T18:14:23.906" v="165785"/>
          <ac:cxnSpMkLst>
            <pc:docMk/>
            <pc:sldMk cId="3316977847" sldId="293"/>
            <ac:cxnSpMk id="602" creationId="{A28BEAA2-9D3E-BAD3-6BD9-3D7A958F2A27}"/>
          </ac:cxnSpMkLst>
        </pc:cxnChg>
        <pc:cxnChg chg="add mod ord">
          <ac:chgData name="Oğuz Öztekin" userId="33c0df0f-d5fe-4bda-8f43-141ad7af67e3" providerId="ADAL" clId="{48B824AD-1B2A-47A8-8D92-6FE6E622A650}" dt="2024-12-16T18:21:37.201" v="179015"/>
          <ac:cxnSpMkLst>
            <pc:docMk/>
            <pc:sldMk cId="3316977847" sldId="293"/>
            <ac:cxnSpMk id="632" creationId="{27D4B18E-A29F-2844-2136-DAD4B1A5336B}"/>
          </ac:cxnSpMkLst>
        </pc:cxnChg>
        <pc:cxnChg chg="add mod ord">
          <ac:chgData name="Oğuz Öztekin" userId="33c0df0f-d5fe-4bda-8f43-141ad7af67e3" providerId="ADAL" clId="{48B824AD-1B2A-47A8-8D92-6FE6E622A650}" dt="2024-12-16T18:21:37.201" v="179017"/>
          <ac:cxnSpMkLst>
            <pc:docMk/>
            <pc:sldMk cId="3316977847" sldId="293"/>
            <ac:cxnSpMk id="639" creationId="{7B16186A-A669-EF72-61EB-0E4E728200EA}"/>
          </ac:cxnSpMkLst>
        </pc:cxnChg>
        <pc:cxnChg chg="add mod ord">
          <ac:chgData name="Oğuz Öztekin" userId="33c0df0f-d5fe-4bda-8f43-141ad7af67e3" providerId="ADAL" clId="{48B824AD-1B2A-47A8-8D92-6FE6E622A650}" dt="2024-12-16T18:21:37.201" v="179019"/>
          <ac:cxnSpMkLst>
            <pc:docMk/>
            <pc:sldMk cId="3316977847" sldId="293"/>
            <ac:cxnSpMk id="640" creationId="{470EFDA0-A927-97F1-3B5B-0F0C59C7A635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18:30:17.508" v="202770"/>
        <pc:sldMkLst>
          <pc:docMk/>
          <pc:sldMk cId="664108087" sldId="294"/>
        </pc:sldMkLst>
        <pc:spChg chg="mod ord">
          <ac:chgData name="Oğuz Öztekin" userId="33c0df0f-d5fe-4bda-8f43-141ad7af67e3" providerId="ADAL" clId="{48B824AD-1B2A-47A8-8D92-6FE6E622A650}" dt="2024-12-16T18:30:17.493" v="202702"/>
          <ac:spMkLst>
            <pc:docMk/>
            <pc:sldMk cId="664108087" sldId="294"/>
            <ac:spMk id="2" creationId="{8138B73B-AF9E-E2F6-EECB-1478F35CA489}"/>
          </ac:spMkLst>
        </pc:spChg>
        <pc:spChg chg="add del mod modVis">
          <ac:chgData name="Oğuz Öztekin" userId="33c0df0f-d5fe-4bda-8f43-141ad7af67e3" providerId="ADAL" clId="{48B824AD-1B2A-47A8-8D92-6FE6E622A650}" dt="2024-12-16T18:21:11.759" v="178464"/>
          <ac:spMkLst>
            <pc:docMk/>
            <pc:sldMk cId="664108087" sldId="294"/>
            <ac:spMk id="4" creationId="{C156EF09-746C-7240-49D0-DDF467673666}"/>
          </ac:spMkLst>
        </pc:spChg>
        <pc:spChg chg="add del mod modVis">
          <ac:chgData name="Oğuz Öztekin" userId="33c0df0f-d5fe-4bda-8f43-141ad7af67e3" providerId="ADAL" clId="{48B824AD-1B2A-47A8-8D92-6FE6E622A650}" dt="2024-12-16T18:21:20.474" v="178616"/>
          <ac:spMkLst>
            <pc:docMk/>
            <pc:sldMk cId="664108087" sldId="294"/>
            <ac:spMk id="6" creationId="{B10DB810-23EB-2B37-2586-78DD13DDB308}"/>
          </ac:spMkLst>
        </pc:spChg>
        <pc:spChg chg="add del mod modVis">
          <ac:chgData name="Oğuz Öztekin" userId="33c0df0f-d5fe-4bda-8f43-141ad7af67e3" providerId="ADAL" clId="{48B824AD-1B2A-47A8-8D92-6FE6E622A650}" dt="2024-12-16T18:21:46.537" v="179542"/>
          <ac:spMkLst>
            <pc:docMk/>
            <pc:sldMk cId="664108087" sldId="294"/>
            <ac:spMk id="8" creationId="{07C4702B-5A26-C600-78CF-B92FC1CF45B4}"/>
          </ac:spMkLst>
        </pc:spChg>
        <pc:spChg chg="add del mod">
          <ac:chgData name="Oğuz Öztekin" userId="33c0df0f-d5fe-4bda-8f43-141ad7af67e3" providerId="ADAL" clId="{48B824AD-1B2A-47A8-8D92-6FE6E622A650}" dt="2024-12-16T18:23:06.935" v="196680"/>
          <ac:spMkLst>
            <pc:docMk/>
            <pc:sldMk cId="664108087" sldId="294"/>
            <ac:spMk id="10" creationId="{5F9F25E4-9E0D-6167-49D4-8ED50DA8CBB0}"/>
          </ac:spMkLst>
        </pc:spChg>
        <pc:spChg chg="add del mod">
          <ac:chgData name="Oğuz Öztekin" userId="33c0df0f-d5fe-4bda-8f43-141ad7af67e3" providerId="ADAL" clId="{48B824AD-1B2A-47A8-8D92-6FE6E622A650}" dt="2024-12-16T18:23:06.940" v="196683"/>
          <ac:spMkLst>
            <pc:docMk/>
            <pc:sldMk cId="664108087" sldId="294"/>
            <ac:spMk id="11" creationId="{FDE10DEA-9B06-1B92-B8FC-B7DD96897452}"/>
          </ac:spMkLst>
        </pc:spChg>
        <pc:spChg chg="add del mod">
          <ac:chgData name="Oğuz Öztekin" userId="33c0df0f-d5fe-4bda-8f43-141ad7af67e3" providerId="ADAL" clId="{48B824AD-1B2A-47A8-8D92-6FE6E622A650}" dt="2024-12-16T18:23:06.941" v="196686"/>
          <ac:spMkLst>
            <pc:docMk/>
            <pc:sldMk cId="664108087" sldId="294"/>
            <ac:spMk id="12" creationId="{03FC0DBA-2CE2-6986-44D2-E4A877815422}"/>
          </ac:spMkLst>
        </pc:spChg>
        <pc:spChg chg="add del mod">
          <ac:chgData name="Oğuz Öztekin" userId="33c0df0f-d5fe-4bda-8f43-141ad7af67e3" providerId="ADAL" clId="{48B824AD-1B2A-47A8-8D92-6FE6E622A650}" dt="2024-12-16T18:23:06.941" v="196689"/>
          <ac:spMkLst>
            <pc:docMk/>
            <pc:sldMk cId="664108087" sldId="294"/>
            <ac:spMk id="13" creationId="{05C52CE6-E64F-99D6-C2A7-F4CC02D52166}"/>
          </ac:spMkLst>
        </pc:spChg>
        <pc:spChg chg="add del mod">
          <ac:chgData name="Oğuz Öztekin" userId="33c0df0f-d5fe-4bda-8f43-141ad7af67e3" providerId="ADAL" clId="{48B824AD-1B2A-47A8-8D92-6FE6E622A650}" dt="2024-12-16T18:23:06.941" v="196692"/>
          <ac:spMkLst>
            <pc:docMk/>
            <pc:sldMk cId="664108087" sldId="294"/>
            <ac:spMk id="14" creationId="{1F830634-1505-76BE-9C81-6992042A0E24}"/>
          </ac:spMkLst>
        </pc:spChg>
        <pc:spChg chg="add del mod">
          <ac:chgData name="Oğuz Öztekin" userId="33c0df0f-d5fe-4bda-8f43-141ad7af67e3" providerId="ADAL" clId="{48B824AD-1B2A-47A8-8D92-6FE6E622A650}" dt="2024-12-16T18:23:06.941" v="196695"/>
          <ac:spMkLst>
            <pc:docMk/>
            <pc:sldMk cId="664108087" sldId="294"/>
            <ac:spMk id="15" creationId="{54E6BA3A-92F4-2F92-D520-718EA9A8DF0E}"/>
          </ac:spMkLst>
        </pc:spChg>
        <pc:spChg chg="add del mod">
          <ac:chgData name="Oğuz Öztekin" userId="33c0df0f-d5fe-4bda-8f43-141ad7af67e3" providerId="ADAL" clId="{48B824AD-1B2A-47A8-8D92-6FE6E622A650}" dt="2024-12-16T18:23:06.941" v="196698"/>
          <ac:spMkLst>
            <pc:docMk/>
            <pc:sldMk cId="664108087" sldId="294"/>
            <ac:spMk id="16" creationId="{2839BF25-3158-B943-CEDF-EF6EEE6499EF}"/>
          </ac:spMkLst>
        </pc:spChg>
        <pc:spChg chg="add del mod">
          <ac:chgData name="Oğuz Öztekin" userId="33c0df0f-d5fe-4bda-8f43-141ad7af67e3" providerId="ADAL" clId="{48B824AD-1B2A-47A8-8D92-6FE6E622A650}" dt="2024-12-16T18:23:06.941" v="196701"/>
          <ac:spMkLst>
            <pc:docMk/>
            <pc:sldMk cId="664108087" sldId="294"/>
            <ac:spMk id="17" creationId="{DF9AC482-39EA-2424-83AD-0D44AEDC22D6}"/>
          </ac:spMkLst>
        </pc:spChg>
        <pc:spChg chg="add del mod">
          <ac:chgData name="Oğuz Öztekin" userId="33c0df0f-d5fe-4bda-8f43-141ad7af67e3" providerId="ADAL" clId="{48B824AD-1B2A-47A8-8D92-6FE6E622A650}" dt="2024-12-16T18:23:06.941" v="196704"/>
          <ac:spMkLst>
            <pc:docMk/>
            <pc:sldMk cId="664108087" sldId="294"/>
            <ac:spMk id="18" creationId="{88D728D2-7578-5F83-5B6D-E6968DF22A72}"/>
          </ac:spMkLst>
        </pc:spChg>
        <pc:spChg chg="add del mod">
          <ac:chgData name="Oğuz Öztekin" userId="33c0df0f-d5fe-4bda-8f43-141ad7af67e3" providerId="ADAL" clId="{48B824AD-1B2A-47A8-8D92-6FE6E622A650}" dt="2024-12-16T18:23:06.941" v="196707"/>
          <ac:spMkLst>
            <pc:docMk/>
            <pc:sldMk cId="664108087" sldId="294"/>
            <ac:spMk id="19" creationId="{22396A8C-AD44-100C-70BB-DE6242C09051}"/>
          </ac:spMkLst>
        </pc:spChg>
        <pc:spChg chg="mod">
          <ac:chgData name="Oğuz Öztekin" userId="33c0df0f-d5fe-4bda-8f43-141ad7af67e3" providerId="ADAL" clId="{48B824AD-1B2A-47A8-8D92-6FE6E622A650}" dt="2024-12-16T18:30:17.501" v="202745"/>
          <ac:spMkLst>
            <pc:docMk/>
            <pc:sldMk cId="664108087" sldId="294"/>
            <ac:spMk id="20" creationId="{0664F999-3D05-FE87-6FD5-BE6BCAD565E9}"/>
          </ac:spMkLst>
        </pc:spChg>
        <pc:spChg chg="add del mod">
          <ac:chgData name="Oğuz Öztekin" userId="33c0df0f-d5fe-4bda-8f43-141ad7af67e3" providerId="ADAL" clId="{48B824AD-1B2A-47A8-8D92-6FE6E622A650}" dt="2024-12-16T18:23:06.948" v="196710"/>
          <ac:spMkLst>
            <pc:docMk/>
            <pc:sldMk cId="664108087" sldId="294"/>
            <ac:spMk id="21" creationId="{F7DA9D9A-FE61-3B6A-FDF6-F753660F9C17}"/>
          </ac:spMkLst>
        </pc:spChg>
        <pc:spChg chg="add del mod">
          <ac:chgData name="Oğuz Öztekin" userId="33c0df0f-d5fe-4bda-8f43-141ad7af67e3" providerId="ADAL" clId="{48B824AD-1B2A-47A8-8D92-6FE6E622A650}" dt="2024-12-16T18:23:06.948" v="196713"/>
          <ac:spMkLst>
            <pc:docMk/>
            <pc:sldMk cId="664108087" sldId="294"/>
            <ac:spMk id="22" creationId="{7BA31054-C5C3-5AFA-4609-BC1F627C2B14}"/>
          </ac:spMkLst>
        </pc:spChg>
        <pc:spChg chg="add del mod">
          <ac:chgData name="Oğuz Öztekin" userId="33c0df0f-d5fe-4bda-8f43-141ad7af67e3" providerId="ADAL" clId="{48B824AD-1B2A-47A8-8D92-6FE6E622A650}" dt="2024-12-16T18:23:06.950" v="196716"/>
          <ac:spMkLst>
            <pc:docMk/>
            <pc:sldMk cId="664108087" sldId="294"/>
            <ac:spMk id="23" creationId="{F0F1D28F-DB70-1F70-9808-2F0844CD5A81}"/>
          </ac:spMkLst>
        </pc:spChg>
        <pc:spChg chg="add del mod">
          <ac:chgData name="Oğuz Öztekin" userId="33c0df0f-d5fe-4bda-8f43-141ad7af67e3" providerId="ADAL" clId="{48B824AD-1B2A-47A8-8D92-6FE6E622A650}" dt="2024-12-16T18:23:06.951" v="196719"/>
          <ac:spMkLst>
            <pc:docMk/>
            <pc:sldMk cId="664108087" sldId="294"/>
            <ac:spMk id="24" creationId="{9F3B259E-2865-18FD-29D5-25A062458708}"/>
          </ac:spMkLst>
        </pc:spChg>
        <pc:spChg chg="add del mod">
          <ac:chgData name="Oğuz Öztekin" userId="33c0df0f-d5fe-4bda-8f43-141ad7af67e3" providerId="ADAL" clId="{48B824AD-1B2A-47A8-8D92-6FE6E622A650}" dt="2024-12-16T18:23:06.951" v="196722"/>
          <ac:spMkLst>
            <pc:docMk/>
            <pc:sldMk cId="664108087" sldId="294"/>
            <ac:spMk id="25" creationId="{00BF67C6-FFE8-275A-7828-F9BB9AA0C08F}"/>
          </ac:spMkLst>
        </pc:spChg>
        <pc:spChg chg="add del mod">
          <ac:chgData name="Oğuz Öztekin" userId="33c0df0f-d5fe-4bda-8f43-141ad7af67e3" providerId="ADAL" clId="{48B824AD-1B2A-47A8-8D92-6FE6E622A650}" dt="2024-12-16T18:23:06.951" v="196725"/>
          <ac:spMkLst>
            <pc:docMk/>
            <pc:sldMk cId="664108087" sldId="294"/>
            <ac:spMk id="26" creationId="{6E3889FD-A984-4409-3E66-0E505B279B41}"/>
          </ac:spMkLst>
        </pc:spChg>
        <pc:spChg chg="add del mod">
          <ac:chgData name="Oğuz Öztekin" userId="33c0df0f-d5fe-4bda-8f43-141ad7af67e3" providerId="ADAL" clId="{48B824AD-1B2A-47A8-8D92-6FE6E622A650}" dt="2024-12-16T18:23:06.951" v="196728"/>
          <ac:spMkLst>
            <pc:docMk/>
            <pc:sldMk cId="664108087" sldId="294"/>
            <ac:spMk id="27" creationId="{BD8BA593-11C1-162F-42FA-15699E9EA3C3}"/>
          </ac:spMkLst>
        </pc:spChg>
        <pc:spChg chg="add del mod">
          <ac:chgData name="Oğuz Öztekin" userId="33c0df0f-d5fe-4bda-8f43-141ad7af67e3" providerId="ADAL" clId="{48B824AD-1B2A-47A8-8D92-6FE6E622A650}" dt="2024-12-16T18:23:06.951" v="196731"/>
          <ac:spMkLst>
            <pc:docMk/>
            <pc:sldMk cId="664108087" sldId="294"/>
            <ac:spMk id="28" creationId="{C17C656A-2ACC-376C-6735-75B742CD9D42}"/>
          </ac:spMkLst>
        </pc:spChg>
        <pc:spChg chg="mod">
          <ac:chgData name="Oğuz Öztekin" userId="33c0df0f-d5fe-4bda-8f43-141ad7af67e3" providerId="ADAL" clId="{48B824AD-1B2A-47A8-8D92-6FE6E622A650}" dt="2024-12-16T18:30:17.501" v="202747"/>
          <ac:spMkLst>
            <pc:docMk/>
            <pc:sldMk cId="664108087" sldId="294"/>
            <ac:spMk id="29" creationId="{597C460C-802D-79A7-9E50-EDB5848A5784}"/>
          </ac:spMkLst>
        </pc:spChg>
        <pc:spChg chg="add del mod">
          <ac:chgData name="Oğuz Öztekin" userId="33c0df0f-d5fe-4bda-8f43-141ad7af67e3" providerId="ADAL" clId="{48B824AD-1B2A-47A8-8D92-6FE6E622A650}" dt="2024-12-16T18:23:06.951" v="196734"/>
          <ac:spMkLst>
            <pc:docMk/>
            <pc:sldMk cId="664108087" sldId="294"/>
            <ac:spMk id="30" creationId="{E0D3BE2C-10F3-F596-3F00-47B39E9CA5CA}"/>
          </ac:spMkLst>
        </pc:spChg>
        <pc:spChg chg="add del mod">
          <ac:chgData name="Oğuz Öztekin" userId="33c0df0f-d5fe-4bda-8f43-141ad7af67e3" providerId="ADAL" clId="{48B824AD-1B2A-47A8-8D92-6FE6E622A650}" dt="2024-12-16T18:23:06.951" v="196737"/>
          <ac:spMkLst>
            <pc:docMk/>
            <pc:sldMk cId="664108087" sldId="294"/>
            <ac:spMk id="31" creationId="{334C8E21-F2AC-C761-E76B-CF42FF19484F}"/>
          </ac:spMkLst>
        </pc:spChg>
        <pc:spChg chg="add del mod">
          <ac:chgData name="Oğuz Öztekin" userId="33c0df0f-d5fe-4bda-8f43-141ad7af67e3" providerId="ADAL" clId="{48B824AD-1B2A-47A8-8D92-6FE6E622A650}" dt="2024-12-16T18:23:01.568" v="196119"/>
          <ac:spMkLst>
            <pc:docMk/>
            <pc:sldMk cId="664108087" sldId="294"/>
            <ac:spMk id="32" creationId="{72B42CCE-8898-5804-F918-92E0EA274FC2}"/>
          </ac:spMkLst>
        </pc:spChg>
        <pc:spChg chg="add del mod">
          <ac:chgData name="Oğuz Öztekin" userId="33c0df0f-d5fe-4bda-8f43-141ad7af67e3" providerId="ADAL" clId="{48B824AD-1B2A-47A8-8D92-6FE6E622A650}" dt="2024-12-16T18:23:01.568" v="196122"/>
          <ac:spMkLst>
            <pc:docMk/>
            <pc:sldMk cId="664108087" sldId="294"/>
            <ac:spMk id="33" creationId="{E063375F-AC9E-840A-9C1E-D805288F10DA}"/>
          </ac:spMkLst>
        </pc:spChg>
        <pc:spChg chg="add del mod">
          <ac:chgData name="Oğuz Öztekin" userId="33c0df0f-d5fe-4bda-8f43-141ad7af67e3" providerId="ADAL" clId="{48B824AD-1B2A-47A8-8D92-6FE6E622A650}" dt="2024-12-16T18:23:01.568" v="196125"/>
          <ac:spMkLst>
            <pc:docMk/>
            <pc:sldMk cId="664108087" sldId="294"/>
            <ac:spMk id="34" creationId="{D030002C-94DF-B670-208A-DDB86E0F2C5F}"/>
          </ac:spMkLst>
        </pc:spChg>
        <pc:spChg chg="mod">
          <ac:chgData name="Oğuz Öztekin" userId="33c0df0f-d5fe-4bda-8f43-141ad7af67e3" providerId="ADAL" clId="{48B824AD-1B2A-47A8-8D92-6FE6E622A650}" dt="2024-12-16T18:30:17.502" v="202749"/>
          <ac:spMkLst>
            <pc:docMk/>
            <pc:sldMk cId="664108087" sldId="294"/>
            <ac:spMk id="35" creationId="{38224AE6-2787-F845-69F1-61F3CC008D29}"/>
          </ac:spMkLst>
        </pc:spChg>
        <pc:spChg chg="mod">
          <ac:chgData name="Oğuz Öztekin" userId="33c0df0f-d5fe-4bda-8f43-141ad7af67e3" providerId="ADAL" clId="{48B824AD-1B2A-47A8-8D92-6FE6E622A650}" dt="2024-12-16T18:30:17.502" v="202751"/>
          <ac:spMkLst>
            <pc:docMk/>
            <pc:sldMk cId="664108087" sldId="294"/>
            <ac:spMk id="36" creationId="{DE311F8C-E3A5-3D9E-7E92-FC5227B369D4}"/>
          </ac:spMkLst>
        </pc:spChg>
        <pc:spChg chg="mod">
          <ac:chgData name="Oğuz Öztekin" userId="33c0df0f-d5fe-4bda-8f43-141ad7af67e3" providerId="ADAL" clId="{48B824AD-1B2A-47A8-8D92-6FE6E622A650}" dt="2024-12-16T18:30:17.503" v="202754"/>
          <ac:spMkLst>
            <pc:docMk/>
            <pc:sldMk cId="664108087" sldId="294"/>
            <ac:spMk id="37" creationId="{94AFBBEB-2D11-FA4B-AF0D-38B01D71EA3C}"/>
          </ac:spMkLst>
        </pc:spChg>
        <pc:spChg chg="add del mod">
          <ac:chgData name="Oğuz Öztekin" userId="33c0df0f-d5fe-4bda-8f43-141ad7af67e3" providerId="ADAL" clId="{48B824AD-1B2A-47A8-8D92-6FE6E622A650}" dt="2024-12-16T18:23:01.568" v="196128"/>
          <ac:spMkLst>
            <pc:docMk/>
            <pc:sldMk cId="664108087" sldId="294"/>
            <ac:spMk id="38" creationId="{FE0C1340-39C3-4B16-4A2B-8C007A0A46A0}"/>
          </ac:spMkLst>
        </pc:spChg>
        <pc:spChg chg="add del mod">
          <ac:chgData name="Oğuz Öztekin" userId="33c0df0f-d5fe-4bda-8f43-141ad7af67e3" providerId="ADAL" clId="{48B824AD-1B2A-47A8-8D92-6FE6E622A650}" dt="2024-12-16T18:23:01.568" v="196131"/>
          <ac:spMkLst>
            <pc:docMk/>
            <pc:sldMk cId="664108087" sldId="294"/>
            <ac:spMk id="39" creationId="{118B907E-A80E-C877-1E8D-1EA84F48F31B}"/>
          </ac:spMkLst>
        </pc:spChg>
        <pc:spChg chg="add del mod">
          <ac:chgData name="Oğuz Öztekin" userId="33c0df0f-d5fe-4bda-8f43-141ad7af67e3" providerId="ADAL" clId="{48B824AD-1B2A-47A8-8D92-6FE6E622A650}" dt="2024-12-16T18:23:01.568" v="196134"/>
          <ac:spMkLst>
            <pc:docMk/>
            <pc:sldMk cId="664108087" sldId="294"/>
            <ac:spMk id="40" creationId="{C6619C4E-BD25-8F00-DA19-744D70ED352E}"/>
          </ac:spMkLst>
        </pc:spChg>
        <pc:spChg chg="add del mod">
          <ac:chgData name="Oğuz Öztekin" userId="33c0df0f-d5fe-4bda-8f43-141ad7af67e3" providerId="ADAL" clId="{48B824AD-1B2A-47A8-8D92-6FE6E622A650}" dt="2024-12-16T18:23:01.568" v="196137"/>
          <ac:spMkLst>
            <pc:docMk/>
            <pc:sldMk cId="664108087" sldId="294"/>
            <ac:spMk id="41" creationId="{B647802B-6EA6-5D49-DD96-F14557865F39}"/>
          </ac:spMkLst>
        </pc:spChg>
        <pc:spChg chg="add del mod">
          <ac:chgData name="Oğuz Öztekin" userId="33c0df0f-d5fe-4bda-8f43-141ad7af67e3" providerId="ADAL" clId="{48B824AD-1B2A-47A8-8D92-6FE6E622A650}" dt="2024-12-16T18:23:01.575" v="196140"/>
          <ac:spMkLst>
            <pc:docMk/>
            <pc:sldMk cId="664108087" sldId="294"/>
            <ac:spMk id="42" creationId="{DE03F944-EBBA-4FDC-D6F2-FDE99306FBB7}"/>
          </ac:spMkLst>
        </pc:spChg>
        <pc:spChg chg="add del mod">
          <ac:chgData name="Oğuz Öztekin" userId="33c0df0f-d5fe-4bda-8f43-141ad7af67e3" providerId="ADAL" clId="{48B824AD-1B2A-47A8-8D92-6FE6E622A650}" dt="2024-12-16T18:23:01.576" v="196143"/>
          <ac:spMkLst>
            <pc:docMk/>
            <pc:sldMk cId="664108087" sldId="294"/>
            <ac:spMk id="43" creationId="{941DA315-6B57-4E49-4B44-3AFDB70E448B}"/>
          </ac:spMkLst>
        </pc:spChg>
        <pc:spChg chg="add del mod">
          <ac:chgData name="Oğuz Öztekin" userId="33c0df0f-d5fe-4bda-8f43-141ad7af67e3" providerId="ADAL" clId="{48B824AD-1B2A-47A8-8D92-6FE6E622A650}" dt="2024-12-16T18:23:01.576" v="196146"/>
          <ac:spMkLst>
            <pc:docMk/>
            <pc:sldMk cId="664108087" sldId="294"/>
            <ac:spMk id="44" creationId="{F9BACD83-8422-F985-3D81-94DB795AEAE1}"/>
          </ac:spMkLst>
        </pc:spChg>
        <pc:spChg chg="add del mod">
          <ac:chgData name="Oğuz Öztekin" userId="33c0df0f-d5fe-4bda-8f43-141ad7af67e3" providerId="ADAL" clId="{48B824AD-1B2A-47A8-8D92-6FE6E622A650}" dt="2024-12-16T18:23:01.576" v="196149"/>
          <ac:spMkLst>
            <pc:docMk/>
            <pc:sldMk cId="664108087" sldId="294"/>
            <ac:spMk id="45" creationId="{511F6242-5BDB-66EE-3350-75C7908C894A}"/>
          </ac:spMkLst>
        </pc:spChg>
        <pc:spChg chg="add del mod">
          <ac:chgData name="Oğuz Öztekin" userId="33c0df0f-d5fe-4bda-8f43-141ad7af67e3" providerId="ADAL" clId="{48B824AD-1B2A-47A8-8D92-6FE6E622A650}" dt="2024-12-16T18:23:01.576" v="196152"/>
          <ac:spMkLst>
            <pc:docMk/>
            <pc:sldMk cId="664108087" sldId="294"/>
            <ac:spMk id="46" creationId="{0F417D8C-4124-B13A-ABC9-E8B861AA1B7F}"/>
          </ac:spMkLst>
        </pc:spChg>
        <pc:spChg chg="add del mod">
          <ac:chgData name="Oğuz Öztekin" userId="33c0df0f-d5fe-4bda-8f43-141ad7af67e3" providerId="ADAL" clId="{48B824AD-1B2A-47A8-8D92-6FE6E622A650}" dt="2024-12-16T18:23:01.580" v="196155"/>
          <ac:spMkLst>
            <pc:docMk/>
            <pc:sldMk cId="664108087" sldId="294"/>
            <ac:spMk id="47" creationId="{0E4797FC-2D0B-A85D-D17D-6CF575D2E86F}"/>
          </ac:spMkLst>
        </pc:spChg>
        <pc:spChg chg="add del mod">
          <ac:chgData name="Oğuz Öztekin" userId="33c0df0f-d5fe-4bda-8f43-141ad7af67e3" providerId="ADAL" clId="{48B824AD-1B2A-47A8-8D92-6FE6E622A650}" dt="2024-12-16T18:23:01.580" v="196158"/>
          <ac:spMkLst>
            <pc:docMk/>
            <pc:sldMk cId="664108087" sldId="294"/>
            <ac:spMk id="48" creationId="{554973F3-FF1C-183E-4ED4-F57127905E9C}"/>
          </ac:spMkLst>
        </pc:spChg>
        <pc:spChg chg="add del mod">
          <ac:chgData name="Oğuz Öztekin" userId="33c0df0f-d5fe-4bda-8f43-141ad7af67e3" providerId="ADAL" clId="{48B824AD-1B2A-47A8-8D92-6FE6E622A650}" dt="2024-12-16T18:23:01.580" v="196161"/>
          <ac:spMkLst>
            <pc:docMk/>
            <pc:sldMk cId="664108087" sldId="294"/>
            <ac:spMk id="49" creationId="{D5954055-5654-8767-8A6D-958401206EBF}"/>
          </ac:spMkLst>
        </pc:spChg>
        <pc:spChg chg="add del mod">
          <ac:chgData name="Oğuz Öztekin" userId="33c0df0f-d5fe-4bda-8f43-141ad7af67e3" providerId="ADAL" clId="{48B824AD-1B2A-47A8-8D92-6FE6E622A650}" dt="2024-12-16T18:23:01.580" v="196164"/>
          <ac:spMkLst>
            <pc:docMk/>
            <pc:sldMk cId="664108087" sldId="294"/>
            <ac:spMk id="50" creationId="{47ED83CB-DD12-FD68-1041-D049BFB4AFF3}"/>
          </ac:spMkLst>
        </pc:spChg>
        <pc:spChg chg="add del mod">
          <ac:chgData name="Oğuz Öztekin" userId="33c0df0f-d5fe-4bda-8f43-141ad7af67e3" providerId="ADAL" clId="{48B824AD-1B2A-47A8-8D92-6FE6E622A650}" dt="2024-12-16T18:23:01.580" v="196167"/>
          <ac:spMkLst>
            <pc:docMk/>
            <pc:sldMk cId="664108087" sldId="294"/>
            <ac:spMk id="51" creationId="{45205898-9554-7EEA-5CE4-384165BA9EDA}"/>
          </ac:spMkLst>
        </pc:spChg>
        <pc:spChg chg="add del mod">
          <ac:chgData name="Oğuz Öztekin" userId="33c0df0f-d5fe-4bda-8f43-141ad7af67e3" providerId="ADAL" clId="{48B824AD-1B2A-47A8-8D92-6FE6E622A650}" dt="2024-12-16T18:23:01.580" v="196170"/>
          <ac:spMkLst>
            <pc:docMk/>
            <pc:sldMk cId="664108087" sldId="294"/>
            <ac:spMk id="52" creationId="{FC07C3D5-5F72-1418-4A7D-19D1F0917293}"/>
          </ac:spMkLst>
        </pc:spChg>
        <pc:spChg chg="add del mod">
          <ac:chgData name="Oğuz Öztekin" userId="33c0df0f-d5fe-4bda-8f43-141ad7af67e3" providerId="ADAL" clId="{48B824AD-1B2A-47A8-8D92-6FE6E622A650}" dt="2024-12-16T18:23:01.580" v="196173"/>
          <ac:spMkLst>
            <pc:docMk/>
            <pc:sldMk cId="664108087" sldId="294"/>
            <ac:spMk id="53" creationId="{363249DE-F2F6-0FAC-EECD-292F7D69EC99}"/>
          </ac:spMkLst>
        </pc:spChg>
        <pc:spChg chg="add del mod">
          <ac:chgData name="Oğuz Öztekin" userId="33c0df0f-d5fe-4bda-8f43-141ad7af67e3" providerId="ADAL" clId="{48B824AD-1B2A-47A8-8D92-6FE6E622A650}" dt="2024-12-16T18:23:01.580" v="196176"/>
          <ac:spMkLst>
            <pc:docMk/>
            <pc:sldMk cId="664108087" sldId="294"/>
            <ac:spMk id="54" creationId="{CF966961-D823-F6B8-B50A-CDF43C5E1DC8}"/>
          </ac:spMkLst>
        </pc:spChg>
        <pc:spChg chg="add del mod">
          <ac:chgData name="Oğuz Öztekin" userId="33c0df0f-d5fe-4bda-8f43-141ad7af67e3" providerId="ADAL" clId="{48B824AD-1B2A-47A8-8D92-6FE6E622A650}" dt="2024-12-16T18:22:55.730" v="195394"/>
          <ac:spMkLst>
            <pc:docMk/>
            <pc:sldMk cId="664108087" sldId="294"/>
            <ac:spMk id="55" creationId="{56F181B8-FE36-BCA7-A71E-D568239920AF}"/>
          </ac:spMkLst>
        </pc:spChg>
        <pc:spChg chg="add del mod">
          <ac:chgData name="Oğuz Öztekin" userId="33c0df0f-d5fe-4bda-8f43-141ad7af67e3" providerId="ADAL" clId="{48B824AD-1B2A-47A8-8D92-6FE6E622A650}" dt="2024-12-16T18:22:55.731" v="195397"/>
          <ac:spMkLst>
            <pc:docMk/>
            <pc:sldMk cId="664108087" sldId="294"/>
            <ac:spMk id="56" creationId="{4B5635DB-0CD8-E6E8-14FC-36DCE4175BEB}"/>
          </ac:spMkLst>
        </pc:spChg>
        <pc:spChg chg="add del mod">
          <ac:chgData name="Oğuz Öztekin" userId="33c0df0f-d5fe-4bda-8f43-141ad7af67e3" providerId="ADAL" clId="{48B824AD-1B2A-47A8-8D92-6FE6E622A650}" dt="2024-12-16T18:22:55.732" v="195400"/>
          <ac:spMkLst>
            <pc:docMk/>
            <pc:sldMk cId="664108087" sldId="294"/>
            <ac:spMk id="57" creationId="{DB9149A0-7E27-2FBB-22CE-18289AE926DF}"/>
          </ac:spMkLst>
        </pc:spChg>
        <pc:spChg chg="add del mod">
          <ac:chgData name="Oğuz Öztekin" userId="33c0df0f-d5fe-4bda-8f43-141ad7af67e3" providerId="ADAL" clId="{48B824AD-1B2A-47A8-8D92-6FE6E622A650}" dt="2024-12-16T18:22:55.733" v="195403"/>
          <ac:spMkLst>
            <pc:docMk/>
            <pc:sldMk cId="664108087" sldId="294"/>
            <ac:spMk id="58" creationId="{2060EDE6-8FE6-E703-DCEF-C5D1944190BB}"/>
          </ac:spMkLst>
        </pc:spChg>
        <pc:spChg chg="add del mod">
          <ac:chgData name="Oğuz Öztekin" userId="33c0df0f-d5fe-4bda-8f43-141ad7af67e3" providerId="ADAL" clId="{48B824AD-1B2A-47A8-8D92-6FE6E622A650}" dt="2024-12-16T18:22:55.733" v="195406"/>
          <ac:spMkLst>
            <pc:docMk/>
            <pc:sldMk cId="664108087" sldId="294"/>
            <ac:spMk id="59" creationId="{0B65792C-E34A-77FA-A1F4-34257B5FAD19}"/>
          </ac:spMkLst>
        </pc:spChg>
        <pc:spChg chg="add del mod">
          <ac:chgData name="Oğuz Öztekin" userId="33c0df0f-d5fe-4bda-8f43-141ad7af67e3" providerId="ADAL" clId="{48B824AD-1B2A-47A8-8D92-6FE6E622A650}" dt="2024-12-16T18:22:55.734" v="195409"/>
          <ac:spMkLst>
            <pc:docMk/>
            <pc:sldMk cId="664108087" sldId="294"/>
            <ac:spMk id="60" creationId="{0EC28999-18AC-8EC7-4B74-0A263DABD7BE}"/>
          </ac:spMkLst>
        </pc:spChg>
        <pc:spChg chg="add del mod">
          <ac:chgData name="Oğuz Öztekin" userId="33c0df0f-d5fe-4bda-8f43-141ad7af67e3" providerId="ADAL" clId="{48B824AD-1B2A-47A8-8D92-6FE6E622A650}" dt="2024-12-16T18:22:55.735" v="195412"/>
          <ac:spMkLst>
            <pc:docMk/>
            <pc:sldMk cId="664108087" sldId="294"/>
            <ac:spMk id="61" creationId="{984946A2-C267-5A25-A6BF-3EF74671FB09}"/>
          </ac:spMkLst>
        </pc:spChg>
        <pc:spChg chg="add del mod">
          <ac:chgData name="Oğuz Öztekin" userId="33c0df0f-d5fe-4bda-8f43-141ad7af67e3" providerId="ADAL" clId="{48B824AD-1B2A-47A8-8D92-6FE6E622A650}" dt="2024-12-16T18:22:55.736" v="195415"/>
          <ac:spMkLst>
            <pc:docMk/>
            <pc:sldMk cId="664108087" sldId="294"/>
            <ac:spMk id="62" creationId="{556219ED-73E0-4C23-5E49-9B0E449E85E0}"/>
          </ac:spMkLst>
        </pc:spChg>
        <pc:spChg chg="add del mod">
          <ac:chgData name="Oğuz Öztekin" userId="33c0df0f-d5fe-4bda-8f43-141ad7af67e3" providerId="ADAL" clId="{48B824AD-1B2A-47A8-8D92-6FE6E622A650}" dt="2024-12-16T18:22:55.737" v="195418"/>
          <ac:spMkLst>
            <pc:docMk/>
            <pc:sldMk cId="664108087" sldId="294"/>
            <ac:spMk id="63" creationId="{6216BCD7-7F28-5555-6090-94CF88D79B89}"/>
          </ac:spMkLst>
        </pc:spChg>
        <pc:spChg chg="add del mod">
          <ac:chgData name="Oğuz Öztekin" userId="33c0df0f-d5fe-4bda-8f43-141ad7af67e3" providerId="ADAL" clId="{48B824AD-1B2A-47A8-8D92-6FE6E622A650}" dt="2024-12-16T18:22:49.585" v="194499"/>
          <ac:spMkLst>
            <pc:docMk/>
            <pc:sldMk cId="664108087" sldId="294"/>
            <ac:spMk id="64" creationId="{67712D46-F1B8-6C30-4E39-D388F7E15C51}"/>
          </ac:spMkLst>
        </pc:spChg>
        <pc:spChg chg="add del mod">
          <ac:chgData name="Oğuz Öztekin" userId="33c0df0f-d5fe-4bda-8f43-141ad7af67e3" providerId="ADAL" clId="{48B824AD-1B2A-47A8-8D92-6FE6E622A650}" dt="2024-12-16T18:22:49.585" v="194502"/>
          <ac:spMkLst>
            <pc:docMk/>
            <pc:sldMk cId="664108087" sldId="294"/>
            <ac:spMk id="65" creationId="{4047E637-42A4-D93B-CC54-7EE0F9704D47}"/>
          </ac:spMkLst>
        </pc:spChg>
        <pc:spChg chg="add del mod">
          <ac:chgData name="Oğuz Öztekin" userId="33c0df0f-d5fe-4bda-8f43-141ad7af67e3" providerId="ADAL" clId="{48B824AD-1B2A-47A8-8D92-6FE6E622A650}" dt="2024-12-16T18:22:49.585" v="194505"/>
          <ac:spMkLst>
            <pc:docMk/>
            <pc:sldMk cId="664108087" sldId="294"/>
            <ac:spMk id="66" creationId="{30768A80-559E-5DFD-063F-3309A56CC28E}"/>
          </ac:spMkLst>
        </pc:spChg>
        <pc:spChg chg="add del mod">
          <ac:chgData name="Oğuz Öztekin" userId="33c0df0f-d5fe-4bda-8f43-141ad7af67e3" providerId="ADAL" clId="{48B824AD-1B2A-47A8-8D92-6FE6E622A650}" dt="2024-12-16T18:22:49.585" v="194508"/>
          <ac:spMkLst>
            <pc:docMk/>
            <pc:sldMk cId="664108087" sldId="294"/>
            <ac:spMk id="67" creationId="{0B3F526F-3D2E-6401-6CE0-5F39849E64D6}"/>
          </ac:spMkLst>
        </pc:spChg>
        <pc:spChg chg="add del mod">
          <ac:chgData name="Oğuz Öztekin" userId="33c0df0f-d5fe-4bda-8f43-141ad7af67e3" providerId="ADAL" clId="{48B824AD-1B2A-47A8-8D92-6FE6E622A650}" dt="2024-12-16T18:22:49.585" v="194511"/>
          <ac:spMkLst>
            <pc:docMk/>
            <pc:sldMk cId="664108087" sldId="294"/>
            <ac:spMk id="68" creationId="{ED0A0763-DB4A-9ED8-4A6A-837F05D8B05B}"/>
          </ac:spMkLst>
        </pc:spChg>
        <pc:spChg chg="add del mod">
          <ac:chgData name="Oğuz Öztekin" userId="33c0df0f-d5fe-4bda-8f43-141ad7af67e3" providerId="ADAL" clId="{48B824AD-1B2A-47A8-8D92-6FE6E622A650}" dt="2024-12-16T18:22:49.585" v="194514"/>
          <ac:spMkLst>
            <pc:docMk/>
            <pc:sldMk cId="664108087" sldId="294"/>
            <ac:spMk id="69" creationId="{79403811-BC4F-0F09-B423-4BD9F569995C}"/>
          </ac:spMkLst>
        </pc:spChg>
        <pc:spChg chg="add del mod">
          <ac:chgData name="Oğuz Öztekin" userId="33c0df0f-d5fe-4bda-8f43-141ad7af67e3" providerId="ADAL" clId="{48B824AD-1B2A-47A8-8D92-6FE6E622A650}" dt="2024-12-16T18:22:49.590" v="194517"/>
          <ac:spMkLst>
            <pc:docMk/>
            <pc:sldMk cId="664108087" sldId="294"/>
            <ac:spMk id="70" creationId="{82FA4E66-54A5-CD5F-5D33-11467A867CD1}"/>
          </ac:spMkLst>
        </pc:spChg>
        <pc:spChg chg="add del mod">
          <ac:chgData name="Oğuz Öztekin" userId="33c0df0f-d5fe-4bda-8f43-141ad7af67e3" providerId="ADAL" clId="{48B824AD-1B2A-47A8-8D92-6FE6E622A650}" dt="2024-12-16T18:22:49.590" v="194520"/>
          <ac:spMkLst>
            <pc:docMk/>
            <pc:sldMk cId="664108087" sldId="294"/>
            <ac:spMk id="71" creationId="{0F0894FB-4833-38BF-77C9-DDF70A59119A}"/>
          </ac:spMkLst>
        </pc:spChg>
        <pc:spChg chg="add del mod">
          <ac:chgData name="Oğuz Öztekin" userId="33c0df0f-d5fe-4bda-8f43-141ad7af67e3" providerId="ADAL" clId="{48B824AD-1B2A-47A8-8D92-6FE6E622A650}" dt="2024-12-16T18:22:49.590" v="194523"/>
          <ac:spMkLst>
            <pc:docMk/>
            <pc:sldMk cId="664108087" sldId="294"/>
            <ac:spMk id="72" creationId="{721D406A-A624-9F2B-B46B-43A7471BB85B}"/>
          </ac:spMkLst>
        </pc:spChg>
        <pc:spChg chg="add del mod">
          <ac:chgData name="Oğuz Öztekin" userId="33c0df0f-d5fe-4bda-8f43-141ad7af67e3" providerId="ADAL" clId="{48B824AD-1B2A-47A8-8D92-6FE6E622A650}" dt="2024-12-16T18:22:49.590" v="194526"/>
          <ac:spMkLst>
            <pc:docMk/>
            <pc:sldMk cId="664108087" sldId="294"/>
            <ac:spMk id="73" creationId="{6A465C4C-F031-4528-E161-8706235FA735}"/>
          </ac:spMkLst>
        </pc:spChg>
        <pc:spChg chg="add del mod">
          <ac:chgData name="Oğuz Öztekin" userId="33c0df0f-d5fe-4bda-8f43-141ad7af67e3" providerId="ADAL" clId="{48B824AD-1B2A-47A8-8D92-6FE6E622A650}" dt="2024-12-16T18:22:43.322" v="193344"/>
          <ac:spMkLst>
            <pc:docMk/>
            <pc:sldMk cId="664108087" sldId="294"/>
            <ac:spMk id="74" creationId="{A4CC0B7D-C75E-F3D0-1E71-F8B06ADE4479}"/>
          </ac:spMkLst>
        </pc:spChg>
        <pc:spChg chg="add del mod">
          <ac:chgData name="Oğuz Öztekin" userId="33c0df0f-d5fe-4bda-8f43-141ad7af67e3" providerId="ADAL" clId="{48B824AD-1B2A-47A8-8D92-6FE6E622A650}" dt="2024-12-16T18:22:43.322" v="193347"/>
          <ac:spMkLst>
            <pc:docMk/>
            <pc:sldMk cId="664108087" sldId="294"/>
            <ac:spMk id="75" creationId="{9E123121-F672-6928-D78E-0884E0D4FB0D}"/>
          </ac:spMkLst>
        </pc:spChg>
        <pc:spChg chg="add del mod">
          <ac:chgData name="Oğuz Öztekin" userId="33c0df0f-d5fe-4bda-8f43-141ad7af67e3" providerId="ADAL" clId="{48B824AD-1B2A-47A8-8D92-6FE6E622A650}" dt="2024-12-16T18:22:43.324" v="193350"/>
          <ac:spMkLst>
            <pc:docMk/>
            <pc:sldMk cId="664108087" sldId="294"/>
            <ac:spMk id="76" creationId="{FDD44A1B-7F44-54C5-3C7B-B22C899C601C}"/>
          </ac:spMkLst>
        </pc:spChg>
        <pc:spChg chg="add del mod">
          <ac:chgData name="Oğuz Öztekin" userId="33c0df0f-d5fe-4bda-8f43-141ad7af67e3" providerId="ADAL" clId="{48B824AD-1B2A-47A8-8D92-6FE6E622A650}" dt="2024-12-16T18:22:43.325" v="193353"/>
          <ac:spMkLst>
            <pc:docMk/>
            <pc:sldMk cId="664108087" sldId="294"/>
            <ac:spMk id="77" creationId="{D2FD48D0-8733-EA4A-7995-B394E4456F33}"/>
          </ac:spMkLst>
        </pc:spChg>
        <pc:spChg chg="add del mod">
          <ac:chgData name="Oğuz Öztekin" userId="33c0df0f-d5fe-4bda-8f43-141ad7af67e3" providerId="ADAL" clId="{48B824AD-1B2A-47A8-8D92-6FE6E622A650}" dt="2024-12-16T18:22:43.326" v="193356"/>
          <ac:spMkLst>
            <pc:docMk/>
            <pc:sldMk cId="664108087" sldId="294"/>
            <ac:spMk id="78" creationId="{F7A86DDF-1C5B-E4CA-09AE-EBC9078CA81E}"/>
          </ac:spMkLst>
        </pc:spChg>
        <pc:spChg chg="add del mod">
          <ac:chgData name="Oğuz Öztekin" userId="33c0df0f-d5fe-4bda-8f43-141ad7af67e3" providerId="ADAL" clId="{48B824AD-1B2A-47A8-8D92-6FE6E622A650}" dt="2024-12-16T18:22:43.326" v="193359"/>
          <ac:spMkLst>
            <pc:docMk/>
            <pc:sldMk cId="664108087" sldId="294"/>
            <ac:spMk id="79" creationId="{98B06B58-226F-2881-3301-06973547387E}"/>
          </ac:spMkLst>
        </pc:spChg>
        <pc:spChg chg="add del mod">
          <ac:chgData name="Oğuz Öztekin" userId="33c0df0f-d5fe-4bda-8f43-141ad7af67e3" providerId="ADAL" clId="{48B824AD-1B2A-47A8-8D92-6FE6E622A650}" dt="2024-12-16T18:22:43.327" v="193362"/>
          <ac:spMkLst>
            <pc:docMk/>
            <pc:sldMk cId="664108087" sldId="294"/>
            <ac:spMk id="80" creationId="{B8A63157-DFE1-A468-78F8-F71E78ECA0DA}"/>
          </ac:spMkLst>
        </pc:spChg>
        <pc:spChg chg="add del mod">
          <ac:chgData name="Oğuz Öztekin" userId="33c0df0f-d5fe-4bda-8f43-141ad7af67e3" providerId="ADAL" clId="{48B824AD-1B2A-47A8-8D92-6FE6E622A650}" dt="2024-12-16T18:22:43.328" v="193365"/>
          <ac:spMkLst>
            <pc:docMk/>
            <pc:sldMk cId="664108087" sldId="294"/>
            <ac:spMk id="81" creationId="{A7080C33-E740-E22E-E15B-06AD55929D49}"/>
          </ac:spMkLst>
        </pc:spChg>
        <pc:spChg chg="add del mod">
          <ac:chgData name="Oğuz Öztekin" userId="33c0df0f-d5fe-4bda-8f43-141ad7af67e3" providerId="ADAL" clId="{48B824AD-1B2A-47A8-8D92-6FE6E622A650}" dt="2024-12-16T18:22:43.329" v="193368"/>
          <ac:spMkLst>
            <pc:docMk/>
            <pc:sldMk cId="664108087" sldId="294"/>
            <ac:spMk id="82" creationId="{4CACC3F5-2A09-9FAA-7274-ADF6759DB2FD}"/>
          </ac:spMkLst>
        </pc:spChg>
        <pc:spChg chg="add del mod">
          <ac:chgData name="Oğuz Öztekin" userId="33c0df0f-d5fe-4bda-8f43-141ad7af67e3" providerId="ADAL" clId="{48B824AD-1B2A-47A8-8D92-6FE6E622A650}" dt="2024-12-16T18:22:43.330" v="193371"/>
          <ac:spMkLst>
            <pc:docMk/>
            <pc:sldMk cId="664108087" sldId="294"/>
            <ac:spMk id="83" creationId="{53959B07-329B-EDB9-6F91-13A2EB6F0903}"/>
          </ac:spMkLst>
        </pc:spChg>
        <pc:spChg chg="add del mod">
          <ac:chgData name="Oğuz Öztekin" userId="33c0df0f-d5fe-4bda-8f43-141ad7af67e3" providerId="ADAL" clId="{48B824AD-1B2A-47A8-8D92-6FE6E622A650}" dt="2024-12-16T18:22:43.331" v="193374"/>
          <ac:spMkLst>
            <pc:docMk/>
            <pc:sldMk cId="664108087" sldId="294"/>
            <ac:spMk id="84" creationId="{85927A22-1A75-A7CB-C3D5-5E4BBD5C0C01}"/>
          </ac:spMkLst>
        </pc:spChg>
        <pc:spChg chg="add del mod">
          <ac:chgData name="Oğuz Öztekin" userId="33c0df0f-d5fe-4bda-8f43-141ad7af67e3" providerId="ADAL" clId="{48B824AD-1B2A-47A8-8D92-6FE6E622A650}" dt="2024-12-16T18:22:43.332" v="193377"/>
          <ac:spMkLst>
            <pc:docMk/>
            <pc:sldMk cId="664108087" sldId="294"/>
            <ac:spMk id="85" creationId="{451ABE19-89F8-92AF-9959-5CE6F2886931}"/>
          </ac:spMkLst>
        </pc:spChg>
        <pc:spChg chg="mod">
          <ac:chgData name="Oğuz Öztekin" userId="33c0df0f-d5fe-4bda-8f43-141ad7af67e3" providerId="ADAL" clId="{48B824AD-1B2A-47A8-8D92-6FE6E622A650}" dt="2024-12-16T18:30:17.504" v="202756"/>
          <ac:spMkLst>
            <pc:docMk/>
            <pc:sldMk cId="664108087" sldId="294"/>
            <ac:spMk id="86" creationId="{429AAF07-152F-7677-9DEF-FFE306F5322D}"/>
          </ac:spMkLst>
        </pc:spChg>
        <pc:spChg chg="mod">
          <ac:chgData name="Oğuz Öztekin" userId="33c0df0f-d5fe-4bda-8f43-141ad7af67e3" providerId="ADAL" clId="{48B824AD-1B2A-47A8-8D92-6FE6E622A650}" dt="2024-12-16T18:30:17.500" v="202743"/>
          <ac:spMkLst>
            <pc:docMk/>
            <pc:sldMk cId="664108087" sldId="294"/>
            <ac:spMk id="87" creationId="{EC338B10-1088-FA45-3FE6-C8609D4699B4}"/>
          </ac:spMkLst>
        </pc:spChg>
        <pc:spChg chg="mod">
          <ac:chgData name="Oğuz Öztekin" userId="33c0df0f-d5fe-4bda-8f43-141ad7af67e3" providerId="ADAL" clId="{48B824AD-1B2A-47A8-8D92-6FE6E622A650}" dt="2024-12-16T18:30:17.504" v="202759"/>
          <ac:spMkLst>
            <pc:docMk/>
            <pc:sldMk cId="664108087" sldId="294"/>
            <ac:spMk id="88" creationId="{1A2C4B20-8AEE-D890-95DF-E2ECFF238869}"/>
          </ac:spMkLst>
        </pc:spChg>
        <pc:spChg chg="mod">
          <ac:chgData name="Oğuz Öztekin" userId="33c0df0f-d5fe-4bda-8f43-141ad7af67e3" providerId="ADAL" clId="{48B824AD-1B2A-47A8-8D92-6FE6E622A650}" dt="2024-12-16T18:30:17.505" v="202762"/>
          <ac:spMkLst>
            <pc:docMk/>
            <pc:sldMk cId="664108087" sldId="294"/>
            <ac:spMk id="89" creationId="{E3A28BCE-8B97-435C-0364-85F392788710}"/>
          </ac:spMkLst>
        </pc:spChg>
        <pc:spChg chg="mod">
          <ac:chgData name="Oğuz Öztekin" userId="33c0df0f-d5fe-4bda-8f43-141ad7af67e3" providerId="ADAL" clId="{48B824AD-1B2A-47A8-8D92-6FE6E622A650}" dt="2024-12-16T18:30:17.506" v="202764"/>
          <ac:spMkLst>
            <pc:docMk/>
            <pc:sldMk cId="664108087" sldId="294"/>
            <ac:spMk id="90" creationId="{C6D26A7F-2787-23DB-EC3E-1E0D4FCE0826}"/>
          </ac:spMkLst>
        </pc:spChg>
        <pc:spChg chg="mod">
          <ac:chgData name="Oğuz Öztekin" userId="33c0df0f-d5fe-4bda-8f43-141ad7af67e3" providerId="ADAL" clId="{48B824AD-1B2A-47A8-8D92-6FE6E622A650}" dt="2024-12-16T18:30:17.506" v="202765"/>
          <ac:spMkLst>
            <pc:docMk/>
            <pc:sldMk cId="664108087" sldId="294"/>
            <ac:spMk id="91" creationId="{9DA88F05-1220-203A-A43F-825E263BF049}"/>
          </ac:spMkLst>
        </pc:spChg>
        <pc:spChg chg="mod">
          <ac:chgData name="Oğuz Öztekin" userId="33c0df0f-d5fe-4bda-8f43-141ad7af67e3" providerId="ADAL" clId="{48B824AD-1B2A-47A8-8D92-6FE6E622A650}" dt="2024-12-16T18:30:17.499" v="202735"/>
          <ac:spMkLst>
            <pc:docMk/>
            <pc:sldMk cId="664108087" sldId="294"/>
            <ac:spMk id="92" creationId="{67654364-EFDC-AC57-67B9-D0ABC664FB03}"/>
          </ac:spMkLst>
        </pc:spChg>
        <pc:spChg chg="add del mod">
          <ac:chgData name="Oğuz Öztekin" userId="33c0df0f-d5fe-4bda-8f43-141ad7af67e3" providerId="ADAL" clId="{48B824AD-1B2A-47A8-8D92-6FE6E622A650}" dt="2024-12-16T18:22:43.332" v="193380"/>
          <ac:spMkLst>
            <pc:docMk/>
            <pc:sldMk cId="664108087" sldId="294"/>
            <ac:spMk id="93" creationId="{71F08B8E-0CD1-F68B-0A76-27F4C60BC0DF}"/>
          </ac:spMkLst>
        </pc:spChg>
        <pc:spChg chg="add del mod">
          <ac:chgData name="Oğuz Öztekin" userId="33c0df0f-d5fe-4bda-8f43-141ad7af67e3" providerId="ADAL" clId="{48B824AD-1B2A-47A8-8D92-6FE6E622A650}" dt="2024-12-16T18:22:43.333" v="193383"/>
          <ac:spMkLst>
            <pc:docMk/>
            <pc:sldMk cId="664108087" sldId="294"/>
            <ac:spMk id="94" creationId="{5EF32A09-9B2B-A8BA-8941-11627A640EAB}"/>
          </ac:spMkLst>
        </pc:spChg>
        <pc:spChg chg="add del mod">
          <ac:chgData name="Oğuz Öztekin" userId="33c0df0f-d5fe-4bda-8f43-141ad7af67e3" providerId="ADAL" clId="{48B824AD-1B2A-47A8-8D92-6FE6E622A650}" dt="2024-12-16T18:22:43.333" v="193386"/>
          <ac:spMkLst>
            <pc:docMk/>
            <pc:sldMk cId="664108087" sldId="294"/>
            <ac:spMk id="95" creationId="{5A91BA03-D9A2-5670-8EAA-B310893AFF1A}"/>
          </ac:spMkLst>
        </pc:spChg>
        <pc:spChg chg="add del mod">
          <ac:chgData name="Oğuz Öztekin" userId="33c0df0f-d5fe-4bda-8f43-141ad7af67e3" providerId="ADAL" clId="{48B824AD-1B2A-47A8-8D92-6FE6E622A650}" dt="2024-12-16T18:22:55.738" v="195421"/>
          <ac:spMkLst>
            <pc:docMk/>
            <pc:sldMk cId="664108087" sldId="294"/>
            <ac:spMk id="288" creationId="{8F935F5D-C013-A147-B999-AD010B4E52E8}"/>
          </ac:spMkLst>
        </pc:spChg>
        <pc:spChg chg="add del mod">
          <ac:chgData name="Oğuz Öztekin" userId="33c0df0f-d5fe-4bda-8f43-141ad7af67e3" providerId="ADAL" clId="{48B824AD-1B2A-47A8-8D92-6FE6E622A650}" dt="2024-12-16T18:22:55.738" v="195424"/>
          <ac:spMkLst>
            <pc:docMk/>
            <pc:sldMk cId="664108087" sldId="294"/>
            <ac:spMk id="289" creationId="{DA1B7233-A35D-637B-A3CF-18BE9005B92D}"/>
          </ac:spMkLst>
        </pc:spChg>
        <pc:spChg chg="add del mod">
          <ac:chgData name="Oğuz Öztekin" userId="33c0df0f-d5fe-4bda-8f43-141ad7af67e3" providerId="ADAL" clId="{48B824AD-1B2A-47A8-8D92-6FE6E622A650}" dt="2024-12-16T18:22:55.739" v="195427"/>
          <ac:spMkLst>
            <pc:docMk/>
            <pc:sldMk cId="664108087" sldId="294"/>
            <ac:spMk id="290" creationId="{68D9BBAE-A0A6-7C14-99C5-B9132C67343D}"/>
          </ac:spMkLst>
        </pc:spChg>
        <pc:spChg chg="add del mod">
          <ac:chgData name="Oğuz Öztekin" userId="33c0df0f-d5fe-4bda-8f43-141ad7af67e3" providerId="ADAL" clId="{48B824AD-1B2A-47A8-8D92-6FE6E622A650}" dt="2024-12-16T18:22:55.740" v="195430"/>
          <ac:spMkLst>
            <pc:docMk/>
            <pc:sldMk cId="664108087" sldId="294"/>
            <ac:spMk id="291" creationId="{0E4341B1-1D92-46E7-37B1-2E2730FB169E}"/>
          </ac:spMkLst>
        </pc:spChg>
        <pc:spChg chg="mod">
          <ac:chgData name="Oğuz Öztekin" userId="33c0df0f-d5fe-4bda-8f43-141ad7af67e3" providerId="ADAL" clId="{48B824AD-1B2A-47A8-8D92-6FE6E622A650}" dt="2024-12-16T18:30:17.499" v="202736"/>
          <ac:spMkLst>
            <pc:docMk/>
            <pc:sldMk cId="664108087" sldId="294"/>
            <ac:spMk id="292" creationId="{4A1BEFDA-9E57-2A7B-312B-CB3D42729A9B}"/>
          </ac:spMkLst>
        </pc:spChg>
        <pc:spChg chg="add del mod">
          <ac:chgData name="Oğuz Öztekin" userId="33c0df0f-d5fe-4bda-8f43-141ad7af67e3" providerId="ADAL" clId="{48B824AD-1B2A-47A8-8D92-6FE6E622A650}" dt="2024-12-16T18:22:55.740" v="195433"/>
          <ac:spMkLst>
            <pc:docMk/>
            <pc:sldMk cId="664108087" sldId="294"/>
            <ac:spMk id="293" creationId="{A771E94A-F3FC-0271-93EA-08BA54FFB76C}"/>
          </ac:spMkLst>
        </pc:spChg>
        <pc:spChg chg="add del mod">
          <ac:chgData name="Oğuz Öztekin" userId="33c0df0f-d5fe-4bda-8f43-141ad7af67e3" providerId="ADAL" clId="{48B824AD-1B2A-47A8-8D92-6FE6E622A650}" dt="2024-12-16T18:22:55.742" v="195436"/>
          <ac:spMkLst>
            <pc:docMk/>
            <pc:sldMk cId="664108087" sldId="294"/>
            <ac:spMk id="294" creationId="{27FAA34D-33F1-5C67-697B-49F76529FE82}"/>
          </ac:spMkLst>
        </pc:spChg>
        <pc:spChg chg="mod">
          <ac:chgData name="Oğuz Öztekin" userId="33c0df0f-d5fe-4bda-8f43-141ad7af67e3" providerId="ADAL" clId="{48B824AD-1B2A-47A8-8D92-6FE6E622A650}" dt="2024-12-16T18:30:17.499" v="202737"/>
          <ac:spMkLst>
            <pc:docMk/>
            <pc:sldMk cId="664108087" sldId="294"/>
            <ac:spMk id="295" creationId="{46005597-FEC1-6D16-D876-83CE542B26CA}"/>
          </ac:spMkLst>
        </pc:spChg>
        <pc:spChg chg="add del mod">
          <ac:chgData name="Oğuz Öztekin" userId="33c0df0f-d5fe-4bda-8f43-141ad7af67e3" providerId="ADAL" clId="{48B824AD-1B2A-47A8-8D92-6FE6E622A650}" dt="2024-12-16T18:22:55.743" v="195439"/>
          <ac:spMkLst>
            <pc:docMk/>
            <pc:sldMk cId="664108087" sldId="294"/>
            <ac:spMk id="296" creationId="{EBDD1B47-B61C-A8DD-09BA-FB6BFA016A7E}"/>
          </ac:spMkLst>
        </pc:spChg>
        <pc:spChg chg="add del mod">
          <ac:chgData name="Oğuz Öztekin" userId="33c0df0f-d5fe-4bda-8f43-141ad7af67e3" providerId="ADAL" clId="{48B824AD-1B2A-47A8-8D92-6FE6E622A650}" dt="2024-12-16T18:22:55.744" v="195442"/>
          <ac:spMkLst>
            <pc:docMk/>
            <pc:sldMk cId="664108087" sldId="294"/>
            <ac:spMk id="297" creationId="{B92F82B5-3D6F-1102-B94D-C2AEF8A51494}"/>
          </ac:spMkLst>
        </pc:spChg>
        <pc:spChg chg="mod">
          <ac:chgData name="Oğuz Öztekin" userId="33c0df0f-d5fe-4bda-8f43-141ad7af67e3" providerId="ADAL" clId="{48B824AD-1B2A-47A8-8D92-6FE6E622A650}" dt="2024-12-16T18:30:17.500" v="202739"/>
          <ac:spMkLst>
            <pc:docMk/>
            <pc:sldMk cId="664108087" sldId="294"/>
            <ac:spMk id="298" creationId="{F9D38CF6-9CAC-6220-179F-4F68B15EA2AD}"/>
          </ac:spMkLst>
        </pc:spChg>
        <pc:spChg chg="add del mod">
          <ac:chgData name="Oğuz Öztekin" userId="33c0df0f-d5fe-4bda-8f43-141ad7af67e3" providerId="ADAL" clId="{48B824AD-1B2A-47A8-8D92-6FE6E622A650}" dt="2024-12-16T18:22:55.745" v="195445"/>
          <ac:spMkLst>
            <pc:docMk/>
            <pc:sldMk cId="664108087" sldId="294"/>
            <ac:spMk id="299" creationId="{21348888-1533-ACA3-31B3-707384995515}"/>
          </ac:spMkLst>
        </pc:spChg>
        <pc:spChg chg="add del mod">
          <ac:chgData name="Oğuz Öztekin" userId="33c0df0f-d5fe-4bda-8f43-141ad7af67e3" providerId="ADAL" clId="{48B824AD-1B2A-47A8-8D92-6FE6E622A650}" dt="2024-12-16T18:22:55.745" v="195448"/>
          <ac:spMkLst>
            <pc:docMk/>
            <pc:sldMk cId="664108087" sldId="294"/>
            <ac:spMk id="300" creationId="{A118B633-9B2C-4144-6A61-B3362F52BF12}"/>
          </ac:spMkLst>
        </pc:spChg>
        <pc:spChg chg="mod">
          <ac:chgData name="Oğuz Öztekin" userId="33c0df0f-d5fe-4bda-8f43-141ad7af67e3" providerId="ADAL" clId="{48B824AD-1B2A-47A8-8D92-6FE6E622A650}" dt="2024-12-16T18:30:17.500" v="202740"/>
          <ac:spMkLst>
            <pc:docMk/>
            <pc:sldMk cId="664108087" sldId="294"/>
            <ac:spMk id="301" creationId="{CFB372BB-D1AE-3EF8-D33E-EB57776F590E}"/>
          </ac:spMkLst>
        </pc:spChg>
        <pc:spChg chg="add del mod">
          <ac:chgData name="Oğuz Öztekin" userId="33c0df0f-d5fe-4bda-8f43-141ad7af67e3" providerId="ADAL" clId="{48B824AD-1B2A-47A8-8D92-6FE6E622A650}" dt="2024-12-16T18:22:55.746" v="195451"/>
          <ac:spMkLst>
            <pc:docMk/>
            <pc:sldMk cId="664108087" sldId="294"/>
            <ac:spMk id="302" creationId="{81028734-9DB0-61AE-D4E7-2E737B6740C3}"/>
          </ac:spMkLst>
        </pc:spChg>
        <pc:spChg chg="add del mod">
          <ac:chgData name="Oğuz Öztekin" userId="33c0df0f-d5fe-4bda-8f43-141ad7af67e3" providerId="ADAL" clId="{48B824AD-1B2A-47A8-8D92-6FE6E622A650}" dt="2024-12-16T18:22:49.575" v="194469"/>
          <ac:spMkLst>
            <pc:docMk/>
            <pc:sldMk cId="664108087" sldId="294"/>
            <ac:spMk id="303" creationId="{001A0256-7277-EFA6-5ECE-E1B024612A72}"/>
          </ac:spMkLst>
        </pc:spChg>
        <pc:spChg chg="mod">
          <ac:chgData name="Oğuz Öztekin" userId="33c0df0f-d5fe-4bda-8f43-141ad7af67e3" providerId="ADAL" clId="{48B824AD-1B2A-47A8-8D92-6FE6E622A650}" dt="2024-12-16T18:30:17.500" v="202741"/>
          <ac:spMkLst>
            <pc:docMk/>
            <pc:sldMk cId="664108087" sldId="294"/>
            <ac:spMk id="304" creationId="{520A40E7-5BEE-976D-B070-FBF75EE46B73}"/>
          </ac:spMkLst>
        </pc:spChg>
        <pc:spChg chg="add del mod">
          <ac:chgData name="Oğuz Öztekin" userId="33c0df0f-d5fe-4bda-8f43-141ad7af67e3" providerId="ADAL" clId="{48B824AD-1B2A-47A8-8D92-6FE6E622A650}" dt="2024-12-16T18:22:49.575" v="194472"/>
          <ac:spMkLst>
            <pc:docMk/>
            <pc:sldMk cId="664108087" sldId="294"/>
            <ac:spMk id="305" creationId="{E2449A14-2D70-634C-CEF3-4DB623A3EFF6}"/>
          </ac:spMkLst>
        </pc:spChg>
        <pc:spChg chg="add del mod">
          <ac:chgData name="Oğuz Öztekin" userId="33c0df0f-d5fe-4bda-8f43-141ad7af67e3" providerId="ADAL" clId="{48B824AD-1B2A-47A8-8D92-6FE6E622A650}" dt="2024-12-16T18:22:49.575" v="194475"/>
          <ac:spMkLst>
            <pc:docMk/>
            <pc:sldMk cId="664108087" sldId="294"/>
            <ac:spMk id="307" creationId="{57F1F9A1-0AB6-9E43-CA7E-09D640EB012D}"/>
          </ac:spMkLst>
        </pc:spChg>
        <pc:spChg chg="mod">
          <ac:chgData name="Oğuz Öztekin" userId="33c0df0f-d5fe-4bda-8f43-141ad7af67e3" providerId="ADAL" clId="{48B824AD-1B2A-47A8-8D92-6FE6E622A650}" dt="2024-12-16T18:30:17.500" v="202742"/>
          <ac:spMkLst>
            <pc:docMk/>
            <pc:sldMk cId="664108087" sldId="294"/>
            <ac:spMk id="308" creationId="{17B5D9E7-7AF4-AA73-3152-E8E27F155564}"/>
          </ac:spMkLst>
        </pc:spChg>
        <pc:spChg chg="add del mod">
          <ac:chgData name="Oğuz Öztekin" userId="33c0df0f-d5fe-4bda-8f43-141ad7af67e3" providerId="ADAL" clId="{48B824AD-1B2A-47A8-8D92-6FE6E622A650}" dt="2024-12-16T18:22:49.579" v="194478"/>
          <ac:spMkLst>
            <pc:docMk/>
            <pc:sldMk cId="664108087" sldId="294"/>
            <ac:spMk id="309" creationId="{F0F967FB-0C7C-80A9-6163-213486405168}"/>
          </ac:spMkLst>
        </pc:spChg>
        <pc:spChg chg="add del mod">
          <ac:chgData name="Oğuz Öztekin" userId="33c0df0f-d5fe-4bda-8f43-141ad7af67e3" providerId="ADAL" clId="{48B824AD-1B2A-47A8-8D92-6FE6E622A650}" dt="2024-12-16T18:22:49.579" v="194481"/>
          <ac:spMkLst>
            <pc:docMk/>
            <pc:sldMk cId="664108087" sldId="294"/>
            <ac:spMk id="310" creationId="{DB93B3F8-37B1-21F7-AEE0-BC62DBA657EC}"/>
          </ac:spMkLst>
        </pc:spChg>
        <pc:spChg chg="mod">
          <ac:chgData name="Oğuz Öztekin" userId="33c0df0f-d5fe-4bda-8f43-141ad7af67e3" providerId="ADAL" clId="{48B824AD-1B2A-47A8-8D92-6FE6E622A650}" dt="2024-12-16T18:30:17.500" v="202744"/>
          <ac:spMkLst>
            <pc:docMk/>
            <pc:sldMk cId="664108087" sldId="294"/>
            <ac:spMk id="311" creationId="{AD41E70A-83D1-15B7-B06A-002559E97485}"/>
          </ac:spMkLst>
        </pc:spChg>
        <pc:spChg chg="add del mod">
          <ac:chgData name="Oğuz Öztekin" userId="33c0df0f-d5fe-4bda-8f43-141ad7af67e3" providerId="ADAL" clId="{48B824AD-1B2A-47A8-8D92-6FE6E622A650}" dt="2024-12-16T18:22:49.581" v="194484"/>
          <ac:spMkLst>
            <pc:docMk/>
            <pc:sldMk cId="664108087" sldId="294"/>
            <ac:spMk id="312" creationId="{294D1C1F-5009-413F-0F7C-BB39565E75A9}"/>
          </ac:spMkLst>
        </pc:spChg>
        <pc:spChg chg="add del mod">
          <ac:chgData name="Oğuz Öztekin" userId="33c0df0f-d5fe-4bda-8f43-141ad7af67e3" providerId="ADAL" clId="{48B824AD-1B2A-47A8-8D92-6FE6E622A650}" dt="2024-12-16T18:22:49.581" v="194487"/>
          <ac:spMkLst>
            <pc:docMk/>
            <pc:sldMk cId="664108087" sldId="294"/>
            <ac:spMk id="313" creationId="{0F4A1B9B-335A-E7A8-4EE0-17A1DC4E29C7}"/>
          </ac:spMkLst>
        </pc:spChg>
        <pc:spChg chg="add del mod">
          <ac:chgData name="Oğuz Öztekin" userId="33c0df0f-d5fe-4bda-8f43-141ad7af67e3" providerId="ADAL" clId="{48B824AD-1B2A-47A8-8D92-6FE6E622A650}" dt="2024-12-16T18:22:49.582" v="194490"/>
          <ac:spMkLst>
            <pc:docMk/>
            <pc:sldMk cId="664108087" sldId="294"/>
            <ac:spMk id="314" creationId="{C60C8C3D-7CF6-539D-0EAE-05389E57B166}"/>
          </ac:spMkLst>
        </pc:spChg>
        <pc:spChg chg="mod">
          <ac:chgData name="Oğuz Öztekin" userId="33c0df0f-d5fe-4bda-8f43-141ad7af67e3" providerId="ADAL" clId="{48B824AD-1B2A-47A8-8D92-6FE6E622A650}" dt="2024-12-16T18:30:17.501" v="202746"/>
          <ac:spMkLst>
            <pc:docMk/>
            <pc:sldMk cId="664108087" sldId="294"/>
            <ac:spMk id="315" creationId="{FA6B842B-0A73-3C11-D926-270EC4B38901}"/>
          </ac:spMkLst>
        </pc:spChg>
        <pc:spChg chg="add del mod">
          <ac:chgData name="Oğuz Öztekin" userId="33c0df0f-d5fe-4bda-8f43-141ad7af67e3" providerId="ADAL" clId="{48B824AD-1B2A-47A8-8D92-6FE6E622A650}" dt="2024-12-16T18:22:49.582" v="194493"/>
          <ac:spMkLst>
            <pc:docMk/>
            <pc:sldMk cId="664108087" sldId="294"/>
            <ac:spMk id="316" creationId="{D81A6276-83AE-61FE-A3C6-CEFAA4939C14}"/>
          </ac:spMkLst>
        </pc:spChg>
        <pc:spChg chg="add del mod">
          <ac:chgData name="Oğuz Öztekin" userId="33c0df0f-d5fe-4bda-8f43-141ad7af67e3" providerId="ADAL" clId="{48B824AD-1B2A-47A8-8D92-6FE6E622A650}" dt="2024-12-16T18:22:49.582" v="194496"/>
          <ac:spMkLst>
            <pc:docMk/>
            <pc:sldMk cId="664108087" sldId="294"/>
            <ac:spMk id="318" creationId="{70D7A525-C507-1D36-425C-5BA823A19A05}"/>
          </ac:spMkLst>
        </pc:spChg>
        <pc:spChg chg="mod">
          <ac:chgData name="Oğuz Öztekin" userId="33c0df0f-d5fe-4bda-8f43-141ad7af67e3" providerId="ADAL" clId="{48B824AD-1B2A-47A8-8D92-6FE6E622A650}" dt="2024-12-16T18:30:17.502" v="202748"/>
          <ac:spMkLst>
            <pc:docMk/>
            <pc:sldMk cId="664108087" sldId="294"/>
            <ac:spMk id="319" creationId="{390FA93D-E6D0-3A76-97F0-C97D294F5C92}"/>
          </ac:spMkLst>
        </pc:spChg>
        <pc:spChg chg="add del mod">
          <ac:chgData name="Oğuz Öztekin" userId="33c0df0f-d5fe-4bda-8f43-141ad7af67e3" providerId="ADAL" clId="{48B824AD-1B2A-47A8-8D92-6FE6E622A650}" dt="2024-12-16T18:22:43.334" v="193389"/>
          <ac:spMkLst>
            <pc:docMk/>
            <pc:sldMk cId="664108087" sldId="294"/>
            <ac:spMk id="320" creationId="{DED67353-2860-BD6C-B64F-4053025809DD}"/>
          </ac:spMkLst>
        </pc:spChg>
        <pc:spChg chg="add del mod">
          <ac:chgData name="Oğuz Öztekin" userId="33c0df0f-d5fe-4bda-8f43-141ad7af67e3" providerId="ADAL" clId="{48B824AD-1B2A-47A8-8D92-6FE6E622A650}" dt="2024-12-16T18:22:43.336" v="193392"/>
          <ac:spMkLst>
            <pc:docMk/>
            <pc:sldMk cId="664108087" sldId="294"/>
            <ac:spMk id="321" creationId="{17229056-74BF-89A1-CECA-8CB332D86C1C}"/>
          </ac:spMkLst>
        </pc:spChg>
        <pc:spChg chg="add del mod">
          <ac:chgData name="Oğuz Öztekin" userId="33c0df0f-d5fe-4bda-8f43-141ad7af67e3" providerId="ADAL" clId="{48B824AD-1B2A-47A8-8D92-6FE6E622A650}" dt="2024-12-16T18:22:43.336" v="193395"/>
          <ac:spMkLst>
            <pc:docMk/>
            <pc:sldMk cId="664108087" sldId="294"/>
            <ac:spMk id="322" creationId="{D2351537-7DE5-235E-BB70-28922528D2CA}"/>
          </ac:spMkLst>
        </pc:spChg>
        <pc:spChg chg="mod">
          <ac:chgData name="Oğuz Öztekin" userId="33c0df0f-d5fe-4bda-8f43-141ad7af67e3" providerId="ADAL" clId="{48B824AD-1B2A-47A8-8D92-6FE6E622A650}" dt="2024-12-16T18:30:17.502" v="202750"/>
          <ac:spMkLst>
            <pc:docMk/>
            <pc:sldMk cId="664108087" sldId="294"/>
            <ac:spMk id="323" creationId="{CACBCF31-184D-4DBF-DAAA-5DD02A631FD6}"/>
          </ac:spMkLst>
        </pc:spChg>
        <pc:spChg chg="add del mod">
          <ac:chgData name="Oğuz Öztekin" userId="33c0df0f-d5fe-4bda-8f43-141ad7af67e3" providerId="ADAL" clId="{48B824AD-1B2A-47A8-8D92-6FE6E622A650}" dt="2024-12-16T18:22:43.337" v="193398"/>
          <ac:spMkLst>
            <pc:docMk/>
            <pc:sldMk cId="664108087" sldId="294"/>
            <ac:spMk id="324" creationId="{39A38DDD-8806-A487-7604-0F52BA294AAB}"/>
          </ac:spMkLst>
        </pc:spChg>
        <pc:spChg chg="add del mod">
          <ac:chgData name="Oğuz Öztekin" userId="33c0df0f-d5fe-4bda-8f43-141ad7af67e3" providerId="ADAL" clId="{48B824AD-1B2A-47A8-8D92-6FE6E622A650}" dt="2024-12-16T18:22:43.337" v="193401"/>
          <ac:spMkLst>
            <pc:docMk/>
            <pc:sldMk cId="664108087" sldId="294"/>
            <ac:spMk id="325" creationId="{9F8CD19C-A455-D4A6-651B-527C9AF93785}"/>
          </ac:spMkLst>
        </pc:spChg>
        <pc:spChg chg="mod">
          <ac:chgData name="Oğuz Öztekin" userId="33c0df0f-d5fe-4bda-8f43-141ad7af67e3" providerId="ADAL" clId="{48B824AD-1B2A-47A8-8D92-6FE6E622A650}" dt="2024-12-16T18:30:17.503" v="202752"/>
          <ac:spMkLst>
            <pc:docMk/>
            <pc:sldMk cId="664108087" sldId="294"/>
            <ac:spMk id="326" creationId="{A333B803-E0E3-60EE-1475-8B62735C8CD7}"/>
          </ac:spMkLst>
        </pc:spChg>
        <pc:spChg chg="add del mod">
          <ac:chgData name="Oğuz Öztekin" userId="33c0df0f-d5fe-4bda-8f43-141ad7af67e3" providerId="ADAL" clId="{48B824AD-1B2A-47A8-8D92-6FE6E622A650}" dt="2024-12-16T18:22:34.948" v="192019"/>
          <ac:spMkLst>
            <pc:docMk/>
            <pc:sldMk cId="664108087" sldId="294"/>
            <ac:spMk id="327" creationId="{BAFB1ED6-A03D-EE2F-66E3-13769F152534}"/>
          </ac:spMkLst>
        </pc:spChg>
        <pc:spChg chg="add del mod">
          <ac:chgData name="Oğuz Öztekin" userId="33c0df0f-d5fe-4bda-8f43-141ad7af67e3" providerId="ADAL" clId="{48B824AD-1B2A-47A8-8D92-6FE6E622A650}" dt="2024-12-16T18:22:34.949" v="192022"/>
          <ac:spMkLst>
            <pc:docMk/>
            <pc:sldMk cId="664108087" sldId="294"/>
            <ac:spMk id="328" creationId="{0248D4EB-3CE6-07D1-F0AD-533E8E549A2B}"/>
          </ac:spMkLst>
        </pc:spChg>
        <pc:spChg chg="mod">
          <ac:chgData name="Oğuz Öztekin" userId="33c0df0f-d5fe-4bda-8f43-141ad7af67e3" providerId="ADAL" clId="{48B824AD-1B2A-47A8-8D92-6FE6E622A650}" dt="2024-12-16T18:30:17.503" v="202753"/>
          <ac:spMkLst>
            <pc:docMk/>
            <pc:sldMk cId="664108087" sldId="294"/>
            <ac:spMk id="329" creationId="{DFF94C92-4B72-BC1A-9C5A-C02472A33964}"/>
          </ac:spMkLst>
        </pc:spChg>
        <pc:spChg chg="add del mod">
          <ac:chgData name="Oğuz Öztekin" userId="33c0df0f-d5fe-4bda-8f43-141ad7af67e3" providerId="ADAL" clId="{48B824AD-1B2A-47A8-8D92-6FE6E622A650}" dt="2024-12-16T18:22:34.950" v="192025"/>
          <ac:spMkLst>
            <pc:docMk/>
            <pc:sldMk cId="664108087" sldId="294"/>
            <ac:spMk id="330" creationId="{9E440BFC-6B11-EA5D-11B6-B24109C7175B}"/>
          </ac:spMkLst>
        </pc:spChg>
        <pc:spChg chg="add del mod">
          <ac:chgData name="Oğuz Öztekin" userId="33c0df0f-d5fe-4bda-8f43-141ad7af67e3" providerId="ADAL" clId="{48B824AD-1B2A-47A8-8D92-6FE6E622A650}" dt="2024-12-16T18:22:34.952" v="192028"/>
          <ac:spMkLst>
            <pc:docMk/>
            <pc:sldMk cId="664108087" sldId="294"/>
            <ac:spMk id="331" creationId="{0CDC7A79-08E2-1E22-5EB6-F537632F2591}"/>
          </ac:spMkLst>
        </pc:spChg>
        <pc:spChg chg="mod">
          <ac:chgData name="Oğuz Öztekin" userId="33c0df0f-d5fe-4bda-8f43-141ad7af67e3" providerId="ADAL" clId="{48B824AD-1B2A-47A8-8D92-6FE6E622A650}" dt="2024-12-16T18:30:17.505" v="202760"/>
          <ac:spMkLst>
            <pc:docMk/>
            <pc:sldMk cId="664108087" sldId="294"/>
            <ac:spMk id="332" creationId="{0665581F-4383-C3F0-7708-47F9853A78D1}"/>
          </ac:spMkLst>
        </pc:spChg>
        <pc:spChg chg="add del mod">
          <ac:chgData name="Oğuz Öztekin" userId="33c0df0f-d5fe-4bda-8f43-141ad7af67e3" providerId="ADAL" clId="{48B824AD-1B2A-47A8-8D92-6FE6E622A650}" dt="2024-12-16T18:22:34.952" v="192031"/>
          <ac:spMkLst>
            <pc:docMk/>
            <pc:sldMk cId="664108087" sldId="294"/>
            <ac:spMk id="333" creationId="{37200B38-547D-808F-68C0-30D6C0C5B6AE}"/>
          </ac:spMkLst>
        </pc:spChg>
        <pc:spChg chg="add del mod">
          <ac:chgData name="Oğuz Öztekin" userId="33c0df0f-d5fe-4bda-8f43-141ad7af67e3" providerId="ADAL" clId="{48B824AD-1B2A-47A8-8D92-6FE6E622A650}" dt="2024-12-16T18:22:34.954" v="192034"/>
          <ac:spMkLst>
            <pc:docMk/>
            <pc:sldMk cId="664108087" sldId="294"/>
            <ac:spMk id="334" creationId="{00086F23-DB38-CA6D-A0B3-234D67EB4404}"/>
          </ac:spMkLst>
        </pc:spChg>
        <pc:spChg chg="mod">
          <ac:chgData name="Oğuz Öztekin" userId="33c0df0f-d5fe-4bda-8f43-141ad7af67e3" providerId="ADAL" clId="{48B824AD-1B2A-47A8-8D92-6FE6E622A650}" dt="2024-12-16T18:30:17.507" v="202766"/>
          <ac:spMkLst>
            <pc:docMk/>
            <pc:sldMk cId="664108087" sldId="294"/>
            <ac:spMk id="335" creationId="{63F9F556-395C-D157-5669-8F1486B622F0}"/>
          </ac:spMkLst>
        </pc:spChg>
        <pc:spChg chg="add del mod">
          <ac:chgData name="Oğuz Öztekin" userId="33c0df0f-d5fe-4bda-8f43-141ad7af67e3" providerId="ADAL" clId="{48B824AD-1B2A-47A8-8D92-6FE6E622A650}" dt="2024-12-16T18:22:34.954" v="192037"/>
          <ac:spMkLst>
            <pc:docMk/>
            <pc:sldMk cId="664108087" sldId="294"/>
            <ac:spMk id="336" creationId="{3979E705-7A3F-9C69-6E5A-770CB80613EA}"/>
          </ac:spMkLst>
        </pc:spChg>
        <pc:spChg chg="add del mod">
          <ac:chgData name="Oğuz Öztekin" userId="33c0df0f-d5fe-4bda-8f43-141ad7af67e3" providerId="ADAL" clId="{48B824AD-1B2A-47A8-8D92-6FE6E622A650}" dt="2024-12-16T18:22:34.955" v="192040"/>
          <ac:spMkLst>
            <pc:docMk/>
            <pc:sldMk cId="664108087" sldId="294"/>
            <ac:spMk id="337" creationId="{8063F860-3AC8-D6EA-D14A-48657CD7A977}"/>
          </ac:spMkLst>
        </pc:spChg>
        <pc:spChg chg="add del mod">
          <ac:chgData name="Oğuz Öztekin" userId="33c0df0f-d5fe-4bda-8f43-141ad7af67e3" providerId="ADAL" clId="{48B824AD-1B2A-47A8-8D92-6FE6E622A650}" dt="2024-12-16T18:22:34.956" v="192043"/>
          <ac:spMkLst>
            <pc:docMk/>
            <pc:sldMk cId="664108087" sldId="294"/>
            <ac:spMk id="338" creationId="{8C02DF1C-88A9-2DAC-4854-CFE616F5658F}"/>
          </ac:spMkLst>
        </pc:spChg>
        <pc:spChg chg="add del mod">
          <ac:chgData name="Oğuz Öztekin" userId="33c0df0f-d5fe-4bda-8f43-141ad7af67e3" providerId="ADAL" clId="{48B824AD-1B2A-47A8-8D92-6FE6E622A650}" dt="2024-12-16T18:22:34.956" v="192046"/>
          <ac:spMkLst>
            <pc:docMk/>
            <pc:sldMk cId="664108087" sldId="294"/>
            <ac:spMk id="339" creationId="{C65CC162-37D4-40E2-FD4D-5BBAF049D7FC}"/>
          </ac:spMkLst>
        </pc:spChg>
        <pc:spChg chg="add del mod">
          <ac:chgData name="Oğuz Öztekin" userId="33c0df0f-d5fe-4bda-8f43-141ad7af67e3" providerId="ADAL" clId="{48B824AD-1B2A-47A8-8D92-6FE6E622A650}" dt="2024-12-16T18:22:34.957" v="192049"/>
          <ac:spMkLst>
            <pc:docMk/>
            <pc:sldMk cId="664108087" sldId="294"/>
            <ac:spMk id="340" creationId="{A5B6D6E2-B991-0DBB-F6BC-88FA52AD8946}"/>
          </ac:spMkLst>
        </pc:spChg>
        <pc:spChg chg="add del mod">
          <ac:chgData name="Oğuz Öztekin" userId="33c0df0f-d5fe-4bda-8f43-141ad7af67e3" providerId="ADAL" clId="{48B824AD-1B2A-47A8-8D92-6FE6E622A650}" dt="2024-12-16T18:22:34.958" v="192052"/>
          <ac:spMkLst>
            <pc:docMk/>
            <pc:sldMk cId="664108087" sldId="294"/>
            <ac:spMk id="341" creationId="{2005B0A7-913A-6156-44E9-3355D18AEB02}"/>
          </ac:spMkLst>
        </pc:spChg>
        <pc:spChg chg="add del mod">
          <ac:chgData name="Oğuz Öztekin" userId="33c0df0f-d5fe-4bda-8f43-141ad7af67e3" providerId="ADAL" clId="{48B824AD-1B2A-47A8-8D92-6FE6E622A650}" dt="2024-12-16T18:22:34.958" v="192055"/>
          <ac:spMkLst>
            <pc:docMk/>
            <pc:sldMk cId="664108087" sldId="294"/>
            <ac:spMk id="342" creationId="{C14900C1-98EB-9AAE-3243-89BDC102C539}"/>
          </ac:spMkLst>
        </pc:spChg>
        <pc:spChg chg="add del mod">
          <ac:chgData name="Oğuz Öztekin" userId="33c0df0f-d5fe-4bda-8f43-141ad7af67e3" providerId="ADAL" clId="{48B824AD-1B2A-47A8-8D92-6FE6E622A650}" dt="2024-12-16T18:22:34.958" v="192058"/>
          <ac:spMkLst>
            <pc:docMk/>
            <pc:sldMk cId="664108087" sldId="294"/>
            <ac:spMk id="343" creationId="{6BAEE8DE-8D09-1C2E-BBE7-76BD4BD4A315}"/>
          </ac:spMkLst>
        </pc:spChg>
        <pc:spChg chg="add del mod">
          <ac:chgData name="Oğuz Öztekin" userId="33c0df0f-d5fe-4bda-8f43-141ad7af67e3" providerId="ADAL" clId="{48B824AD-1B2A-47A8-8D92-6FE6E622A650}" dt="2024-12-16T18:22:34.961" v="192061"/>
          <ac:spMkLst>
            <pc:docMk/>
            <pc:sldMk cId="664108087" sldId="294"/>
            <ac:spMk id="344" creationId="{4145B152-8949-CF54-BF55-32EC4E246751}"/>
          </ac:spMkLst>
        </pc:spChg>
        <pc:spChg chg="add del mod">
          <ac:chgData name="Oğuz Öztekin" userId="33c0df0f-d5fe-4bda-8f43-141ad7af67e3" providerId="ADAL" clId="{48B824AD-1B2A-47A8-8D92-6FE6E622A650}" dt="2024-12-16T18:22:34.961" v="192064"/>
          <ac:spMkLst>
            <pc:docMk/>
            <pc:sldMk cId="664108087" sldId="294"/>
            <ac:spMk id="345" creationId="{E11363A5-EFB1-7718-61D8-BB2AC3DE919C}"/>
          </ac:spMkLst>
        </pc:spChg>
        <pc:spChg chg="add del mod">
          <ac:chgData name="Oğuz Öztekin" userId="33c0df0f-d5fe-4bda-8f43-141ad7af67e3" providerId="ADAL" clId="{48B824AD-1B2A-47A8-8D92-6FE6E622A650}" dt="2024-12-16T18:22:34.962" v="192067"/>
          <ac:spMkLst>
            <pc:docMk/>
            <pc:sldMk cId="664108087" sldId="294"/>
            <ac:spMk id="346" creationId="{B2485173-EBFC-7EC6-4A39-A17B472CDC51}"/>
          </ac:spMkLst>
        </pc:spChg>
        <pc:spChg chg="add del mod">
          <ac:chgData name="Oğuz Öztekin" userId="33c0df0f-d5fe-4bda-8f43-141ad7af67e3" providerId="ADAL" clId="{48B824AD-1B2A-47A8-8D92-6FE6E622A650}" dt="2024-12-16T18:22:34.962" v="192070"/>
          <ac:spMkLst>
            <pc:docMk/>
            <pc:sldMk cId="664108087" sldId="294"/>
            <ac:spMk id="347" creationId="{AB683FD8-4641-AE32-58E9-A8ED06C24E0D}"/>
          </ac:spMkLst>
        </pc:spChg>
        <pc:spChg chg="add del mod">
          <ac:chgData name="Oğuz Öztekin" userId="33c0df0f-d5fe-4bda-8f43-141ad7af67e3" providerId="ADAL" clId="{48B824AD-1B2A-47A8-8D92-6FE6E622A650}" dt="2024-12-16T18:22:34.964" v="192073"/>
          <ac:spMkLst>
            <pc:docMk/>
            <pc:sldMk cId="664108087" sldId="294"/>
            <ac:spMk id="348" creationId="{A05C18F0-2D6A-FD81-305C-6F921EA3CAB2}"/>
          </ac:spMkLst>
        </pc:spChg>
        <pc:spChg chg="add del mod">
          <ac:chgData name="Oğuz Öztekin" userId="33c0df0f-d5fe-4bda-8f43-141ad7af67e3" providerId="ADAL" clId="{48B824AD-1B2A-47A8-8D92-6FE6E622A650}" dt="2024-12-16T18:22:34.965" v="192076"/>
          <ac:spMkLst>
            <pc:docMk/>
            <pc:sldMk cId="664108087" sldId="294"/>
            <ac:spMk id="349" creationId="{1EF559B6-F16F-79A7-7128-A5447A209B21}"/>
          </ac:spMkLst>
        </pc:spChg>
        <pc:spChg chg="add del mod">
          <ac:chgData name="Oğuz Öztekin" userId="33c0df0f-d5fe-4bda-8f43-141ad7af67e3" providerId="ADAL" clId="{48B824AD-1B2A-47A8-8D92-6FE6E622A650}" dt="2024-12-16T18:22:27.007" v="190490"/>
          <ac:spMkLst>
            <pc:docMk/>
            <pc:sldMk cId="664108087" sldId="294"/>
            <ac:spMk id="350" creationId="{4563469A-CF64-BCFA-0463-5C95E8037088}"/>
          </ac:spMkLst>
        </pc:spChg>
        <pc:spChg chg="add del mod">
          <ac:chgData name="Oğuz Öztekin" userId="33c0df0f-d5fe-4bda-8f43-141ad7af67e3" providerId="ADAL" clId="{48B824AD-1B2A-47A8-8D92-6FE6E622A650}" dt="2024-12-16T18:22:27.008" v="190493"/>
          <ac:spMkLst>
            <pc:docMk/>
            <pc:sldMk cId="664108087" sldId="294"/>
            <ac:spMk id="351" creationId="{C3735A81-A318-CCD2-815F-E86BFB89DB95}"/>
          </ac:spMkLst>
        </pc:spChg>
        <pc:spChg chg="add del mod">
          <ac:chgData name="Oğuz Öztekin" userId="33c0df0f-d5fe-4bda-8f43-141ad7af67e3" providerId="ADAL" clId="{48B824AD-1B2A-47A8-8D92-6FE6E622A650}" dt="2024-12-16T18:22:08.102" v="186855"/>
          <ac:spMkLst>
            <pc:docMk/>
            <pc:sldMk cId="664108087" sldId="294"/>
            <ac:spMk id="417" creationId="{D6686522-838E-3EDF-D71B-7239B57C5455}"/>
          </ac:spMkLst>
        </pc:spChg>
        <pc:spChg chg="add del mod">
          <ac:chgData name="Oğuz Öztekin" userId="33c0df0f-d5fe-4bda-8f43-141ad7af67e3" providerId="ADAL" clId="{48B824AD-1B2A-47A8-8D92-6FE6E622A650}" dt="2024-12-16T18:22:08.103" v="186858"/>
          <ac:spMkLst>
            <pc:docMk/>
            <pc:sldMk cId="664108087" sldId="294"/>
            <ac:spMk id="418" creationId="{2C29A6BE-DD76-F573-0F09-D8DB216F2DDC}"/>
          </ac:spMkLst>
        </pc:spChg>
        <pc:spChg chg="add del mod">
          <ac:chgData name="Oğuz Öztekin" userId="33c0df0f-d5fe-4bda-8f43-141ad7af67e3" providerId="ADAL" clId="{48B824AD-1B2A-47A8-8D92-6FE6E622A650}" dt="2024-12-16T18:22:08.103" v="186861"/>
          <ac:spMkLst>
            <pc:docMk/>
            <pc:sldMk cId="664108087" sldId="294"/>
            <ac:spMk id="419" creationId="{4DC172CF-87D2-29A9-8FDC-3146E128AC9B}"/>
          </ac:spMkLst>
        </pc:spChg>
        <pc:spChg chg="add del mod">
          <ac:chgData name="Oğuz Öztekin" userId="33c0df0f-d5fe-4bda-8f43-141ad7af67e3" providerId="ADAL" clId="{48B824AD-1B2A-47A8-8D92-6FE6E622A650}" dt="2024-12-16T18:22:08.104" v="186864"/>
          <ac:spMkLst>
            <pc:docMk/>
            <pc:sldMk cId="664108087" sldId="294"/>
            <ac:spMk id="420" creationId="{AD32E3A5-FBA3-9B9B-7E69-C5AC0938663A}"/>
          </ac:spMkLst>
        </pc:spChg>
        <pc:spChg chg="add del mod">
          <ac:chgData name="Oğuz Öztekin" userId="33c0df0f-d5fe-4bda-8f43-141ad7af67e3" providerId="ADAL" clId="{48B824AD-1B2A-47A8-8D92-6FE6E622A650}" dt="2024-12-16T18:22:08.105" v="186867"/>
          <ac:spMkLst>
            <pc:docMk/>
            <pc:sldMk cId="664108087" sldId="294"/>
            <ac:spMk id="421" creationId="{06E19AE7-B215-96EA-FD3C-65FDCC04DC0E}"/>
          </ac:spMkLst>
        </pc:spChg>
        <pc:spChg chg="add del mod">
          <ac:chgData name="Oğuz Öztekin" userId="33c0df0f-d5fe-4bda-8f43-141ad7af67e3" providerId="ADAL" clId="{48B824AD-1B2A-47A8-8D92-6FE6E622A650}" dt="2024-12-16T18:22:08.105" v="186870"/>
          <ac:spMkLst>
            <pc:docMk/>
            <pc:sldMk cId="664108087" sldId="294"/>
            <ac:spMk id="422" creationId="{026C5A03-99BF-8D10-D8FF-8010BB76F006}"/>
          </ac:spMkLst>
        </pc:spChg>
        <pc:spChg chg="add del mod">
          <ac:chgData name="Oğuz Öztekin" userId="33c0df0f-d5fe-4bda-8f43-141ad7af67e3" providerId="ADAL" clId="{48B824AD-1B2A-47A8-8D92-6FE6E622A650}" dt="2024-12-16T18:22:08.107" v="186873"/>
          <ac:spMkLst>
            <pc:docMk/>
            <pc:sldMk cId="664108087" sldId="294"/>
            <ac:spMk id="423" creationId="{7DE2B3BA-334E-0990-2F48-EF2636D80BA5}"/>
          </ac:spMkLst>
        </pc:spChg>
        <pc:spChg chg="add del mod">
          <ac:chgData name="Oğuz Öztekin" userId="33c0df0f-d5fe-4bda-8f43-141ad7af67e3" providerId="ADAL" clId="{48B824AD-1B2A-47A8-8D92-6FE6E622A650}" dt="2024-12-16T18:22:08.107" v="186876"/>
          <ac:spMkLst>
            <pc:docMk/>
            <pc:sldMk cId="664108087" sldId="294"/>
            <ac:spMk id="424" creationId="{51C91434-284A-6B22-EF4D-687C9019D2A4}"/>
          </ac:spMkLst>
        </pc:spChg>
        <pc:spChg chg="add del mod">
          <ac:chgData name="Oğuz Öztekin" userId="33c0df0f-d5fe-4bda-8f43-141ad7af67e3" providerId="ADAL" clId="{48B824AD-1B2A-47A8-8D92-6FE6E622A650}" dt="2024-12-16T18:22:08.108" v="186879"/>
          <ac:spMkLst>
            <pc:docMk/>
            <pc:sldMk cId="664108087" sldId="294"/>
            <ac:spMk id="425" creationId="{C85927E7-B237-28A8-BDD7-8F40A699A118}"/>
          </ac:spMkLst>
        </pc:spChg>
        <pc:spChg chg="add del mod">
          <ac:chgData name="Oğuz Öztekin" userId="33c0df0f-d5fe-4bda-8f43-141ad7af67e3" providerId="ADAL" clId="{48B824AD-1B2A-47A8-8D92-6FE6E622A650}" dt="2024-12-16T18:22:08.109" v="186882"/>
          <ac:spMkLst>
            <pc:docMk/>
            <pc:sldMk cId="664108087" sldId="294"/>
            <ac:spMk id="426" creationId="{33101926-E46B-A288-E2F8-346979AA7474}"/>
          </ac:spMkLst>
        </pc:spChg>
        <pc:spChg chg="add del mod">
          <ac:chgData name="Oğuz Öztekin" userId="33c0df0f-d5fe-4bda-8f43-141ad7af67e3" providerId="ADAL" clId="{48B824AD-1B2A-47A8-8D92-6FE6E622A650}" dt="2024-12-16T18:22:08.110" v="186885"/>
          <ac:spMkLst>
            <pc:docMk/>
            <pc:sldMk cId="664108087" sldId="294"/>
            <ac:spMk id="427" creationId="{095D1054-6151-48E8-7CF3-6E725E6A6CFD}"/>
          </ac:spMkLst>
        </pc:spChg>
        <pc:spChg chg="add del mod modVis">
          <ac:chgData name="Oğuz Öztekin" userId="33c0df0f-d5fe-4bda-8f43-141ad7af67e3" providerId="ADAL" clId="{48B824AD-1B2A-47A8-8D92-6FE6E622A650}" dt="2024-12-16T18:22:06.324" v="186823"/>
          <ac:spMkLst>
            <pc:docMk/>
            <pc:sldMk cId="664108087" sldId="294"/>
            <ac:spMk id="428" creationId="{F43CBF88-2A30-A4D5-18CD-744A26471070}"/>
          </ac:spMkLst>
        </pc:spChg>
        <pc:spChg chg="add del mod">
          <ac:chgData name="Oğuz Öztekin" userId="33c0df0f-d5fe-4bda-8f43-141ad7af67e3" providerId="ADAL" clId="{48B824AD-1B2A-47A8-8D92-6FE6E622A650}" dt="2024-12-16T18:22:27.009" v="190496"/>
          <ac:spMkLst>
            <pc:docMk/>
            <pc:sldMk cId="664108087" sldId="294"/>
            <ac:spMk id="608" creationId="{387000F9-998B-0FC8-C5B2-795ED8E54493}"/>
          </ac:spMkLst>
        </pc:spChg>
        <pc:spChg chg="add del mod">
          <ac:chgData name="Oğuz Öztekin" userId="33c0df0f-d5fe-4bda-8f43-141ad7af67e3" providerId="ADAL" clId="{48B824AD-1B2A-47A8-8D92-6FE6E622A650}" dt="2024-12-16T18:22:27.009" v="190499"/>
          <ac:spMkLst>
            <pc:docMk/>
            <pc:sldMk cId="664108087" sldId="294"/>
            <ac:spMk id="609" creationId="{F2347430-E913-8F26-0BDA-318F70298C94}"/>
          </ac:spMkLst>
        </pc:spChg>
        <pc:spChg chg="add del mod">
          <ac:chgData name="Oğuz Öztekin" userId="33c0df0f-d5fe-4bda-8f43-141ad7af67e3" providerId="ADAL" clId="{48B824AD-1B2A-47A8-8D92-6FE6E622A650}" dt="2024-12-16T18:22:27.009" v="190502"/>
          <ac:spMkLst>
            <pc:docMk/>
            <pc:sldMk cId="664108087" sldId="294"/>
            <ac:spMk id="610" creationId="{9E2FC5CA-FABE-A671-ED3E-96405332207B}"/>
          </ac:spMkLst>
        </pc:spChg>
        <pc:spChg chg="add del mod">
          <ac:chgData name="Oğuz Öztekin" userId="33c0df0f-d5fe-4bda-8f43-141ad7af67e3" providerId="ADAL" clId="{48B824AD-1B2A-47A8-8D92-6FE6E622A650}" dt="2024-12-16T18:22:27.009" v="190505"/>
          <ac:spMkLst>
            <pc:docMk/>
            <pc:sldMk cId="664108087" sldId="294"/>
            <ac:spMk id="611" creationId="{2489D19E-A73A-7580-A0EB-25C6F709CAD5}"/>
          </ac:spMkLst>
        </pc:spChg>
        <pc:spChg chg="add del mod">
          <ac:chgData name="Oğuz Öztekin" userId="33c0df0f-d5fe-4bda-8f43-141ad7af67e3" providerId="ADAL" clId="{48B824AD-1B2A-47A8-8D92-6FE6E622A650}" dt="2024-12-16T18:22:27.009" v="190508"/>
          <ac:spMkLst>
            <pc:docMk/>
            <pc:sldMk cId="664108087" sldId="294"/>
            <ac:spMk id="612" creationId="{0AA56C05-E79E-C101-467E-EFCE751BD2A7}"/>
          </ac:spMkLst>
        </pc:spChg>
        <pc:spChg chg="add del mod">
          <ac:chgData name="Oğuz Öztekin" userId="33c0df0f-d5fe-4bda-8f43-141ad7af67e3" providerId="ADAL" clId="{48B824AD-1B2A-47A8-8D92-6FE6E622A650}" dt="2024-12-16T18:22:27.009" v="190511"/>
          <ac:spMkLst>
            <pc:docMk/>
            <pc:sldMk cId="664108087" sldId="294"/>
            <ac:spMk id="613" creationId="{FDAD25D3-12EA-49D2-ED2F-1B6CA898E7BC}"/>
          </ac:spMkLst>
        </pc:spChg>
        <pc:spChg chg="add del mod">
          <ac:chgData name="Oğuz Öztekin" userId="33c0df0f-d5fe-4bda-8f43-141ad7af67e3" providerId="ADAL" clId="{48B824AD-1B2A-47A8-8D92-6FE6E622A650}" dt="2024-12-16T18:22:27.014" v="190514"/>
          <ac:spMkLst>
            <pc:docMk/>
            <pc:sldMk cId="664108087" sldId="294"/>
            <ac:spMk id="614" creationId="{ACC0A53A-BE76-9FCE-C81D-6FC7EC335C19}"/>
          </ac:spMkLst>
        </pc:spChg>
        <pc:spChg chg="add del mod">
          <ac:chgData name="Oğuz Öztekin" userId="33c0df0f-d5fe-4bda-8f43-141ad7af67e3" providerId="ADAL" clId="{48B824AD-1B2A-47A8-8D92-6FE6E622A650}" dt="2024-12-16T18:22:27.014" v="190517"/>
          <ac:spMkLst>
            <pc:docMk/>
            <pc:sldMk cId="664108087" sldId="294"/>
            <ac:spMk id="615" creationId="{B745A2F6-5B21-793B-DC36-375E1BFDAE42}"/>
          </ac:spMkLst>
        </pc:spChg>
        <pc:spChg chg="add del mod">
          <ac:chgData name="Oğuz Öztekin" userId="33c0df0f-d5fe-4bda-8f43-141ad7af67e3" providerId="ADAL" clId="{48B824AD-1B2A-47A8-8D92-6FE6E622A650}" dt="2024-12-16T18:22:27.014" v="190520"/>
          <ac:spMkLst>
            <pc:docMk/>
            <pc:sldMk cId="664108087" sldId="294"/>
            <ac:spMk id="616" creationId="{9F42A651-FCAE-83AB-73F8-DA1132A0259D}"/>
          </ac:spMkLst>
        </pc:spChg>
        <pc:spChg chg="add del mod">
          <ac:chgData name="Oğuz Öztekin" userId="33c0df0f-d5fe-4bda-8f43-141ad7af67e3" providerId="ADAL" clId="{48B824AD-1B2A-47A8-8D92-6FE6E622A650}" dt="2024-12-16T18:22:27.014" v="190523"/>
          <ac:spMkLst>
            <pc:docMk/>
            <pc:sldMk cId="664108087" sldId="294"/>
            <ac:spMk id="617" creationId="{DB567387-45AD-2BD1-184E-B231137AD17E}"/>
          </ac:spMkLst>
        </pc:spChg>
        <pc:spChg chg="add del mod">
          <ac:chgData name="Oğuz Öztekin" userId="33c0df0f-d5fe-4bda-8f43-141ad7af67e3" providerId="ADAL" clId="{48B824AD-1B2A-47A8-8D92-6FE6E622A650}" dt="2024-12-16T18:22:27.018" v="190526"/>
          <ac:spMkLst>
            <pc:docMk/>
            <pc:sldMk cId="664108087" sldId="294"/>
            <ac:spMk id="618" creationId="{1C1D325A-9D2D-98F6-66EC-CFC1DE9A091A}"/>
          </ac:spMkLst>
        </pc:spChg>
        <pc:spChg chg="add del mod">
          <ac:chgData name="Oğuz Öztekin" userId="33c0df0f-d5fe-4bda-8f43-141ad7af67e3" providerId="ADAL" clId="{48B824AD-1B2A-47A8-8D92-6FE6E622A650}" dt="2024-12-16T18:22:27.018" v="190529"/>
          <ac:spMkLst>
            <pc:docMk/>
            <pc:sldMk cId="664108087" sldId="294"/>
            <ac:spMk id="619" creationId="{D8A3C96F-9F65-037A-2ABD-404108084F52}"/>
          </ac:spMkLst>
        </pc:spChg>
        <pc:spChg chg="add del mod">
          <ac:chgData name="Oğuz Öztekin" userId="33c0df0f-d5fe-4bda-8f43-141ad7af67e3" providerId="ADAL" clId="{48B824AD-1B2A-47A8-8D92-6FE6E622A650}" dt="2024-12-16T18:22:27.019" v="190532"/>
          <ac:spMkLst>
            <pc:docMk/>
            <pc:sldMk cId="664108087" sldId="294"/>
            <ac:spMk id="620" creationId="{5CDD91D7-D5C9-4BD4-8738-E9228FD4C82D}"/>
          </ac:spMkLst>
        </pc:spChg>
        <pc:spChg chg="mod">
          <ac:chgData name="Oğuz Öztekin" userId="33c0df0f-d5fe-4bda-8f43-141ad7af67e3" providerId="ADAL" clId="{48B824AD-1B2A-47A8-8D92-6FE6E622A650}" dt="2024-12-16T18:30:17.499" v="202738"/>
          <ac:spMkLst>
            <pc:docMk/>
            <pc:sldMk cId="664108087" sldId="294"/>
            <ac:spMk id="621" creationId="{A95FE065-1A51-1B42-2FDB-4C60AC9DA9A3}"/>
          </ac:spMkLst>
        </pc:spChg>
        <pc:spChg chg="add del mod">
          <ac:chgData name="Oğuz Öztekin" userId="33c0df0f-d5fe-4bda-8f43-141ad7af67e3" providerId="ADAL" clId="{48B824AD-1B2A-47A8-8D92-6FE6E622A650}" dt="2024-12-16T18:22:27.019" v="190535"/>
          <ac:spMkLst>
            <pc:docMk/>
            <pc:sldMk cId="664108087" sldId="294"/>
            <ac:spMk id="622" creationId="{EBE80308-AB44-B38A-7EF5-49750AC55E53}"/>
          </ac:spMkLst>
        </pc:spChg>
        <pc:spChg chg="add del mod">
          <ac:chgData name="Oğuz Öztekin" userId="33c0df0f-d5fe-4bda-8f43-141ad7af67e3" providerId="ADAL" clId="{48B824AD-1B2A-47A8-8D92-6FE6E622A650}" dt="2024-12-16T18:22:27.019" v="190538"/>
          <ac:spMkLst>
            <pc:docMk/>
            <pc:sldMk cId="664108087" sldId="294"/>
            <ac:spMk id="623" creationId="{ECC29084-BAF2-83A2-0CCC-3E89BBB718EB}"/>
          </ac:spMkLst>
        </pc:spChg>
        <pc:spChg chg="mod">
          <ac:chgData name="Oğuz Öztekin" userId="33c0df0f-d5fe-4bda-8f43-141ad7af67e3" providerId="ADAL" clId="{48B824AD-1B2A-47A8-8D92-6FE6E622A650}" dt="2024-12-16T18:30:17.503" v="202755"/>
          <ac:spMkLst>
            <pc:docMk/>
            <pc:sldMk cId="664108087" sldId="294"/>
            <ac:spMk id="624" creationId="{285215C4-3589-DCCF-9FE0-EB79E8B52E2D}"/>
          </ac:spMkLst>
        </pc:spChg>
        <pc:spChg chg="add del mod">
          <ac:chgData name="Oğuz Öztekin" userId="33c0df0f-d5fe-4bda-8f43-141ad7af67e3" providerId="ADAL" clId="{48B824AD-1B2A-47A8-8D92-6FE6E622A650}" dt="2024-12-16T18:22:27.019" v="190541"/>
          <ac:spMkLst>
            <pc:docMk/>
            <pc:sldMk cId="664108087" sldId="294"/>
            <ac:spMk id="625" creationId="{0AC3FED7-DD61-8BF2-CFA2-CA3F4999659E}"/>
          </ac:spMkLst>
        </pc:spChg>
        <pc:spChg chg="add del mod">
          <ac:chgData name="Oğuz Öztekin" userId="33c0df0f-d5fe-4bda-8f43-141ad7af67e3" providerId="ADAL" clId="{48B824AD-1B2A-47A8-8D92-6FE6E622A650}" dt="2024-12-16T18:22:27.019" v="190544"/>
          <ac:spMkLst>
            <pc:docMk/>
            <pc:sldMk cId="664108087" sldId="294"/>
            <ac:spMk id="627" creationId="{96C5B334-4052-8F9C-CEF8-AE85CA05272C}"/>
          </ac:spMkLst>
        </pc:spChg>
        <pc:spChg chg="mod">
          <ac:chgData name="Oğuz Öztekin" userId="33c0df0f-d5fe-4bda-8f43-141ad7af67e3" providerId="ADAL" clId="{48B824AD-1B2A-47A8-8D92-6FE6E622A650}" dt="2024-12-16T18:30:17.504" v="202757"/>
          <ac:spMkLst>
            <pc:docMk/>
            <pc:sldMk cId="664108087" sldId="294"/>
            <ac:spMk id="628" creationId="{C2BD9A87-115F-55C1-2A98-E8BF870CEE5E}"/>
          </ac:spMkLst>
        </pc:spChg>
        <pc:spChg chg="add del mod">
          <ac:chgData name="Oğuz Öztekin" userId="33c0df0f-d5fe-4bda-8f43-141ad7af67e3" providerId="ADAL" clId="{48B824AD-1B2A-47A8-8D92-6FE6E622A650}" dt="2024-12-16T18:22:27.024" v="190547"/>
          <ac:spMkLst>
            <pc:docMk/>
            <pc:sldMk cId="664108087" sldId="294"/>
            <ac:spMk id="629" creationId="{4E7C6F8A-8BA3-8A95-24A8-526A1ECA0536}"/>
          </ac:spMkLst>
        </pc:spChg>
        <pc:spChg chg="add del mod">
          <ac:chgData name="Oğuz Öztekin" userId="33c0df0f-d5fe-4bda-8f43-141ad7af67e3" providerId="ADAL" clId="{48B824AD-1B2A-47A8-8D92-6FE6E622A650}" dt="2024-12-16T18:22:15.618" v="188761"/>
          <ac:spMkLst>
            <pc:docMk/>
            <pc:sldMk cId="664108087" sldId="294"/>
            <ac:spMk id="632" creationId="{83FE614D-CE41-1180-266D-2047D422A23C}"/>
          </ac:spMkLst>
        </pc:spChg>
        <pc:spChg chg="mod">
          <ac:chgData name="Oğuz Öztekin" userId="33c0df0f-d5fe-4bda-8f43-141ad7af67e3" providerId="ADAL" clId="{48B824AD-1B2A-47A8-8D92-6FE6E622A650}" dt="2024-12-16T18:30:17.504" v="202758"/>
          <ac:spMkLst>
            <pc:docMk/>
            <pc:sldMk cId="664108087" sldId="294"/>
            <ac:spMk id="633" creationId="{773635F3-4154-545A-7879-214A6102A224}"/>
          </ac:spMkLst>
        </pc:spChg>
        <pc:spChg chg="add del mod">
          <ac:chgData name="Oğuz Öztekin" userId="33c0df0f-d5fe-4bda-8f43-141ad7af67e3" providerId="ADAL" clId="{48B824AD-1B2A-47A8-8D92-6FE6E622A650}" dt="2024-12-16T18:22:15.618" v="188764"/>
          <ac:spMkLst>
            <pc:docMk/>
            <pc:sldMk cId="664108087" sldId="294"/>
            <ac:spMk id="634" creationId="{80FB50D9-6382-833D-A745-1333C67EA5DB}"/>
          </ac:spMkLst>
        </pc:spChg>
        <pc:spChg chg="add del mod">
          <ac:chgData name="Oğuz Öztekin" userId="33c0df0f-d5fe-4bda-8f43-141ad7af67e3" providerId="ADAL" clId="{48B824AD-1B2A-47A8-8D92-6FE6E622A650}" dt="2024-12-16T18:22:15.620" v="188767"/>
          <ac:spMkLst>
            <pc:docMk/>
            <pc:sldMk cId="664108087" sldId="294"/>
            <ac:spMk id="638" creationId="{7263320D-90FF-9F57-C2CB-D0E81573F5BA}"/>
          </ac:spMkLst>
        </pc:spChg>
        <pc:spChg chg="mod">
          <ac:chgData name="Oğuz Öztekin" userId="33c0df0f-d5fe-4bda-8f43-141ad7af67e3" providerId="ADAL" clId="{48B824AD-1B2A-47A8-8D92-6FE6E622A650}" dt="2024-12-16T18:30:17.505" v="202761"/>
          <ac:spMkLst>
            <pc:docMk/>
            <pc:sldMk cId="664108087" sldId="294"/>
            <ac:spMk id="639" creationId="{D998F003-8B31-0522-B868-4C501C7AC787}"/>
          </ac:spMkLst>
        </pc:spChg>
        <pc:spChg chg="add del mod">
          <ac:chgData name="Oğuz Öztekin" userId="33c0df0f-d5fe-4bda-8f43-141ad7af67e3" providerId="ADAL" clId="{48B824AD-1B2A-47A8-8D92-6FE6E622A650}" dt="2024-12-16T18:22:15.620" v="188770"/>
          <ac:spMkLst>
            <pc:docMk/>
            <pc:sldMk cId="664108087" sldId="294"/>
            <ac:spMk id="640" creationId="{3792B57A-E1F6-DE4D-FD43-0F93CFF51AAB}"/>
          </ac:spMkLst>
        </pc:spChg>
        <pc:spChg chg="add del mod">
          <ac:chgData name="Oğuz Öztekin" userId="33c0df0f-d5fe-4bda-8f43-141ad7af67e3" providerId="ADAL" clId="{48B824AD-1B2A-47A8-8D92-6FE6E622A650}" dt="2024-12-16T18:22:15.622" v="188773"/>
          <ac:spMkLst>
            <pc:docMk/>
            <pc:sldMk cId="664108087" sldId="294"/>
            <ac:spMk id="647" creationId="{C61A1849-5493-9729-D76F-EDCB2DC8758A}"/>
          </ac:spMkLst>
        </pc:spChg>
        <pc:spChg chg="add del mod">
          <ac:chgData name="Oğuz Öztekin" userId="33c0df0f-d5fe-4bda-8f43-141ad7af67e3" providerId="ADAL" clId="{48B824AD-1B2A-47A8-8D92-6FE6E622A650}" dt="2024-12-16T18:22:15.623" v="188776"/>
          <ac:spMkLst>
            <pc:docMk/>
            <pc:sldMk cId="664108087" sldId="294"/>
            <ac:spMk id="648" creationId="{DE996D77-4C09-47E8-CA30-5687D456FF6A}"/>
          </ac:spMkLst>
        </pc:spChg>
        <pc:spChg chg="add del mod">
          <ac:chgData name="Oğuz Öztekin" userId="33c0df0f-d5fe-4bda-8f43-141ad7af67e3" providerId="ADAL" clId="{48B824AD-1B2A-47A8-8D92-6FE6E622A650}" dt="2024-12-16T18:22:15.623" v="188779"/>
          <ac:spMkLst>
            <pc:docMk/>
            <pc:sldMk cId="664108087" sldId="294"/>
            <ac:spMk id="649" creationId="{7BE8FD23-5A10-7A41-5606-7617F900FB09}"/>
          </ac:spMkLst>
        </pc:spChg>
        <pc:spChg chg="add del mod">
          <ac:chgData name="Oğuz Öztekin" userId="33c0df0f-d5fe-4bda-8f43-141ad7af67e3" providerId="ADAL" clId="{48B824AD-1B2A-47A8-8D92-6FE6E622A650}" dt="2024-12-16T18:22:15.624" v="188782"/>
          <ac:spMkLst>
            <pc:docMk/>
            <pc:sldMk cId="664108087" sldId="294"/>
            <ac:spMk id="650" creationId="{C6680DE6-0985-1F35-42BD-74C2F8EB1DC7}"/>
          </ac:spMkLst>
        </pc:spChg>
        <pc:spChg chg="add del mod">
          <ac:chgData name="Oğuz Öztekin" userId="33c0df0f-d5fe-4bda-8f43-141ad7af67e3" providerId="ADAL" clId="{48B824AD-1B2A-47A8-8D92-6FE6E622A650}" dt="2024-12-16T18:22:15.625" v="188785"/>
          <ac:spMkLst>
            <pc:docMk/>
            <pc:sldMk cId="664108087" sldId="294"/>
            <ac:spMk id="651" creationId="{28CC7528-C911-412D-7D64-16FF413BECEF}"/>
          </ac:spMkLst>
        </pc:spChg>
        <pc:spChg chg="add del mod">
          <ac:chgData name="Oğuz Öztekin" userId="33c0df0f-d5fe-4bda-8f43-141ad7af67e3" providerId="ADAL" clId="{48B824AD-1B2A-47A8-8D92-6FE6E622A650}" dt="2024-12-16T18:22:15.626" v="188788"/>
          <ac:spMkLst>
            <pc:docMk/>
            <pc:sldMk cId="664108087" sldId="294"/>
            <ac:spMk id="652" creationId="{4BA14308-8F0F-13D1-69FA-76A5CF2BB098}"/>
          </ac:spMkLst>
        </pc:spChg>
        <pc:spChg chg="add del mod">
          <ac:chgData name="Oğuz Öztekin" userId="33c0df0f-d5fe-4bda-8f43-141ad7af67e3" providerId="ADAL" clId="{48B824AD-1B2A-47A8-8D92-6FE6E622A650}" dt="2024-12-16T18:22:15.627" v="188791"/>
          <ac:spMkLst>
            <pc:docMk/>
            <pc:sldMk cId="664108087" sldId="294"/>
            <ac:spMk id="653" creationId="{1B122A39-E771-8411-80B8-354833374CA7}"/>
          </ac:spMkLst>
        </pc:spChg>
        <pc:spChg chg="add del mod">
          <ac:chgData name="Oğuz Öztekin" userId="33c0df0f-d5fe-4bda-8f43-141ad7af67e3" providerId="ADAL" clId="{48B824AD-1B2A-47A8-8D92-6FE6E622A650}" dt="2024-12-16T18:22:15.627" v="188794"/>
          <ac:spMkLst>
            <pc:docMk/>
            <pc:sldMk cId="664108087" sldId="294"/>
            <ac:spMk id="654" creationId="{08D2C0BB-AEAE-1827-C686-4CE25E9C4B12}"/>
          </ac:spMkLst>
        </pc:spChg>
        <pc:spChg chg="add del mod">
          <ac:chgData name="Oğuz Öztekin" userId="33c0df0f-d5fe-4bda-8f43-141ad7af67e3" providerId="ADAL" clId="{48B824AD-1B2A-47A8-8D92-6FE6E622A650}" dt="2024-12-16T18:22:15.628" v="188797"/>
          <ac:spMkLst>
            <pc:docMk/>
            <pc:sldMk cId="664108087" sldId="294"/>
            <ac:spMk id="655" creationId="{D8BDC675-34C3-5CF0-0682-DE4A7B19A207}"/>
          </ac:spMkLst>
        </pc:spChg>
        <pc:spChg chg="add del mod">
          <ac:chgData name="Oğuz Öztekin" userId="33c0df0f-d5fe-4bda-8f43-141ad7af67e3" providerId="ADAL" clId="{48B824AD-1B2A-47A8-8D92-6FE6E622A650}" dt="2024-12-16T18:22:15.629" v="188800"/>
          <ac:spMkLst>
            <pc:docMk/>
            <pc:sldMk cId="664108087" sldId="294"/>
            <ac:spMk id="656" creationId="{36580290-804E-32C8-44AF-04F3A971AD5A}"/>
          </ac:spMkLst>
        </pc:spChg>
        <pc:spChg chg="add del mod">
          <ac:chgData name="Oğuz Öztekin" userId="33c0df0f-d5fe-4bda-8f43-141ad7af67e3" providerId="ADAL" clId="{48B824AD-1B2A-47A8-8D92-6FE6E622A650}" dt="2024-12-16T18:22:15.630" v="188803"/>
          <ac:spMkLst>
            <pc:docMk/>
            <pc:sldMk cId="664108087" sldId="294"/>
            <ac:spMk id="657" creationId="{FB8F115D-E040-B0A3-13D2-F622452CEA90}"/>
          </ac:spMkLst>
        </pc:spChg>
        <pc:spChg chg="add del mod">
          <ac:chgData name="Oğuz Öztekin" userId="33c0df0f-d5fe-4bda-8f43-141ad7af67e3" providerId="ADAL" clId="{48B824AD-1B2A-47A8-8D92-6FE6E622A650}" dt="2024-12-16T18:22:15.631" v="188806"/>
          <ac:spMkLst>
            <pc:docMk/>
            <pc:sldMk cId="664108087" sldId="294"/>
            <ac:spMk id="658" creationId="{014A0AAB-6410-B233-90F7-2717E3B085D9}"/>
          </ac:spMkLst>
        </pc:spChg>
        <pc:spChg chg="add del mod">
          <ac:chgData name="Oğuz Öztekin" userId="33c0df0f-d5fe-4bda-8f43-141ad7af67e3" providerId="ADAL" clId="{48B824AD-1B2A-47A8-8D92-6FE6E622A650}" dt="2024-12-16T18:22:15.631" v="188809"/>
          <ac:spMkLst>
            <pc:docMk/>
            <pc:sldMk cId="664108087" sldId="294"/>
            <ac:spMk id="659" creationId="{73D9E994-0CE0-8B47-01DA-8C7EBAD43114}"/>
          </ac:spMkLst>
        </pc:spChg>
        <pc:spChg chg="add del mod">
          <ac:chgData name="Oğuz Öztekin" userId="33c0df0f-d5fe-4bda-8f43-141ad7af67e3" providerId="ADAL" clId="{48B824AD-1B2A-47A8-8D92-6FE6E622A650}" dt="2024-12-16T18:22:15.633" v="188812"/>
          <ac:spMkLst>
            <pc:docMk/>
            <pc:sldMk cId="664108087" sldId="294"/>
            <ac:spMk id="660" creationId="{41F11481-E25C-AF15-0902-29E80E9C6894}"/>
          </ac:spMkLst>
        </pc:spChg>
        <pc:spChg chg="add del mod">
          <ac:chgData name="Oğuz Öztekin" userId="33c0df0f-d5fe-4bda-8f43-141ad7af67e3" providerId="ADAL" clId="{48B824AD-1B2A-47A8-8D92-6FE6E622A650}" dt="2024-12-16T18:22:15.633" v="188815"/>
          <ac:spMkLst>
            <pc:docMk/>
            <pc:sldMk cId="664108087" sldId="294"/>
            <ac:spMk id="661" creationId="{B0710511-71C7-0332-CB87-4F4FF8F9353C}"/>
          </ac:spMkLst>
        </pc:spChg>
        <pc:spChg chg="add del mod">
          <ac:chgData name="Oğuz Öztekin" userId="33c0df0f-d5fe-4bda-8f43-141ad7af67e3" providerId="ADAL" clId="{48B824AD-1B2A-47A8-8D92-6FE6E622A650}" dt="2024-12-16T18:22:15.634" v="188818"/>
          <ac:spMkLst>
            <pc:docMk/>
            <pc:sldMk cId="664108087" sldId="294"/>
            <ac:spMk id="662" creationId="{ED0A46ED-D598-8DCF-6CE6-EF4940F2DBFE}"/>
          </ac:spMkLst>
        </pc:spChg>
        <pc:spChg chg="add del mod">
          <ac:chgData name="Oğuz Öztekin" userId="33c0df0f-d5fe-4bda-8f43-141ad7af67e3" providerId="ADAL" clId="{48B824AD-1B2A-47A8-8D92-6FE6E622A650}" dt="2024-12-16T18:22:08.093" v="186828"/>
          <ac:spMkLst>
            <pc:docMk/>
            <pc:sldMk cId="664108087" sldId="294"/>
            <ac:spMk id="663" creationId="{D9D3162C-767D-9C94-54C5-53ED86779A14}"/>
          </ac:spMkLst>
        </pc:spChg>
        <pc:spChg chg="add del mod">
          <ac:chgData name="Oğuz Öztekin" userId="33c0df0f-d5fe-4bda-8f43-141ad7af67e3" providerId="ADAL" clId="{48B824AD-1B2A-47A8-8D92-6FE6E622A650}" dt="2024-12-16T18:22:08.094" v="186831"/>
          <ac:spMkLst>
            <pc:docMk/>
            <pc:sldMk cId="664108087" sldId="294"/>
            <ac:spMk id="664" creationId="{147BAAA1-3B03-6244-5C7A-3BEA21EB9DCF}"/>
          </ac:spMkLst>
        </pc:spChg>
        <pc:spChg chg="add del mod">
          <ac:chgData name="Oğuz Öztekin" userId="33c0df0f-d5fe-4bda-8f43-141ad7af67e3" providerId="ADAL" clId="{48B824AD-1B2A-47A8-8D92-6FE6E622A650}" dt="2024-12-16T18:22:08.095" v="186834"/>
          <ac:spMkLst>
            <pc:docMk/>
            <pc:sldMk cId="664108087" sldId="294"/>
            <ac:spMk id="665" creationId="{A2D11AF6-32EB-0ADE-D82B-21B2CEA4CE0E}"/>
          </ac:spMkLst>
        </pc:spChg>
        <pc:spChg chg="add del mod">
          <ac:chgData name="Oğuz Öztekin" userId="33c0df0f-d5fe-4bda-8f43-141ad7af67e3" providerId="ADAL" clId="{48B824AD-1B2A-47A8-8D92-6FE6E622A650}" dt="2024-12-16T18:22:08.096" v="186837"/>
          <ac:spMkLst>
            <pc:docMk/>
            <pc:sldMk cId="664108087" sldId="294"/>
            <ac:spMk id="666" creationId="{AB3CB58B-2356-4F0A-46C9-073A05165E16}"/>
          </ac:spMkLst>
        </pc:spChg>
        <pc:spChg chg="add del mod">
          <ac:chgData name="Oğuz Öztekin" userId="33c0df0f-d5fe-4bda-8f43-141ad7af67e3" providerId="ADAL" clId="{48B824AD-1B2A-47A8-8D92-6FE6E622A650}" dt="2024-12-16T18:22:08.097" v="186840"/>
          <ac:spMkLst>
            <pc:docMk/>
            <pc:sldMk cId="664108087" sldId="294"/>
            <ac:spMk id="667" creationId="{C802E67C-783C-4441-81CB-C179EF57D862}"/>
          </ac:spMkLst>
        </pc:spChg>
        <pc:spChg chg="add del mod">
          <ac:chgData name="Oğuz Öztekin" userId="33c0df0f-d5fe-4bda-8f43-141ad7af67e3" providerId="ADAL" clId="{48B824AD-1B2A-47A8-8D92-6FE6E622A650}" dt="2024-12-16T18:22:08.098" v="186843"/>
          <ac:spMkLst>
            <pc:docMk/>
            <pc:sldMk cId="664108087" sldId="294"/>
            <ac:spMk id="668" creationId="{3B35DE30-DABA-E8AF-3D0A-A19A2CAD7AF8}"/>
          </ac:spMkLst>
        </pc:spChg>
        <pc:spChg chg="add del mod">
          <ac:chgData name="Oğuz Öztekin" userId="33c0df0f-d5fe-4bda-8f43-141ad7af67e3" providerId="ADAL" clId="{48B824AD-1B2A-47A8-8D92-6FE6E622A650}" dt="2024-12-16T18:22:08.099" v="186846"/>
          <ac:spMkLst>
            <pc:docMk/>
            <pc:sldMk cId="664108087" sldId="294"/>
            <ac:spMk id="669" creationId="{4CE1B75F-C24C-4762-C468-FC2B2BE50C30}"/>
          </ac:spMkLst>
        </pc:spChg>
        <pc:spChg chg="add del mod">
          <ac:chgData name="Oğuz Öztekin" userId="33c0df0f-d5fe-4bda-8f43-141ad7af67e3" providerId="ADAL" clId="{48B824AD-1B2A-47A8-8D92-6FE6E622A650}" dt="2024-12-16T18:22:08.100" v="186849"/>
          <ac:spMkLst>
            <pc:docMk/>
            <pc:sldMk cId="664108087" sldId="294"/>
            <ac:spMk id="670" creationId="{44E164DA-4705-DB8B-3B86-3C35D8E4DAFF}"/>
          </ac:spMkLst>
        </pc:spChg>
        <pc:spChg chg="add del mod">
          <ac:chgData name="Oğuz Öztekin" userId="33c0df0f-d5fe-4bda-8f43-141ad7af67e3" providerId="ADAL" clId="{48B824AD-1B2A-47A8-8D92-6FE6E622A650}" dt="2024-12-16T18:22:08.100" v="186852"/>
          <ac:spMkLst>
            <pc:docMk/>
            <pc:sldMk cId="664108087" sldId="294"/>
            <ac:spMk id="671" creationId="{1EB68858-F0BD-A3E8-073B-5DFB0B4E1380}"/>
          </ac:spMkLst>
        </pc:spChg>
        <pc:spChg chg="add del mod modVis">
          <ac:chgData name="Oğuz Öztekin" userId="33c0df0f-d5fe-4bda-8f43-141ad7af67e3" providerId="ADAL" clId="{48B824AD-1B2A-47A8-8D92-6FE6E622A650}" dt="2024-12-16T18:22:08.806" v="188756"/>
          <ac:spMkLst>
            <pc:docMk/>
            <pc:sldMk cId="664108087" sldId="294"/>
            <ac:spMk id="839" creationId="{771BC210-24D5-C5D2-8F8B-415FDC60D0EC}"/>
          </ac:spMkLst>
        </pc:spChg>
        <pc:spChg chg="add del mod modVis">
          <ac:chgData name="Oğuz Öztekin" userId="33c0df0f-d5fe-4bda-8f43-141ad7af67e3" providerId="ADAL" clId="{48B824AD-1B2A-47A8-8D92-6FE6E622A650}" dt="2024-12-16T18:22:16.256" v="190485"/>
          <ac:spMkLst>
            <pc:docMk/>
            <pc:sldMk cId="664108087" sldId="294"/>
            <ac:spMk id="841" creationId="{5E1E3BBB-F224-49AF-CBB2-67C63875E9B8}"/>
          </ac:spMkLst>
        </pc:spChg>
        <pc:spChg chg="add del mod modVis">
          <ac:chgData name="Oğuz Öztekin" userId="33c0df0f-d5fe-4bda-8f43-141ad7af67e3" providerId="ADAL" clId="{48B824AD-1B2A-47A8-8D92-6FE6E622A650}" dt="2024-12-16T18:22:27.569" v="192014"/>
          <ac:spMkLst>
            <pc:docMk/>
            <pc:sldMk cId="664108087" sldId="294"/>
            <ac:spMk id="843" creationId="{EBB4AD81-A743-EF60-F16F-456298FE0DBE}"/>
          </ac:spMkLst>
        </pc:spChg>
        <pc:spChg chg="add del mod modVis">
          <ac:chgData name="Oğuz Öztekin" userId="33c0df0f-d5fe-4bda-8f43-141ad7af67e3" providerId="ADAL" clId="{48B824AD-1B2A-47A8-8D92-6FE6E622A650}" dt="2024-12-16T18:22:35.430" v="193339"/>
          <ac:spMkLst>
            <pc:docMk/>
            <pc:sldMk cId="664108087" sldId="294"/>
            <ac:spMk id="845" creationId="{218D8A01-CD06-F664-5911-F8C42A32915A}"/>
          </ac:spMkLst>
        </pc:spChg>
        <pc:spChg chg="add del mod modVis">
          <ac:chgData name="Oğuz Öztekin" userId="33c0df0f-d5fe-4bda-8f43-141ad7af67e3" providerId="ADAL" clId="{48B824AD-1B2A-47A8-8D92-6FE6E622A650}" dt="2024-12-16T18:22:43.727" v="194464"/>
          <ac:spMkLst>
            <pc:docMk/>
            <pc:sldMk cId="664108087" sldId="294"/>
            <ac:spMk id="847" creationId="{2FD5C08F-6A10-DE05-4D7F-71A3955C3036}"/>
          </ac:spMkLst>
        </pc:spChg>
        <pc:spChg chg="add del mod modVis">
          <ac:chgData name="Oğuz Öztekin" userId="33c0df0f-d5fe-4bda-8f43-141ad7af67e3" providerId="ADAL" clId="{48B824AD-1B2A-47A8-8D92-6FE6E622A650}" dt="2024-12-16T18:22:49.908" v="195389"/>
          <ac:spMkLst>
            <pc:docMk/>
            <pc:sldMk cId="664108087" sldId="294"/>
            <ac:spMk id="849" creationId="{6BC910E1-3BA6-9AC0-DE4F-FD421557480F}"/>
          </ac:spMkLst>
        </pc:spChg>
        <pc:spChg chg="add del mod modVis">
          <ac:chgData name="Oğuz Öztekin" userId="33c0df0f-d5fe-4bda-8f43-141ad7af67e3" providerId="ADAL" clId="{48B824AD-1B2A-47A8-8D92-6FE6E622A650}" dt="2024-12-16T18:22:55.996" v="196114"/>
          <ac:spMkLst>
            <pc:docMk/>
            <pc:sldMk cId="664108087" sldId="294"/>
            <ac:spMk id="851" creationId="{B59AA933-10D7-0C5D-1635-9909F9152A9F}"/>
          </ac:spMkLst>
        </pc:spChg>
        <pc:spChg chg="add del mod modVis">
          <ac:chgData name="Oğuz Öztekin" userId="33c0df0f-d5fe-4bda-8f43-141ad7af67e3" providerId="ADAL" clId="{48B824AD-1B2A-47A8-8D92-6FE6E622A650}" dt="2024-12-16T18:23:01.795" v="196675"/>
          <ac:spMkLst>
            <pc:docMk/>
            <pc:sldMk cId="664108087" sldId="294"/>
            <ac:spMk id="853" creationId="{FD12973E-95CC-20B0-936C-451137DEA08D}"/>
          </ac:spMkLst>
        </pc:spChg>
        <pc:spChg chg="add del mod modVis">
          <ac:chgData name="Oğuz Öztekin" userId="33c0df0f-d5fe-4bda-8f43-141ad7af67e3" providerId="ADAL" clId="{48B824AD-1B2A-47A8-8D92-6FE6E622A650}" dt="2024-12-16T18:23:07.092" v="197020"/>
          <ac:spMkLst>
            <pc:docMk/>
            <pc:sldMk cId="664108087" sldId="294"/>
            <ac:spMk id="855" creationId="{ED0B04FD-E442-EB87-E35E-6341644FA794}"/>
          </ac:spMkLst>
        </pc:spChg>
        <pc:spChg chg="add del mod modVis">
          <ac:chgData name="Oğuz Öztekin" userId="33c0df0f-d5fe-4bda-8f43-141ad7af67e3" providerId="ADAL" clId="{48B824AD-1B2A-47A8-8D92-6FE6E622A650}" dt="2024-12-16T18:23:24.906" v="197057"/>
          <ac:spMkLst>
            <pc:docMk/>
            <pc:sldMk cId="664108087" sldId="294"/>
            <ac:spMk id="857" creationId="{D9BA1A03-5F7B-7F12-1F32-905F508E7A8B}"/>
          </ac:spMkLst>
        </pc:spChg>
        <pc:spChg chg="add del mod modVis">
          <ac:chgData name="Oğuz Öztekin" userId="33c0df0f-d5fe-4bda-8f43-141ad7af67e3" providerId="ADAL" clId="{48B824AD-1B2A-47A8-8D92-6FE6E622A650}" dt="2024-12-16T18:24:14.618" v="197142"/>
          <ac:spMkLst>
            <pc:docMk/>
            <pc:sldMk cId="664108087" sldId="294"/>
            <ac:spMk id="858" creationId="{6213CFC8-C9B9-8715-AC4A-432FCA73AC08}"/>
          </ac:spMkLst>
        </pc:spChg>
        <pc:spChg chg="add del mod modVis">
          <ac:chgData name="Oğuz Öztekin" userId="33c0df0f-d5fe-4bda-8f43-141ad7af67e3" providerId="ADAL" clId="{48B824AD-1B2A-47A8-8D92-6FE6E622A650}" dt="2024-12-16T18:24:21.104" v="197186"/>
          <ac:spMkLst>
            <pc:docMk/>
            <pc:sldMk cId="664108087" sldId="294"/>
            <ac:spMk id="859" creationId="{AC87993E-0876-4679-A778-AF53D6EF3990}"/>
          </ac:spMkLst>
        </pc:spChg>
        <pc:spChg chg="add del mod modVis">
          <ac:chgData name="Oğuz Öztekin" userId="33c0df0f-d5fe-4bda-8f43-141ad7af67e3" providerId="ADAL" clId="{48B824AD-1B2A-47A8-8D92-6FE6E622A650}" dt="2024-12-16T18:24:44.238" v="197386" actId="962"/>
          <ac:spMkLst>
            <pc:docMk/>
            <pc:sldMk cId="664108087" sldId="294"/>
            <ac:spMk id="860" creationId="{CD723E99-994A-E08A-2363-61035E7121C3}"/>
          </ac:spMkLst>
        </pc:spChg>
        <pc:spChg chg="add del mod modVis">
          <ac:chgData name="Oğuz Öztekin" userId="33c0df0f-d5fe-4bda-8f43-141ad7af67e3" providerId="ADAL" clId="{48B824AD-1B2A-47A8-8D92-6FE6E622A650}" dt="2024-12-16T18:24:56.293" v="197650"/>
          <ac:spMkLst>
            <pc:docMk/>
            <pc:sldMk cId="664108087" sldId="294"/>
            <ac:spMk id="862" creationId="{2DF1313C-08B1-EEF7-B0F9-4021AE3B4A17}"/>
          </ac:spMkLst>
        </pc:spChg>
        <pc:spChg chg="add del mod modVis">
          <ac:chgData name="Oğuz Öztekin" userId="33c0df0f-d5fe-4bda-8f43-141ad7af67e3" providerId="ADAL" clId="{48B824AD-1B2A-47A8-8D92-6FE6E622A650}" dt="2024-12-16T18:24:59.487" v="197796"/>
          <ac:spMkLst>
            <pc:docMk/>
            <pc:sldMk cId="664108087" sldId="294"/>
            <ac:spMk id="864" creationId="{1DCCE8F3-EA92-6C57-FC5C-91EF85EFE6CF}"/>
          </ac:spMkLst>
        </pc:spChg>
        <pc:spChg chg="add mod">
          <ac:chgData name="Oğuz Öztekin" userId="33c0df0f-d5fe-4bda-8f43-141ad7af67e3" providerId="ADAL" clId="{48B824AD-1B2A-47A8-8D92-6FE6E622A650}" dt="2024-12-16T18:30:17.506" v="202763"/>
          <ac:spMkLst>
            <pc:docMk/>
            <pc:sldMk cId="664108087" sldId="294"/>
            <ac:spMk id="866" creationId="{A0B994D9-7A59-9B6E-96F0-FF5853CD7A53}"/>
          </ac:spMkLst>
        </pc:spChg>
        <pc:spChg chg="add del mod modVis">
          <ac:chgData name="Oğuz Öztekin" userId="33c0df0f-d5fe-4bda-8f43-141ad7af67e3" providerId="ADAL" clId="{48B824AD-1B2A-47A8-8D92-6FE6E622A650}" dt="2024-12-16T18:30:17.507" v="202768"/>
          <ac:spMkLst>
            <pc:docMk/>
            <pc:sldMk cId="664108087" sldId="294"/>
            <ac:spMk id="867" creationId="{9CC5F534-4B5D-2603-7761-6170C4039107}"/>
          </ac:spMkLst>
        </pc:spChg>
        <pc:graphicFrameChg chg="mod">
          <ac:chgData name="Oğuz Öztekin" userId="33c0df0f-d5fe-4bda-8f43-141ad7af67e3" providerId="ADAL" clId="{48B824AD-1B2A-47A8-8D92-6FE6E622A650}" dt="2024-12-16T18:30:17.508" v="202770"/>
          <ac:graphicFrameMkLst>
            <pc:docMk/>
            <pc:sldMk cId="664108087" sldId="294"/>
            <ac:graphicFrameMk id="3" creationId="{536BE948-A66A-ED93-4D60-D88E950EEF2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1:20.442" v="178546"/>
          <ac:graphicFrameMkLst>
            <pc:docMk/>
            <pc:sldMk cId="664108087" sldId="294"/>
            <ac:graphicFrameMk id="5" creationId="{1EBC8676-8CD0-B5D1-0770-B4ED9A515A8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2:06.054" v="186199"/>
          <ac:graphicFrameMkLst>
            <pc:docMk/>
            <pc:sldMk cId="664108087" sldId="294"/>
            <ac:graphicFrameMk id="7" creationId="{615B2BEB-4DC1-C0B7-094B-C81D4EE5ED76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21:46.537" v="179542"/>
          <ac:graphicFrameMkLst>
            <pc:docMk/>
            <pc:sldMk cId="664108087" sldId="294"/>
            <ac:graphicFrameMk id="9" creationId="{1A500C83-D5E7-7682-8632-2EBD1656865B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21:11.724" v="178392"/>
          <ac:graphicFrameMkLst>
            <pc:docMk/>
            <pc:sldMk cId="664108087" sldId="294"/>
            <ac:graphicFrameMk id="646" creationId="{C880C538-CDEB-2E40-CA02-0C74AE7AB42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2:08.623" v="188196"/>
          <ac:graphicFrameMkLst>
            <pc:docMk/>
            <pc:sldMk cId="664108087" sldId="294"/>
            <ac:graphicFrameMk id="838" creationId="{6F554B67-9321-154A-2484-E8B5E9D4FBB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2:16.085" v="189985"/>
          <ac:graphicFrameMkLst>
            <pc:docMk/>
            <pc:sldMk cId="664108087" sldId="294"/>
            <ac:graphicFrameMk id="840" creationId="{2A8EE0F6-12CD-1EC0-1AEE-23C812E3BC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2:27.426" v="191574"/>
          <ac:graphicFrameMkLst>
            <pc:docMk/>
            <pc:sldMk cId="664108087" sldId="294"/>
            <ac:graphicFrameMk id="842" creationId="{0EEC7706-CA35-FD1D-C3FF-B82AE0C7693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2:35.304" v="192959"/>
          <ac:graphicFrameMkLst>
            <pc:docMk/>
            <pc:sldMk cId="664108087" sldId="294"/>
            <ac:graphicFrameMk id="844" creationId="{106239AA-22B9-1E39-2F0D-AB10E31028E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2:43.621" v="194144"/>
          <ac:graphicFrameMkLst>
            <pc:docMk/>
            <pc:sldMk cId="664108087" sldId="294"/>
            <ac:graphicFrameMk id="846" creationId="{2966135E-BE7E-0CFA-B655-0373A712F20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2:49.824" v="195129"/>
          <ac:graphicFrameMkLst>
            <pc:docMk/>
            <pc:sldMk cId="664108087" sldId="294"/>
            <ac:graphicFrameMk id="848" creationId="{74C4CF73-D6E6-2BA6-64EE-BDA03947E4E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2:55.927" v="195914"/>
          <ac:graphicFrameMkLst>
            <pc:docMk/>
            <pc:sldMk cId="664108087" sldId="294"/>
            <ac:graphicFrameMk id="850" creationId="{00A459DF-77F8-4E29-72B9-271F86D61D5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3:01.746" v="196535"/>
          <ac:graphicFrameMkLst>
            <pc:docMk/>
            <pc:sldMk cId="664108087" sldId="294"/>
            <ac:graphicFrameMk id="852" creationId="{C762E52B-03B8-71C5-300B-01DE65EAA72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3:07.058" v="196952"/>
          <ac:graphicFrameMkLst>
            <pc:docMk/>
            <pc:sldMk cId="664108087" sldId="294"/>
            <ac:graphicFrameMk id="854" creationId="{F566B685-934E-18BC-411A-3B80B77C46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4:56.260" v="197580"/>
          <ac:graphicFrameMkLst>
            <pc:docMk/>
            <pc:sldMk cId="664108087" sldId="294"/>
            <ac:graphicFrameMk id="856" creationId="{677437D1-1500-E721-B7B8-6941CBFE8252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24:44.224" v="197356" actId="1076"/>
          <ac:graphicFrameMkLst>
            <pc:docMk/>
            <pc:sldMk cId="664108087" sldId="294"/>
            <ac:graphicFrameMk id="861" creationId="{36037DDA-8989-5CAB-902E-0B956BDB192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4:59.457" v="197728"/>
          <ac:graphicFrameMkLst>
            <pc:docMk/>
            <pc:sldMk cId="664108087" sldId="294"/>
            <ac:graphicFrameMk id="863" creationId="{1F35086B-BBDE-EF0A-67AA-435A800E76B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30:17.470" v="202687"/>
          <ac:graphicFrameMkLst>
            <pc:docMk/>
            <pc:sldMk cId="664108087" sldId="294"/>
            <ac:graphicFrameMk id="865" creationId="{58B0C32A-417A-6625-F41F-3590E1F929C1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30:17.494" v="202704"/>
          <ac:graphicFrameMkLst>
            <pc:docMk/>
            <pc:sldMk cId="664108087" sldId="294"/>
            <ac:graphicFrameMk id="870" creationId="{D34566D0-C366-A2E4-A447-7465D352C853}"/>
          </ac:graphicFrameMkLst>
        </pc:graphicFrameChg>
        <pc:cxnChg chg="mod ord">
          <ac:chgData name="Oğuz Öztekin" userId="33c0df0f-d5fe-4bda-8f43-141ad7af67e3" providerId="ADAL" clId="{48B824AD-1B2A-47A8-8D92-6FE6E622A650}" dt="2024-12-16T18:30:17.495" v="202714"/>
          <ac:cxnSpMkLst>
            <pc:docMk/>
            <pc:sldMk cId="664108087" sldId="294"/>
            <ac:cxnSpMk id="306" creationId="{6039E404-7872-8D02-5B85-7D532D961BA0}"/>
          </ac:cxnSpMkLst>
        </pc:cxnChg>
        <pc:cxnChg chg="mod ord">
          <ac:chgData name="Oğuz Öztekin" userId="33c0df0f-d5fe-4bda-8f43-141ad7af67e3" providerId="ADAL" clId="{48B824AD-1B2A-47A8-8D92-6FE6E622A650}" dt="2024-12-16T18:30:17.496" v="202720"/>
          <ac:cxnSpMkLst>
            <pc:docMk/>
            <pc:sldMk cId="664108087" sldId="294"/>
            <ac:cxnSpMk id="317" creationId="{B43A1778-581D-BFE1-8E0B-F644981D5227}"/>
          </ac:cxnSpMkLst>
        </pc:cxnChg>
        <pc:cxnChg chg="mod ord">
          <ac:chgData name="Oğuz Öztekin" userId="33c0df0f-d5fe-4bda-8f43-141ad7af67e3" providerId="ADAL" clId="{48B824AD-1B2A-47A8-8D92-6FE6E622A650}" dt="2024-12-16T18:30:17.494" v="202706"/>
          <ac:cxnSpMkLst>
            <pc:docMk/>
            <pc:sldMk cId="664108087" sldId="294"/>
            <ac:cxnSpMk id="416" creationId="{9F6D7461-87DE-3419-3FFF-347367A0BCA5}"/>
          </ac:cxnSpMkLst>
        </pc:cxnChg>
        <pc:cxnChg chg="add mod ord">
          <ac:chgData name="Oğuz Öztekin" userId="33c0df0f-d5fe-4bda-8f43-141ad7af67e3" providerId="ADAL" clId="{48B824AD-1B2A-47A8-8D92-6FE6E622A650}" dt="2024-12-16T18:30:17.495" v="202710"/>
          <ac:cxnSpMkLst>
            <pc:docMk/>
            <pc:sldMk cId="664108087" sldId="294"/>
            <ac:cxnSpMk id="429" creationId="{4B6420B0-44DE-BCA0-20B9-2F0339F6537E}"/>
          </ac:cxnSpMkLst>
        </pc:cxnChg>
        <pc:cxnChg chg="add del mod ord">
          <ac:chgData name="Oğuz Öztekin" userId="33c0df0f-d5fe-4bda-8f43-141ad7af67e3" providerId="ADAL" clId="{48B824AD-1B2A-47A8-8D92-6FE6E622A650}" dt="2024-12-16T18:23:07.028" v="196838"/>
          <ac:cxnSpMkLst>
            <pc:docMk/>
            <pc:sldMk cId="664108087" sldId="294"/>
            <ac:cxnSpMk id="430" creationId="{0CB2F3E4-319B-2784-C58D-3E5DAF2A9C25}"/>
          </ac:cxnSpMkLst>
        </pc:cxnChg>
        <pc:cxnChg chg="add mod ord">
          <ac:chgData name="Oğuz Öztekin" userId="33c0df0f-d5fe-4bda-8f43-141ad7af67e3" providerId="ADAL" clId="{48B824AD-1B2A-47A8-8D92-6FE6E622A650}" dt="2024-12-16T18:30:17.496" v="202716"/>
          <ac:cxnSpMkLst>
            <pc:docMk/>
            <pc:sldMk cId="664108087" sldId="294"/>
            <ac:cxnSpMk id="431" creationId="{5C298048-9CD6-DE2E-D7A9-9588E2C7FD3D}"/>
          </ac:cxnSpMkLst>
        </pc:cxnChg>
        <pc:cxnChg chg="add mod ord">
          <ac:chgData name="Oğuz Öztekin" userId="33c0df0f-d5fe-4bda-8f43-141ad7af67e3" providerId="ADAL" clId="{48B824AD-1B2A-47A8-8D92-6FE6E622A650}" dt="2024-12-16T18:30:17.495" v="202712"/>
          <ac:cxnSpMkLst>
            <pc:docMk/>
            <pc:sldMk cId="664108087" sldId="294"/>
            <ac:cxnSpMk id="432" creationId="{90CB2F40-3CA1-09D2-C057-E0F6A9468B1E}"/>
          </ac:cxnSpMkLst>
        </pc:cxnChg>
        <pc:cxnChg chg="add del mod ord">
          <ac:chgData name="Oğuz Öztekin" userId="33c0df0f-d5fe-4bda-8f43-141ad7af67e3" providerId="ADAL" clId="{48B824AD-1B2A-47A8-8D92-6FE6E622A650}" dt="2024-12-16T18:23:07.050" v="196944"/>
          <ac:cxnSpMkLst>
            <pc:docMk/>
            <pc:sldMk cId="664108087" sldId="294"/>
            <ac:cxnSpMk id="433" creationId="{989B10B0-A44C-C58D-F165-F40F28855CBF}"/>
          </ac:cxnSpMkLst>
        </pc:cxnChg>
        <pc:cxnChg chg="add del mod ord">
          <ac:chgData name="Oğuz Öztekin" userId="33c0df0f-d5fe-4bda-8f43-141ad7af67e3" providerId="ADAL" clId="{48B824AD-1B2A-47A8-8D92-6FE6E622A650}" dt="2024-12-16T18:23:06.935" v="196679"/>
          <ac:cxnSpMkLst>
            <pc:docMk/>
            <pc:sldMk cId="664108087" sldId="294"/>
            <ac:cxnSpMk id="434" creationId="{4F67FD84-C4BF-4B03-9504-4D72ECF65E35}"/>
          </ac:cxnSpMkLst>
        </pc:cxnChg>
        <pc:cxnChg chg="add del mod ord">
          <ac:chgData name="Oğuz Öztekin" userId="33c0df0f-d5fe-4bda-8f43-141ad7af67e3" providerId="ADAL" clId="{48B824AD-1B2A-47A8-8D92-6FE6E622A650}" dt="2024-12-16T18:23:06.940" v="196682"/>
          <ac:cxnSpMkLst>
            <pc:docMk/>
            <pc:sldMk cId="664108087" sldId="294"/>
            <ac:cxnSpMk id="435" creationId="{8494511C-2DEC-4A15-BD44-EF597B6BF519}"/>
          </ac:cxnSpMkLst>
        </pc:cxnChg>
        <pc:cxnChg chg="add del mod ord">
          <ac:chgData name="Oğuz Öztekin" userId="33c0df0f-d5fe-4bda-8f43-141ad7af67e3" providerId="ADAL" clId="{48B824AD-1B2A-47A8-8D92-6FE6E622A650}" dt="2024-12-16T18:23:06.941" v="196685"/>
          <ac:cxnSpMkLst>
            <pc:docMk/>
            <pc:sldMk cId="664108087" sldId="294"/>
            <ac:cxnSpMk id="436" creationId="{00CAE0F2-9092-4C87-BB42-5D84053686B5}"/>
          </ac:cxnSpMkLst>
        </pc:cxnChg>
        <pc:cxnChg chg="add del mod ord">
          <ac:chgData name="Oğuz Öztekin" userId="33c0df0f-d5fe-4bda-8f43-141ad7af67e3" providerId="ADAL" clId="{48B824AD-1B2A-47A8-8D92-6FE6E622A650}" dt="2024-12-16T18:23:06.941" v="196688"/>
          <ac:cxnSpMkLst>
            <pc:docMk/>
            <pc:sldMk cId="664108087" sldId="294"/>
            <ac:cxnSpMk id="437" creationId="{78D821EA-3E0B-24A7-C633-451D2AA8BC0A}"/>
          </ac:cxnSpMkLst>
        </pc:cxnChg>
        <pc:cxnChg chg="add del mod ord">
          <ac:chgData name="Oğuz Öztekin" userId="33c0df0f-d5fe-4bda-8f43-141ad7af67e3" providerId="ADAL" clId="{48B824AD-1B2A-47A8-8D92-6FE6E622A650}" dt="2024-12-16T18:23:06.941" v="196691"/>
          <ac:cxnSpMkLst>
            <pc:docMk/>
            <pc:sldMk cId="664108087" sldId="294"/>
            <ac:cxnSpMk id="438" creationId="{4225CC03-2215-EA8F-8277-0DF210AA1503}"/>
          </ac:cxnSpMkLst>
        </pc:cxnChg>
        <pc:cxnChg chg="add del mod ord">
          <ac:chgData name="Oğuz Öztekin" userId="33c0df0f-d5fe-4bda-8f43-141ad7af67e3" providerId="ADAL" clId="{48B824AD-1B2A-47A8-8D92-6FE6E622A650}" dt="2024-12-16T18:23:06.941" v="196694"/>
          <ac:cxnSpMkLst>
            <pc:docMk/>
            <pc:sldMk cId="664108087" sldId="294"/>
            <ac:cxnSpMk id="439" creationId="{28CAA0B9-5DA2-CECA-5433-8B4C5F90B44C}"/>
          </ac:cxnSpMkLst>
        </pc:cxnChg>
        <pc:cxnChg chg="add del mod ord">
          <ac:chgData name="Oğuz Öztekin" userId="33c0df0f-d5fe-4bda-8f43-141ad7af67e3" providerId="ADAL" clId="{48B824AD-1B2A-47A8-8D92-6FE6E622A650}" dt="2024-12-16T18:23:06.941" v="196697"/>
          <ac:cxnSpMkLst>
            <pc:docMk/>
            <pc:sldMk cId="664108087" sldId="294"/>
            <ac:cxnSpMk id="440" creationId="{18CBE779-9FB1-F1ED-A889-1CEDE1949C6A}"/>
          </ac:cxnSpMkLst>
        </pc:cxnChg>
        <pc:cxnChg chg="add del mod ord">
          <ac:chgData name="Oğuz Öztekin" userId="33c0df0f-d5fe-4bda-8f43-141ad7af67e3" providerId="ADAL" clId="{48B824AD-1B2A-47A8-8D92-6FE6E622A650}" dt="2024-12-16T18:23:06.941" v="196700"/>
          <ac:cxnSpMkLst>
            <pc:docMk/>
            <pc:sldMk cId="664108087" sldId="294"/>
            <ac:cxnSpMk id="441" creationId="{B709D556-D7BA-210A-B079-C42729865AE4}"/>
          </ac:cxnSpMkLst>
        </pc:cxnChg>
        <pc:cxnChg chg="add del mod ord">
          <ac:chgData name="Oğuz Öztekin" userId="33c0df0f-d5fe-4bda-8f43-141ad7af67e3" providerId="ADAL" clId="{48B824AD-1B2A-47A8-8D92-6FE6E622A650}" dt="2024-12-16T18:23:06.941" v="196703"/>
          <ac:cxnSpMkLst>
            <pc:docMk/>
            <pc:sldMk cId="664108087" sldId="294"/>
            <ac:cxnSpMk id="442" creationId="{97D95917-92AB-3A04-BF70-BF4811BF715D}"/>
          </ac:cxnSpMkLst>
        </pc:cxnChg>
        <pc:cxnChg chg="add del mod ord">
          <ac:chgData name="Oğuz Öztekin" userId="33c0df0f-d5fe-4bda-8f43-141ad7af67e3" providerId="ADAL" clId="{48B824AD-1B2A-47A8-8D92-6FE6E622A650}" dt="2024-12-16T18:23:06.941" v="196706"/>
          <ac:cxnSpMkLst>
            <pc:docMk/>
            <pc:sldMk cId="664108087" sldId="294"/>
            <ac:cxnSpMk id="443" creationId="{4F10F9CF-E464-CA6C-3D87-5BFB2EBAFA61}"/>
          </ac:cxnSpMkLst>
        </pc:cxnChg>
        <pc:cxnChg chg="add del mod ord">
          <ac:chgData name="Oğuz Öztekin" userId="33c0df0f-d5fe-4bda-8f43-141ad7af67e3" providerId="ADAL" clId="{48B824AD-1B2A-47A8-8D92-6FE6E622A650}" dt="2024-12-16T18:23:06.948" v="196709"/>
          <ac:cxnSpMkLst>
            <pc:docMk/>
            <pc:sldMk cId="664108087" sldId="294"/>
            <ac:cxnSpMk id="444" creationId="{26AB7C40-8186-AD26-B61B-80B7119EDFA5}"/>
          </ac:cxnSpMkLst>
        </pc:cxnChg>
        <pc:cxnChg chg="add del mod ord">
          <ac:chgData name="Oğuz Öztekin" userId="33c0df0f-d5fe-4bda-8f43-141ad7af67e3" providerId="ADAL" clId="{48B824AD-1B2A-47A8-8D92-6FE6E622A650}" dt="2024-12-16T18:23:06.948" v="196712"/>
          <ac:cxnSpMkLst>
            <pc:docMk/>
            <pc:sldMk cId="664108087" sldId="294"/>
            <ac:cxnSpMk id="445" creationId="{21E3FCBC-10B0-6569-2CC6-89012586996B}"/>
          </ac:cxnSpMkLst>
        </pc:cxnChg>
        <pc:cxnChg chg="add del mod ord">
          <ac:chgData name="Oğuz Öztekin" userId="33c0df0f-d5fe-4bda-8f43-141ad7af67e3" providerId="ADAL" clId="{48B824AD-1B2A-47A8-8D92-6FE6E622A650}" dt="2024-12-16T18:23:06.950" v="196715"/>
          <ac:cxnSpMkLst>
            <pc:docMk/>
            <pc:sldMk cId="664108087" sldId="294"/>
            <ac:cxnSpMk id="446" creationId="{707A122D-B400-4F97-1DE6-EF13C6C17A7A}"/>
          </ac:cxnSpMkLst>
        </pc:cxnChg>
        <pc:cxnChg chg="add del mod ord">
          <ac:chgData name="Oğuz Öztekin" userId="33c0df0f-d5fe-4bda-8f43-141ad7af67e3" providerId="ADAL" clId="{48B824AD-1B2A-47A8-8D92-6FE6E622A650}" dt="2024-12-16T18:23:06.951" v="196718"/>
          <ac:cxnSpMkLst>
            <pc:docMk/>
            <pc:sldMk cId="664108087" sldId="294"/>
            <ac:cxnSpMk id="447" creationId="{B5CD04AB-BE65-5E7F-D127-8D69A3EE4FC0}"/>
          </ac:cxnSpMkLst>
        </pc:cxnChg>
        <pc:cxnChg chg="mod ord">
          <ac:chgData name="Oğuz Öztekin" userId="33c0df0f-d5fe-4bda-8f43-141ad7af67e3" providerId="ADAL" clId="{48B824AD-1B2A-47A8-8D92-6FE6E622A650}" dt="2024-12-16T18:30:17.497" v="202726"/>
          <ac:cxnSpMkLst>
            <pc:docMk/>
            <pc:sldMk cId="664108087" sldId="294"/>
            <ac:cxnSpMk id="626" creationId="{3F1FB9F3-9ED4-8665-AB7C-93BDC6407847}"/>
          </ac:cxnSpMkLst>
        </pc:cxnChg>
        <pc:cxnChg chg="del mod ord">
          <ac:chgData name="Oğuz Öztekin" userId="33c0df0f-d5fe-4bda-8f43-141ad7af67e3" providerId="ADAL" clId="{48B824AD-1B2A-47A8-8D92-6FE6E622A650}" dt="2024-12-16T18:23:07.050" v="196918"/>
          <ac:cxnSpMkLst>
            <pc:docMk/>
            <pc:sldMk cId="664108087" sldId="294"/>
            <ac:cxnSpMk id="630" creationId="{FC820D9D-2B8D-DEB0-5203-D65F663EE686}"/>
          </ac:cxnSpMkLst>
        </pc:cxnChg>
        <pc:cxnChg chg="del mod ord">
          <ac:chgData name="Oğuz Öztekin" userId="33c0df0f-d5fe-4bda-8f43-141ad7af67e3" providerId="ADAL" clId="{48B824AD-1B2A-47A8-8D92-6FE6E622A650}" dt="2024-12-16T18:23:07.050" v="196932"/>
          <ac:cxnSpMkLst>
            <pc:docMk/>
            <pc:sldMk cId="664108087" sldId="294"/>
            <ac:cxnSpMk id="631" creationId="{A86244EB-73BA-7C87-2145-C3CB8BFE5A5D}"/>
          </ac:cxnSpMkLst>
        </pc:cxnChg>
        <pc:cxnChg chg="mod ord">
          <ac:chgData name="Oğuz Öztekin" userId="33c0df0f-d5fe-4bda-8f43-141ad7af67e3" providerId="ADAL" clId="{48B824AD-1B2A-47A8-8D92-6FE6E622A650}" dt="2024-12-16T18:30:17.496" v="202718"/>
          <ac:cxnSpMkLst>
            <pc:docMk/>
            <pc:sldMk cId="664108087" sldId="294"/>
            <ac:cxnSpMk id="635" creationId="{6F961A8B-3D62-84BA-AD06-E12F3E423955}"/>
          </ac:cxnSpMkLst>
        </pc:cxnChg>
        <pc:cxnChg chg="del mod ord">
          <ac:chgData name="Oğuz Öztekin" userId="33c0df0f-d5fe-4bda-8f43-141ad7af67e3" providerId="ADAL" clId="{48B824AD-1B2A-47A8-8D92-6FE6E622A650}" dt="2024-12-16T18:23:07.050" v="196922"/>
          <ac:cxnSpMkLst>
            <pc:docMk/>
            <pc:sldMk cId="664108087" sldId="294"/>
            <ac:cxnSpMk id="636" creationId="{B61AA202-C893-B186-D2A3-D8036DC573FA}"/>
          </ac:cxnSpMkLst>
        </pc:cxnChg>
        <pc:cxnChg chg="mod ord">
          <ac:chgData name="Oğuz Öztekin" userId="33c0df0f-d5fe-4bda-8f43-141ad7af67e3" providerId="ADAL" clId="{48B824AD-1B2A-47A8-8D92-6FE6E622A650}" dt="2024-12-16T18:30:17.497" v="202728"/>
          <ac:cxnSpMkLst>
            <pc:docMk/>
            <pc:sldMk cId="664108087" sldId="294"/>
            <ac:cxnSpMk id="637" creationId="{BEDDB567-5B2C-983E-3E29-134C1ED9A79C}"/>
          </ac:cxnSpMkLst>
        </pc:cxnChg>
        <pc:cxnChg chg="mod ord">
          <ac:chgData name="Oğuz Öztekin" userId="33c0df0f-d5fe-4bda-8f43-141ad7af67e3" providerId="ADAL" clId="{48B824AD-1B2A-47A8-8D92-6FE6E622A650}" dt="2024-12-16T18:30:17.494" v="202708"/>
          <ac:cxnSpMkLst>
            <pc:docMk/>
            <pc:sldMk cId="664108087" sldId="294"/>
            <ac:cxnSpMk id="641" creationId="{A01829B1-1F68-8CCB-0F79-0291F90D087A}"/>
          </ac:cxnSpMkLst>
        </pc:cxnChg>
        <pc:cxnChg chg="mod ord">
          <ac:chgData name="Oğuz Öztekin" userId="33c0df0f-d5fe-4bda-8f43-141ad7af67e3" providerId="ADAL" clId="{48B824AD-1B2A-47A8-8D92-6FE6E622A650}" dt="2024-12-16T18:30:17.496" v="202722"/>
          <ac:cxnSpMkLst>
            <pc:docMk/>
            <pc:sldMk cId="664108087" sldId="294"/>
            <ac:cxnSpMk id="642" creationId="{11AE3581-3F1F-DE2A-9DBC-6CC23736A4D2}"/>
          </ac:cxnSpMkLst>
        </pc:cxnChg>
        <pc:cxnChg chg="mod ord">
          <ac:chgData name="Oğuz Öztekin" userId="33c0df0f-d5fe-4bda-8f43-141ad7af67e3" providerId="ADAL" clId="{48B824AD-1B2A-47A8-8D92-6FE6E622A650}" dt="2024-12-16T18:30:17.497" v="202724"/>
          <ac:cxnSpMkLst>
            <pc:docMk/>
            <pc:sldMk cId="664108087" sldId="294"/>
            <ac:cxnSpMk id="643" creationId="{BB7A2754-070A-CBC4-8E80-B8E8FD53D486}"/>
          </ac:cxnSpMkLst>
        </pc:cxnChg>
        <pc:cxnChg chg="del mod ord">
          <ac:chgData name="Oğuz Öztekin" userId="33c0df0f-d5fe-4bda-8f43-141ad7af67e3" providerId="ADAL" clId="{48B824AD-1B2A-47A8-8D92-6FE6E622A650}" dt="2024-12-16T18:23:07.049" v="196914"/>
          <ac:cxnSpMkLst>
            <pc:docMk/>
            <pc:sldMk cId="664108087" sldId="294"/>
            <ac:cxnSpMk id="644" creationId="{B453A04B-BFBB-A5BD-C301-9E6BE02D8DEC}"/>
          </ac:cxnSpMkLst>
        </pc:cxnChg>
        <pc:cxnChg chg="mod ord">
          <ac:chgData name="Oğuz Öztekin" userId="33c0df0f-d5fe-4bda-8f43-141ad7af67e3" providerId="ADAL" clId="{48B824AD-1B2A-47A8-8D92-6FE6E622A650}" dt="2024-12-16T18:30:17.498" v="202730"/>
          <ac:cxnSpMkLst>
            <pc:docMk/>
            <pc:sldMk cId="664108087" sldId="294"/>
            <ac:cxnSpMk id="645" creationId="{5F4FD408-6BE0-CCA2-7363-F0F48034A164}"/>
          </ac:cxnSpMkLst>
        </pc:cxnChg>
        <pc:cxnChg chg="add del mod ord">
          <ac:chgData name="Oğuz Öztekin" userId="33c0df0f-d5fe-4bda-8f43-141ad7af67e3" providerId="ADAL" clId="{48B824AD-1B2A-47A8-8D92-6FE6E622A650}" dt="2024-12-16T18:23:06.951" v="196721"/>
          <ac:cxnSpMkLst>
            <pc:docMk/>
            <pc:sldMk cId="664108087" sldId="294"/>
            <ac:cxnSpMk id="672" creationId="{4D62A8FB-212B-E4E0-DBD8-C0D503EFC6E8}"/>
          </ac:cxnSpMkLst>
        </pc:cxnChg>
        <pc:cxnChg chg="add del mod ord">
          <ac:chgData name="Oğuz Öztekin" userId="33c0df0f-d5fe-4bda-8f43-141ad7af67e3" providerId="ADAL" clId="{48B824AD-1B2A-47A8-8D92-6FE6E622A650}" dt="2024-12-16T18:23:06.951" v="196724"/>
          <ac:cxnSpMkLst>
            <pc:docMk/>
            <pc:sldMk cId="664108087" sldId="294"/>
            <ac:cxnSpMk id="673" creationId="{A46A2C36-562B-22E0-0E36-D7D8EB00FB2F}"/>
          </ac:cxnSpMkLst>
        </pc:cxnChg>
        <pc:cxnChg chg="add del mod ord">
          <ac:chgData name="Oğuz Öztekin" userId="33c0df0f-d5fe-4bda-8f43-141ad7af67e3" providerId="ADAL" clId="{48B824AD-1B2A-47A8-8D92-6FE6E622A650}" dt="2024-12-16T18:23:06.951" v="196727"/>
          <ac:cxnSpMkLst>
            <pc:docMk/>
            <pc:sldMk cId="664108087" sldId="294"/>
            <ac:cxnSpMk id="674" creationId="{F70A957B-BC08-D7EF-E582-BF1D5755A57F}"/>
          </ac:cxnSpMkLst>
        </pc:cxnChg>
        <pc:cxnChg chg="add del mod ord">
          <ac:chgData name="Oğuz Öztekin" userId="33c0df0f-d5fe-4bda-8f43-141ad7af67e3" providerId="ADAL" clId="{48B824AD-1B2A-47A8-8D92-6FE6E622A650}" dt="2024-12-16T18:23:06.951" v="196730"/>
          <ac:cxnSpMkLst>
            <pc:docMk/>
            <pc:sldMk cId="664108087" sldId="294"/>
            <ac:cxnSpMk id="675" creationId="{28DD8EF9-9042-02B8-7813-58CA625AC49F}"/>
          </ac:cxnSpMkLst>
        </pc:cxnChg>
        <pc:cxnChg chg="add del mod ord">
          <ac:chgData name="Oğuz Öztekin" userId="33c0df0f-d5fe-4bda-8f43-141ad7af67e3" providerId="ADAL" clId="{48B824AD-1B2A-47A8-8D92-6FE6E622A650}" dt="2024-12-16T18:23:06.951" v="196733"/>
          <ac:cxnSpMkLst>
            <pc:docMk/>
            <pc:sldMk cId="664108087" sldId="294"/>
            <ac:cxnSpMk id="676" creationId="{DBB82B66-1C8C-8C09-41C4-D5BCA2A2E998}"/>
          </ac:cxnSpMkLst>
        </pc:cxnChg>
        <pc:cxnChg chg="add del mod ord">
          <ac:chgData name="Oğuz Öztekin" userId="33c0df0f-d5fe-4bda-8f43-141ad7af67e3" providerId="ADAL" clId="{48B824AD-1B2A-47A8-8D92-6FE6E622A650}" dt="2024-12-16T18:23:06.951" v="196736"/>
          <ac:cxnSpMkLst>
            <pc:docMk/>
            <pc:sldMk cId="664108087" sldId="294"/>
            <ac:cxnSpMk id="677" creationId="{31A6C77D-C8B5-88E1-DF52-995B2C2724DB}"/>
          </ac:cxnSpMkLst>
        </pc:cxnChg>
        <pc:cxnChg chg="add del mod ord">
          <ac:chgData name="Oğuz Öztekin" userId="33c0df0f-d5fe-4bda-8f43-141ad7af67e3" providerId="ADAL" clId="{48B824AD-1B2A-47A8-8D92-6FE6E622A650}" dt="2024-12-16T18:23:01.568" v="196118"/>
          <ac:cxnSpMkLst>
            <pc:docMk/>
            <pc:sldMk cId="664108087" sldId="294"/>
            <ac:cxnSpMk id="678" creationId="{50E36680-1170-D8D7-001A-3CC818E19F2F}"/>
          </ac:cxnSpMkLst>
        </pc:cxnChg>
        <pc:cxnChg chg="add del mod ord">
          <ac:chgData name="Oğuz Öztekin" userId="33c0df0f-d5fe-4bda-8f43-141ad7af67e3" providerId="ADAL" clId="{48B824AD-1B2A-47A8-8D92-6FE6E622A650}" dt="2024-12-16T18:23:01.568" v="196121"/>
          <ac:cxnSpMkLst>
            <pc:docMk/>
            <pc:sldMk cId="664108087" sldId="294"/>
            <ac:cxnSpMk id="679" creationId="{58469759-DA03-2A75-9190-6CBA5206B1C2}"/>
          </ac:cxnSpMkLst>
        </pc:cxnChg>
        <pc:cxnChg chg="add del mod ord">
          <ac:chgData name="Oğuz Öztekin" userId="33c0df0f-d5fe-4bda-8f43-141ad7af67e3" providerId="ADAL" clId="{48B824AD-1B2A-47A8-8D92-6FE6E622A650}" dt="2024-12-16T18:23:01.568" v="196124"/>
          <ac:cxnSpMkLst>
            <pc:docMk/>
            <pc:sldMk cId="664108087" sldId="294"/>
            <ac:cxnSpMk id="680" creationId="{0F642B87-89C4-A418-BA33-D49F5932AFDF}"/>
          </ac:cxnSpMkLst>
        </pc:cxnChg>
        <pc:cxnChg chg="add del mod ord">
          <ac:chgData name="Oğuz Öztekin" userId="33c0df0f-d5fe-4bda-8f43-141ad7af67e3" providerId="ADAL" clId="{48B824AD-1B2A-47A8-8D92-6FE6E622A650}" dt="2024-12-16T18:23:01.568" v="196127"/>
          <ac:cxnSpMkLst>
            <pc:docMk/>
            <pc:sldMk cId="664108087" sldId="294"/>
            <ac:cxnSpMk id="681" creationId="{73ADCFE1-0E63-AC36-EC7A-F7162A2AD8BD}"/>
          </ac:cxnSpMkLst>
        </pc:cxnChg>
        <pc:cxnChg chg="add del mod ord">
          <ac:chgData name="Oğuz Öztekin" userId="33c0df0f-d5fe-4bda-8f43-141ad7af67e3" providerId="ADAL" clId="{48B824AD-1B2A-47A8-8D92-6FE6E622A650}" dt="2024-12-16T18:23:01.568" v="196130"/>
          <ac:cxnSpMkLst>
            <pc:docMk/>
            <pc:sldMk cId="664108087" sldId="294"/>
            <ac:cxnSpMk id="682" creationId="{D7728799-54F6-0C39-34B4-F3C9798D2B50}"/>
          </ac:cxnSpMkLst>
        </pc:cxnChg>
        <pc:cxnChg chg="add del mod ord">
          <ac:chgData name="Oğuz Öztekin" userId="33c0df0f-d5fe-4bda-8f43-141ad7af67e3" providerId="ADAL" clId="{48B824AD-1B2A-47A8-8D92-6FE6E622A650}" dt="2024-12-16T18:23:01.568" v="196133"/>
          <ac:cxnSpMkLst>
            <pc:docMk/>
            <pc:sldMk cId="664108087" sldId="294"/>
            <ac:cxnSpMk id="683" creationId="{67BB500A-33BB-45AC-9157-260C6E102D85}"/>
          </ac:cxnSpMkLst>
        </pc:cxnChg>
        <pc:cxnChg chg="add del mod ord">
          <ac:chgData name="Oğuz Öztekin" userId="33c0df0f-d5fe-4bda-8f43-141ad7af67e3" providerId="ADAL" clId="{48B824AD-1B2A-47A8-8D92-6FE6E622A650}" dt="2024-12-16T18:23:01.568" v="196136"/>
          <ac:cxnSpMkLst>
            <pc:docMk/>
            <pc:sldMk cId="664108087" sldId="294"/>
            <ac:cxnSpMk id="684" creationId="{32298120-1774-AF37-9FD2-42CCDA1D001C}"/>
          </ac:cxnSpMkLst>
        </pc:cxnChg>
        <pc:cxnChg chg="add del mod ord">
          <ac:chgData name="Oğuz Öztekin" userId="33c0df0f-d5fe-4bda-8f43-141ad7af67e3" providerId="ADAL" clId="{48B824AD-1B2A-47A8-8D92-6FE6E622A650}" dt="2024-12-16T18:23:01.568" v="196139"/>
          <ac:cxnSpMkLst>
            <pc:docMk/>
            <pc:sldMk cId="664108087" sldId="294"/>
            <ac:cxnSpMk id="685" creationId="{E64A465B-71FA-B341-5EBB-1B8A2CCE792B}"/>
          </ac:cxnSpMkLst>
        </pc:cxnChg>
        <pc:cxnChg chg="add del mod ord">
          <ac:chgData name="Oğuz Öztekin" userId="33c0df0f-d5fe-4bda-8f43-141ad7af67e3" providerId="ADAL" clId="{48B824AD-1B2A-47A8-8D92-6FE6E622A650}" dt="2024-12-16T18:23:01.576" v="196142"/>
          <ac:cxnSpMkLst>
            <pc:docMk/>
            <pc:sldMk cId="664108087" sldId="294"/>
            <ac:cxnSpMk id="686" creationId="{424AE2E5-7269-B572-34BC-ED9C72BEC01A}"/>
          </ac:cxnSpMkLst>
        </pc:cxnChg>
        <pc:cxnChg chg="add del mod ord">
          <ac:chgData name="Oğuz Öztekin" userId="33c0df0f-d5fe-4bda-8f43-141ad7af67e3" providerId="ADAL" clId="{48B824AD-1B2A-47A8-8D92-6FE6E622A650}" dt="2024-12-16T18:23:01.576" v="196145"/>
          <ac:cxnSpMkLst>
            <pc:docMk/>
            <pc:sldMk cId="664108087" sldId="294"/>
            <ac:cxnSpMk id="687" creationId="{F619E213-C931-FEA3-E356-4C72F600B9E1}"/>
          </ac:cxnSpMkLst>
        </pc:cxnChg>
        <pc:cxnChg chg="add del mod ord">
          <ac:chgData name="Oğuz Öztekin" userId="33c0df0f-d5fe-4bda-8f43-141ad7af67e3" providerId="ADAL" clId="{48B824AD-1B2A-47A8-8D92-6FE6E622A650}" dt="2024-12-16T18:23:01.576" v="196148"/>
          <ac:cxnSpMkLst>
            <pc:docMk/>
            <pc:sldMk cId="664108087" sldId="294"/>
            <ac:cxnSpMk id="688" creationId="{E4E59886-F528-8561-21D7-9BC90D7014D2}"/>
          </ac:cxnSpMkLst>
        </pc:cxnChg>
        <pc:cxnChg chg="add del mod ord">
          <ac:chgData name="Oğuz Öztekin" userId="33c0df0f-d5fe-4bda-8f43-141ad7af67e3" providerId="ADAL" clId="{48B824AD-1B2A-47A8-8D92-6FE6E622A650}" dt="2024-12-16T18:23:01.576" v="196151"/>
          <ac:cxnSpMkLst>
            <pc:docMk/>
            <pc:sldMk cId="664108087" sldId="294"/>
            <ac:cxnSpMk id="689" creationId="{53DB7287-5AA6-52F9-AC74-4E51097B91EE}"/>
          </ac:cxnSpMkLst>
        </pc:cxnChg>
        <pc:cxnChg chg="add del mod ord">
          <ac:chgData name="Oğuz Öztekin" userId="33c0df0f-d5fe-4bda-8f43-141ad7af67e3" providerId="ADAL" clId="{48B824AD-1B2A-47A8-8D92-6FE6E622A650}" dt="2024-12-16T18:23:01.576" v="196154"/>
          <ac:cxnSpMkLst>
            <pc:docMk/>
            <pc:sldMk cId="664108087" sldId="294"/>
            <ac:cxnSpMk id="690" creationId="{09C2BCE1-031D-C839-700E-4678BACC3B63}"/>
          </ac:cxnSpMkLst>
        </pc:cxnChg>
        <pc:cxnChg chg="add del mod ord">
          <ac:chgData name="Oğuz Öztekin" userId="33c0df0f-d5fe-4bda-8f43-141ad7af67e3" providerId="ADAL" clId="{48B824AD-1B2A-47A8-8D92-6FE6E622A650}" dt="2024-12-16T18:23:01.580" v="196157"/>
          <ac:cxnSpMkLst>
            <pc:docMk/>
            <pc:sldMk cId="664108087" sldId="294"/>
            <ac:cxnSpMk id="691" creationId="{7092B587-F2F9-AA6C-B3F2-19A8222010B0}"/>
          </ac:cxnSpMkLst>
        </pc:cxnChg>
        <pc:cxnChg chg="add del mod ord">
          <ac:chgData name="Oğuz Öztekin" userId="33c0df0f-d5fe-4bda-8f43-141ad7af67e3" providerId="ADAL" clId="{48B824AD-1B2A-47A8-8D92-6FE6E622A650}" dt="2024-12-16T18:23:01.580" v="196160"/>
          <ac:cxnSpMkLst>
            <pc:docMk/>
            <pc:sldMk cId="664108087" sldId="294"/>
            <ac:cxnSpMk id="692" creationId="{BB5726B8-FD6F-0C3A-A8A1-E6E7565F4E24}"/>
          </ac:cxnSpMkLst>
        </pc:cxnChg>
        <pc:cxnChg chg="add del mod ord">
          <ac:chgData name="Oğuz Öztekin" userId="33c0df0f-d5fe-4bda-8f43-141ad7af67e3" providerId="ADAL" clId="{48B824AD-1B2A-47A8-8D92-6FE6E622A650}" dt="2024-12-16T18:23:01.580" v="196163"/>
          <ac:cxnSpMkLst>
            <pc:docMk/>
            <pc:sldMk cId="664108087" sldId="294"/>
            <ac:cxnSpMk id="693" creationId="{9A64B7AC-BA66-4505-9155-DAF54C19CCE0}"/>
          </ac:cxnSpMkLst>
        </pc:cxnChg>
        <pc:cxnChg chg="add del mod ord">
          <ac:chgData name="Oğuz Öztekin" userId="33c0df0f-d5fe-4bda-8f43-141ad7af67e3" providerId="ADAL" clId="{48B824AD-1B2A-47A8-8D92-6FE6E622A650}" dt="2024-12-16T18:23:01.580" v="196166"/>
          <ac:cxnSpMkLst>
            <pc:docMk/>
            <pc:sldMk cId="664108087" sldId="294"/>
            <ac:cxnSpMk id="694" creationId="{ADE711AB-D25D-9526-FF4B-2C0CEBE100DF}"/>
          </ac:cxnSpMkLst>
        </pc:cxnChg>
        <pc:cxnChg chg="add del mod ord">
          <ac:chgData name="Oğuz Öztekin" userId="33c0df0f-d5fe-4bda-8f43-141ad7af67e3" providerId="ADAL" clId="{48B824AD-1B2A-47A8-8D92-6FE6E622A650}" dt="2024-12-16T18:23:01.580" v="196169"/>
          <ac:cxnSpMkLst>
            <pc:docMk/>
            <pc:sldMk cId="664108087" sldId="294"/>
            <ac:cxnSpMk id="695" creationId="{7DD87A96-DCFB-0F65-41A4-F4974B2176F2}"/>
          </ac:cxnSpMkLst>
        </pc:cxnChg>
        <pc:cxnChg chg="add del mod ord">
          <ac:chgData name="Oğuz Öztekin" userId="33c0df0f-d5fe-4bda-8f43-141ad7af67e3" providerId="ADAL" clId="{48B824AD-1B2A-47A8-8D92-6FE6E622A650}" dt="2024-12-16T18:23:01.580" v="196172"/>
          <ac:cxnSpMkLst>
            <pc:docMk/>
            <pc:sldMk cId="664108087" sldId="294"/>
            <ac:cxnSpMk id="696" creationId="{8204F822-15C6-C00D-CB6E-7911D336C553}"/>
          </ac:cxnSpMkLst>
        </pc:cxnChg>
        <pc:cxnChg chg="add del mod ord">
          <ac:chgData name="Oğuz Öztekin" userId="33c0df0f-d5fe-4bda-8f43-141ad7af67e3" providerId="ADAL" clId="{48B824AD-1B2A-47A8-8D92-6FE6E622A650}" dt="2024-12-16T18:23:01.580" v="196175"/>
          <ac:cxnSpMkLst>
            <pc:docMk/>
            <pc:sldMk cId="664108087" sldId="294"/>
            <ac:cxnSpMk id="697" creationId="{5E400FDA-A0C4-CD66-ABBF-162D4C041D1F}"/>
          </ac:cxnSpMkLst>
        </pc:cxnChg>
        <pc:cxnChg chg="add del mod ord">
          <ac:chgData name="Oğuz Öztekin" userId="33c0df0f-d5fe-4bda-8f43-141ad7af67e3" providerId="ADAL" clId="{48B824AD-1B2A-47A8-8D92-6FE6E622A650}" dt="2024-12-16T18:22:55.729" v="195393"/>
          <ac:cxnSpMkLst>
            <pc:docMk/>
            <pc:sldMk cId="664108087" sldId="294"/>
            <ac:cxnSpMk id="698" creationId="{58A56336-F1BD-85E0-BFA5-CA2856203F4F}"/>
          </ac:cxnSpMkLst>
        </pc:cxnChg>
        <pc:cxnChg chg="add del mod ord">
          <ac:chgData name="Oğuz Öztekin" userId="33c0df0f-d5fe-4bda-8f43-141ad7af67e3" providerId="ADAL" clId="{48B824AD-1B2A-47A8-8D92-6FE6E622A650}" dt="2024-12-16T18:22:55.731" v="195396"/>
          <ac:cxnSpMkLst>
            <pc:docMk/>
            <pc:sldMk cId="664108087" sldId="294"/>
            <ac:cxnSpMk id="699" creationId="{D480AC24-BDA2-4088-F745-91859EF36595}"/>
          </ac:cxnSpMkLst>
        </pc:cxnChg>
        <pc:cxnChg chg="add del mod ord">
          <ac:chgData name="Oğuz Öztekin" userId="33c0df0f-d5fe-4bda-8f43-141ad7af67e3" providerId="ADAL" clId="{48B824AD-1B2A-47A8-8D92-6FE6E622A650}" dt="2024-12-16T18:22:55.732" v="195399"/>
          <ac:cxnSpMkLst>
            <pc:docMk/>
            <pc:sldMk cId="664108087" sldId="294"/>
            <ac:cxnSpMk id="700" creationId="{980020DF-32A6-5EDB-E3B4-7E6C5830FDEA}"/>
          </ac:cxnSpMkLst>
        </pc:cxnChg>
        <pc:cxnChg chg="add del mod ord">
          <ac:chgData name="Oğuz Öztekin" userId="33c0df0f-d5fe-4bda-8f43-141ad7af67e3" providerId="ADAL" clId="{48B824AD-1B2A-47A8-8D92-6FE6E622A650}" dt="2024-12-16T18:22:55.732" v="195402"/>
          <ac:cxnSpMkLst>
            <pc:docMk/>
            <pc:sldMk cId="664108087" sldId="294"/>
            <ac:cxnSpMk id="701" creationId="{28E6B829-E4F5-F40C-A9A4-B5D642A2E4C1}"/>
          </ac:cxnSpMkLst>
        </pc:cxnChg>
        <pc:cxnChg chg="add del mod ord">
          <ac:chgData name="Oğuz Öztekin" userId="33c0df0f-d5fe-4bda-8f43-141ad7af67e3" providerId="ADAL" clId="{48B824AD-1B2A-47A8-8D92-6FE6E622A650}" dt="2024-12-16T18:22:55.733" v="195405"/>
          <ac:cxnSpMkLst>
            <pc:docMk/>
            <pc:sldMk cId="664108087" sldId="294"/>
            <ac:cxnSpMk id="702" creationId="{7FE21C83-B5C5-C1FB-D6D6-24F9DEDCA1AB}"/>
          </ac:cxnSpMkLst>
        </pc:cxnChg>
        <pc:cxnChg chg="add del mod ord">
          <ac:chgData name="Oğuz Öztekin" userId="33c0df0f-d5fe-4bda-8f43-141ad7af67e3" providerId="ADAL" clId="{48B824AD-1B2A-47A8-8D92-6FE6E622A650}" dt="2024-12-16T18:22:55.734" v="195408"/>
          <ac:cxnSpMkLst>
            <pc:docMk/>
            <pc:sldMk cId="664108087" sldId="294"/>
            <ac:cxnSpMk id="703" creationId="{61F425B2-524F-3866-3506-7E5B5AF0AC8C}"/>
          </ac:cxnSpMkLst>
        </pc:cxnChg>
        <pc:cxnChg chg="add del mod ord">
          <ac:chgData name="Oğuz Öztekin" userId="33c0df0f-d5fe-4bda-8f43-141ad7af67e3" providerId="ADAL" clId="{48B824AD-1B2A-47A8-8D92-6FE6E622A650}" dt="2024-12-16T18:22:55.735" v="195411"/>
          <ac:cxnSpMkLst>
            <pc:docMk/>
            <pc:sldMk cId="664108087" sldId="294"/>
            <ac:cxnSpMk id="704" creationId="{77ED61D7-78B1-85E1-8AA2-871092381DA6}"/>
          </ac:cxnSpMkLst>
        </pc:cxnChg>
        <pc:cxnChg chg="add del mod ord">
          <ac:chgData name="Oğuz Öztekin" userId="33c0df0f-d5fe-4bda-8f43-141ad7af67e3" providerId="ADAL" clId="{48B824AD-1B2A-47A8-8D92-6FE6E622A650}" dt="2024-12-16T18:22:55.736" v="195414"/>
          <ac:cxnSpMkLst>
            <pc:docMk/>
            <pc:sldMk cId="664108087" sldId="294"/>
            <ac:cxnSpMk id="705" creationId="{CEFCF98B-21C3-E673-4C35-472317D3CD1F}"/>
          </ac:cxnSpMkLst>
        </pc:cxnChg>
        <pc:cxnChg chg="add del mod ord">
          <ac:chgData name="Oğuz Öztekin" userId="33c0df0f-d5fe-4bda-8f43-141ad7af67e3" providerId="ADAL" clId="{48B824AD-1B2A-47A8-8D92-6FE6E622A650}" dt="2024-12-16T18:22:55.737" v="195417"/>
          <ac:cxnSpMkLst>
            <pc:docMk/>
            <pc:sldMk cId="664108087" sldId="294"/>
            <ac:cxnSpMk id="706" creationId="{B6BF10D6-17C1-AC2B-C1B1-FEC988BF2B16}"/>
          </ac:cxnSpMkLst>
        </pc:cxnChg>
        <pc:cxnChg chg="add del mod ord">
          <ac:chgData name="Oğuz Öztekin" userId="33c0df0f-d5fe-4bda-8f43-141ad7af67e3" providerId="ADAL" clId="{48B824AD-1B2A-47A8-8D92-6FE6E622A650}" dt="2024-12-16T18:22:55.737" v="195420"/>
          <ac:cxnSpMkLst>
            <pc:docMk/>
            <pc:sldMk cId="664108087" sldId="294"/>
            <ac:cxnSpMk id="707" creationId="{6CD2A52D-9C78-9432-5CA9-2E16594B74D0}"/>
          </ac:cxnSpMkLst>
        </pc:cxnChg>
        <pc:cxnChg chg="add del mod ord">
          <ac:chgData name="Oğuz Öztekin" userId="33c0df0f-d5fe-4bda-8f43-141ad7af67e3" providerId="ADAL" clId="{48B824AD-1B2A-47A8-8D92-6FE6E622A650}" dt="2024-12-16T18:22:55.738" v="195423"/>
          <ac:cxnSpMkLst>
            <pc:docMk/>
            <pc:sldMk cId="664108087" sldId="294"/>
            <ac:cxnSpMk id="708" creationId="{3804102B-D2F0-3FE7-B1D9-B4766B585807}"/>
          </ac:cxnSpMkLst>
        </pc:cxnChg>
        <pc:cxnChg chg="add del mod ord">
          <ac:chgData name="Oğuz Öztekin" userId="33c0df0f-d5fe-4bda-8f43-141ad7af67e3" providerId="ADAL" clId="{48B824AD-1B2A-47A8-8D92-6FE6E622A650}" dt="2024-12-16T18:22:55.739" v="195426"/>
          <ac:cxnSpMkLst>
            <pc:docMk/>
            <pc:sldMk cId="664108087" sldId="294"/>
            <ac:cxnSpMk id="709" creationId="{545FD9CB-697D-94AD-4DCD-5D699BBCCFA9}"/>
          </ac:cxnSpMkLst>
        </pc:cxnChg>
        <pc:cxnChg chg="add del mod ord">
          <ac:chgData name="Oğuz Öztekin" userId="33c0df0f-d5fe-4bda-8f43-141ad7af67e3" providerId="ADAL" clId="{48B824AD-1B2A-47A8-8D92-6FE6E622A650}" dt="2024-12-16T18:22:55.740" v="195429"/>
          <ac:cxnSpMkLst>
            <pc:docMk/>
            <pc:sldMk cId="664108087" sldId="294"/>
            <ac:cxnSpMk id="710" creationId="{890DFBB6-0D83-2DC9-D466-AD442DFA630B}"/>
          </ac:cxnSpMkLst>
        </pc:cxnChg>
        <pc:cxnChg chg="add del mod ord">
          <ac:chgData name="Oğuz Öztekin" userId="33c0df0f-d5fe-4bda-8f43-141ad7af67e3" providerId="ADAL" clId="{48B824AD-1B2A-47A8-8D92-6FE6E622A650}" dt="2024-12-16T18:22:55.740" v="195432"/>
          <ac:cxnSpMkLst>
            <pc:docMk/>
            <pc:sldMk cId="664108087" sldId="294"/>
            <ac:cxnSpMk id="711" creationId="{C6E96589-0E67-5D3A-2370-30B247DF0ADA}"/>
          </ac:cxnSpMkLst>
        </pc:cxnChg>
        <pc:cxnChg chg="add del mod ord">
          <ac:chgData name="Oğuz Öztekin" userId="33c0df0f-d5fe-4bda-8f43-141ad7af67e3" providerId="ADAL" clId="{48B824AD-1B2A-47A8-8D92-6FE6E622A650}" dt="2024-12-16T18:22:55.742" v="195435"/>
          <ac:cxnSpMkLst>
            <pc:docMk/>
            <pc:sldMk cId="664108087" sldId="294"/>
            <ac:cxnSpMk id="712" creationId="{20661BBE-C1D2-7AE3-776B-69BCCCF7ADDF}"/>
          </ac:cxnSpMkLst>
        </pc:cxnChg>
        <pc:cxnChg chg="add del mod ord">
          <ac:chgData name="Oğuz Öztekin" userId="33c0df0f-d5fe-4bda-8f43-141ad7af67e3" providerId="ADAL" clId="{48B824AD-1B2A-47A8-8D92-6FE6E622A650}" dt="2024-12-16T18:22:55.743" v="195438"/>
          <ac:cxnSpMkLst>
            <pc:docMk/>
            <pc:sldMk cId="664108087" sldId="294"/>
            <ac:cxnSpMk id="713" creationId="{E2D910C8-7B64-538E-5752-C05B14401E7E}"/>
          </ac:cxnSpMkLst>
        </pc:cxnChg>
        <pc:cxnChg chg="add del mod ord">
          <ac:chgData name="Oğuz Öztekin" userId="33c0df0f-d5fe-4bda-8f43-141ad7af67e3" providerId="ADAL" clId="{48B824AD-1B2A-47A8-8D92-6FE6E622A650}" dt="2024-12-16T18:22:55.744" v="195441"/>
          <ac:cxnSpMkLst>
            <pc:docMk/>
            <pc:sldMk cId="664108087" sldId="294"/>
            <ac:cxnSpMk id="714" creationId="{78551BB2-9508-F47B-587D-E0B199654320}"/>
          </ac:cxnSpMkLst>
        </pc:cxnChg>
        <pc:cxnChg chg="add del mod ord">
          <ac:chgData name="Oğuz Öztekin" userId="33c0df0f-d5fe-4bda-8f43-141ad7af67e3" providerId="ADAL" clId="{48B824AD-1B2A-47A8-8D92-6FE6E622A650}" dt="2024-12-16T18:22:55.744" v="195444"/>
          <ac:cxnSpMkLst>
            <pc:docMk/>
            <pc:sldMk cId="664108087" sldId="294"/>
            <ac:cxnSpMk id="715" creationId="{BE6D2E47-5B1A-0EE8-A400-ACC5DFCC3A5A}"/>
          </ac:cxnSpMkLst>
        </pc:cxnChg>
        <pc:cxnChg chg="add del mod ord">
          <ac:chgData name="Oğuz Öztekin" userId="33c0df0f-d5fe-4bda-8f43-141ad7af67e3" providerId="ADAL" clId="{48B824AD-1B2A-47A8-8D92-6FE6E622A650}" dt="2024-12-16T18:22:55.745" v="195447"/>
          <ac:cxnSpMkLst>
            <pc:docMk/>
            <pc:sldMk cId="664108087" sldId="294"/>
            <ac:cxnSpMk id="716" creationId="{A06AE9F8-BCD0-827C-8461-951AAFE57494}"/>
          </ac:cxnSpMkLst>
        </pc:cxnChg>
        <pc:cxnChg chg="add del mod ord">
          <ac:chgData name="Oğuz Öztekin" userId="33c0df0f-d5fe-4bda-8f43-141ad7af67e3" providerId="ADAL" clId="{48B824AD-1B2A-47A8-8D92-6FE6E622A650}" dt="2024-12-16T18:22:55.746" v="195450"/>
          <ac:cxnSpMkLst>
            <pc:docMk/>
            <pc:sldMk cId="664108087" sldId="294"/>
            <ac:cxnSpMk id="717" creationId="{E52DCDDB-A989-8282-D8F2-498355E6E3FE}"/>
          </ac:cxnSpMkLst>
        </pc:cxnChg>
        <pc:cxnChg chg="add del mod ord">
          <ac:chgData name="Oğuz Öztekin" userId="33c0df0f-d5fe-4bda-8f43-141ad7af67e3" providerId="ADAL" clId="{48B824AD-1B2A-47A8-8D92-6FE6E622A650}" dt="2024-12-16T18:22:49.575" v="194468"/>
          <ac:cxnSpMkLst>
            <pc:docMk/>
            <pc:sldMk cId="664108087" sldId="294"/>
            <ac:cxnSpMk id="718" creationId="{FFAAC902-EEFA-4C79-45BB-9CA5F3E19821}"/>
          </ac:cxnSpMkLst>
        </pc:cxnChg>
        <pc:cxnChg chg="add del mod ord">
          <ac:chgData name="Oğuz Öztekin" userId="33c0df0f-d5fe-4bda-8f43-141ad7af67e3" providerId="ADAL" clId="{48B824AD-1B2A-47A8-8D92-6FE6E622A650}" dt="2024-12-16T18:22:49.575" v="194471"/>
          <ac:cxnSpMkLst>
            <pc:docMk/>
            <pc:sldMk cId="664108087" sldId="294"/>
            <ac:cxnSpMk id="719" creationId="{9122CD98-BE88-A096-6ACA-0C2304220222}"/>
          </ac:cxnSpMkLst>
        </pc:cxnChg>
        <pc:cxnChg chg="add del mod ord">
          <ac:chgData name="Oğuz Öztekin" userId="33c0df0f-d5fe-4bda-8f43-141ad7af67e3" providerId="ADAL" clId="{48B824AD-1B2A-47A8-8D92-6FE6E622A650}" dt="2024-12-16T18:22:49.575" v="194474"/>
          <ac:cxnSpMkLst>
            <pc:docMk/>
            <pc:sldMk cId="664108087" sldId="294"/>
            <ac:cxnSpMk id="720" creationId="{0CF63A13-4F48-16F3-2505-457BC66BDB57}"/>
          </ac:cxnSpMkLst>
        </pc:cxnChg>
        <pc:cxnChg chg="add del mod ord">
          <ac:chgData name="Oğuz Öztekin" userId="33c0df0f-d5fe-4bda-8f43-141ad7af67e3" providerId="ADAL" clId="{48B824AD-1B2A-47A8-8D92-6FE6E622A650}" dt="2024-12-16T18:22:49.575" v="194477"/>
          <ac:cxnSpMkLst>
            <pc:docMk/>
            <pc:sldMk cId="664108087" sldId="294"/>
            <ac:cxnSpMk id="721" creationId="{BF981CC5-5C4F-E690-FBDF-64FA5BC8DC12}"/>
          </ac:cxnSpMkLst>
        </pc:cxnChg>
        <pc:cxnChg chg="add del mod ord">
          <ac:chgData name="Oğuz Öztekin" userId="33c0df0f-d5fe-4bda-8f43-141ad7af67e3" providerId="ADAL" clId="{48B824AD-1B2A-47A8-8D92-6FE6E622A650}" dt="2024-12-16T18:22:49.579" v="194480"/>
          <ac:cxnSpMkLst>
            <pc:docMk/>
            <pc:sldMk cId="664108087" sldId="294"/>
            <ac:cxnSpMk id="722" creationId="{B693A5AC-CA97-426E-6D66-0808BBB17A37}"/>
          </ac:cxnSpMkLst>
        </pc:cxnChg>
        <pc:cxnChg chg="add del mod ord">
          <ac:chgData name="Oğuz Öztekin" userId="33c0df0f-d5fe-4bda-8f43-141ad7af67e3" providerId="ADAL" clId="{48B824AD-1B2A-47A8-8D92-6FE6E622A650}" dt="2024-12-16T18:22:49.580" v="194483"/>
          <ac:cxnSpMkLst>
            <pc:docMk/>
            <pc:sldMk cId="664108087" sldId="294"/>
            <ac:cxnSpMk id="723" creationId="{42BB128E-8B20-E180-3F54-B319F17C575A}"/>
          </ac:cxnSpMkLst>
        </pc:cxnChg>
        <pc:cxnChg chg="add del mod ord">
          <ac:chgData name="Oğuz Öztekin" userId="33c0df0f-d5fe-4bda-8f43-141ad7af67e3" providerId="ADAL" clId="{48B824AD-1B2A-47A8-8D92-6FE6E622A650}" dt="2024-12-16T18:22:49.581" v="194486"/>
          <ac:cxnSpMkLst>
            <pc:docMk/>
            <pc:sldMk cId="664108087" sldId="294"/>
            <ac:cxnSpMk id="724" creationId="{754E20A9-8370-5B0C-4547-8BF1A8FBD5AB}"/>
          </ac:cxnSpMkLst>
        </pc:cxnChg>
        <pc:cxnChg chg="add del mod ord">
          <ac:chgData name="Oğuz Öztekin" userId="33c0df0f-d5fe-4bda-8f43-141ad7af67e3" providerId="ADAL" clId="{48B824AD-1B2A-47A8-8D92-6FE6E622A650}" dt="2024-12-16T18:22:49.582" v="194489"/>
          <ac:cxnSpMkLst>
            <pc:docMk/>
            <pc:sldMk cId="664108087" sldId="294"/>
            <ac:cxnSpMk id="725" creationId="{A4EA1C25-629F-ACF7-C26F-F97A6B2180FB}"/>
          </ac:cxnSpMkLst>
        </pc:cxnChg>
        <pc:cxnChg chg="add del mod ord">
          <ac:chgData name="Oğuz Öztekin" userId="33c0df0f-d5fe-4bda-8f43-141ad7af67e3" providerId="ADAL" clId="{48B824AD-1B2A-47A8-8D92-6FE6E622A650}" dt="2024-12-16T18:22:49.582" v="194492"/>
          <ac:cxnSpMkLst>
            <pc:docMk/>
            <pc:sldMk cId="664108087" sldId="294"/>
            <ac:cxnSpMk id="726" creationId="{B99B3A7F-F918-18C4-77B3-41AA195CBB9F}"/>
          </ac:cxnSpMkLst>
        </pc:cxnChg>
        <pc:cxnChg chg="add del mod ord">
          <ac:chgData name="Oğuz Öztekin" userId="33c0df0f-d5fe-4bda-8f43-141ad7af67e3" providerId="ADAL" clId="{48B824AD-1B2A-47A8-8D92-6FE6E622A650}" dt="2024-12-16T18:22:49.582" v="194495"/>
          <ac:cxnSpMkLst>
            <pc:docMk/>
            <pc:sldMk cId="664108087" sldId="294"/>
            <ac:cxnSpMk id="727" creationId="{8F63872D-3281-0600-D6DE-A4F9B94ED6A4}"/>
          </ac:cxnSpMkLst>
        </pc:cxnChg>
        <pc:cxnChg chg="add del mod ord">
          <ac:chgData name="Oğuz Öztekin" userId="33c0df0f-d5fe-4bda-8f43-141ad7af67e3" providerId="ADAL" clId="{48B824AD-1B2A-47A8-8D92-6FE6E622A650}" dt="2024-12-16T18:22:49.582" v="194498"/>
          <ac:cxnSpMkLst>
            <pc:docMk/>
            <pc:sldMk cId="664108087" sldId="294"/>
            <ac:cxnSpMk id="728" creationId="{A3B7C18B-1FA1-1E9A-8AA3-349BC9E5C350}"/>
          </ac:cxnSpMkLst>
        </pc:cxnChg>
        <pc:cxnChg chg="add del mod ord">
          <ac:chgData name="Oğuz Öztekin" userId="33c0df0f-d5fe-4bda-8f43-141ad7af67e3" providerId="ADAL" clId="{48B824AD-1B2A-47A8-8D92-6FE6E622A650}" dt="2024-12-16T18:22:49.585" v="194501"/>
          <ac:cxnSpMkLst>
            <pc:docMk/>
            <pc:sldMk cId="664108087" sldId="294"/>
            <ac:cxnSpMk id="729" creationId="{7C8E1C31-EAD4-15D2-776C-4E15DB5A6A06}"/>
          </ac:cxnSpMkLst>
        </pc:cxnChg>
        <pc:cxnChg chg="add del mod ord">
          <ac:chgData name="Oğuz Öztekin" userId="33c0df0f-d5fe-4bda-8f43-141ad7af67e3" providerId="ADAL" clId="{48B824AD-1B2A-47A8-8D92-6FE6E622A650}" dt="2024-12-16T18:22:49.585" v="194504"/>
          <ac:cxnSpMkLst>
            <pc:docMk/>
            <pc:sldMk cId="664108087" sldId="294"/>
            <ac:cxnSpMk id="730" creationId="{F80B7FC1-321F-B999-A6D3-4857BFCF7FD3}"/>
          </ac:cxnSpMkLst>
        </pc:cxnChg>
        <pc:cxnChg chg="add del mod ord">
          <ac:chgData name="Oğuz Öztekin" userId="33c0df0f-d5fe-4bda-8f43-141ad7af67e3" providerId="ADAL" clId="{48B824AD-1B2A-47A8-8D92-6FE6E622A650}" dt="2024-12-16T18:22:49.585" v="194507"/>
          <ac:cxnSpMkLst>
            <pc:docMk/>
            <pc:sldMk cId="664108087" sldId="294"/>
            <ac:cxnSpMk id="731" creationId="{1C4AB349-98CD-F2D9-5872-83A8E68262A0}"/>
          </ac:cxnSpMkLst>
        </pc:cxnChg>
        <pc:cxnChg chg="add del mod ord">
          <ac:chgData name="Oğuz Öztekin" userId="33c0df0f-d5fe-4bda-8f43-141ad7af67e3" providerId="ADAL" clId="{48B824AD-1B2A-47A8-8D92-6FE6E622A650}" dt="2024-12-16T18:22:49.585" v="194510"/>
          <ac:cxnSpMkLst>
            <pc:docMk/>
            <pc:sldMk cId="664108087" sldId="294"/>
            <ac:cxnSpMk id="732" creationId="{3A2A653D-BC45-BE3F-FD62-05C7A991D3A7}"/>
          </ac:cxnSpMkLst>
        </pc:cxnChg>
        <pc:cxnChg chg="add del mod ord">
          <ac:chgData name="Oğuz Öztekin" userId="33c0df0f-d5fe-4bda-8f43-141ad7af67e3" providerId="ADAL" clId="{48B824AD-1B2A-47A8-8D92-6FE6E622A650}" dt="2024-12-16T18:22:49.585" v="194513"/>
          <ac:cxnSpMkLst>
            <pc:docMk/>
            <pc:sldMk cId="664108087" sldId="294"/>
            <ac:cxnSpMk id="733" creationId="{F25F7FC9-6E5D-0C9E-FF4F-FC38C4864D5B}"/>
          </ac:cxnSpMkLst>
        </pc:cxnChg>
        <pc:cxnChg chg="add del mod ord">
          <ac:chgData name="Oğuz Öztekin" userId="33c0df0f-d5fe-4bda-8f43-141ad7af67e3" providerId="ADAL" clId="{48B824AD-1B2A-47A8-8D92-6FE6E622A650}" dt="2024-12-16T18:22:49.585" v="194516"/>
          <ac:cxnSpMkLst>
            <pc:docMk/>
            <pc:sldMk cId="664108087" sldId="294"/>
            <ac:cxnSpMk id="734" creationId="{B2C26BC0-2F46-6204-5CDC-816CB0D31817}"/>
          </ac:cxnSpMkLst>
        </pc:cxnChg>
        <pc:cxnChg chg="add del mod ord">
          <ac:chgData name="Oğuz Öztekin" userId="33c0df0f-d5fe-4bda-8f43-141ad7af67e3" providerId="ADAL" clId="{48B824AD-1B2A-47A8-8D92-6FE6E622A650}" dt="2024-12-16T18:22:49.590" v="194519"/>
          <ac:cxnSpMkLst>
            <pc:docMk/>
            <pc:sldMk cId="664108087" sldId="294"/>
            <ac:cxnSpMk id="735" creationId="{3D83302F-1A8C-7D9D-2815-BD86EA9E6C03}"/>
          </ac:cxnSpMkLst>
        </pc:cxnChg>
        <pc:cxnChg chg="add del mod ord">
          <ac:chgData name="Oğuz Öztekin" userId="33c0df0f-d5fe-4bda-8f43-141ad7af67e3" providerId="ADAL" clId="{48B824AD-1B2A-47A8-8D92-6FE6E622A650}" dt="2024-12-16T18:22:49.590" v="194522"/>
          <ac:cxnSpMkLst>
            <pc:docMk/>
            <pc:sldMk cId="664108087" sldId="294"/>
            <ac:cxnSpMk id="736" creationId="{921F0B1F-8248-38BA-9043-3F85736A3B5B}"/>
          </ac:cxnSpMkLst>
        </pc:cxnChg>
        <pc:cxnChg chg="add del mod ord">
          <ac:chgData name="Oğuz Öztekin" userId="33c0df0f-d5fe-4bda-8f43-141ad7af67e3" providerId="ADAL" clId="{48B824AD-1B2A-47A8-8D92-6FE6E622A650}" dt="2024-12-16T18:22:49.590" v="194525"/>
          <ac:cxnSpMkLst>
            <pc:docMk/>
            <pc:sldMk cId="664108087" sldId="294"/>
            <ac:cxnSpMk id="737" creationId="{6A514243-5A82-20AA-9039-508D7818600F}"/>
          </ac:cxnSpMkLst>
        </pc:cxnChg>
        <pc:cxnChg chg="add del mod ord">
          <ac:chgData name="Oğuz Öztekin" userId="33c0df0f-d5fe-4bda-8f43-141ad7af67e3" providerId="ADAL" clId="{48B824AD-1B2A-47A8-8D92-6FE6E622A650}" dt="2024-12-16T18:22:43.321" v="193343"/>
          <ac:cxnSpMkLst>
            <pc:docMk/>
            <pc:sldMk cId="664108087" sldId="294"/>
            <ac:cxnSpMk id="738" creationId="{A1BA3641-6B57-552D-6992-C33C0CE36E28}"/>
          </ac:cxnSpMkLst>
        </pc:cxnChg>
        <pc:cxnChg chg="add del mod ord">
          <ac:chgData name="Oğuz Öztekin" userId="33c0df0f-d5fe-4bda-8f43-141ad7af67e3" providerId="ADAL" clId="{48B824AD-1B2A-47A8-8D92-6FE6E622A650}" dt="2024-12-16T18:22:43.322" v="193346"/>
          <ac:cxnSpMkLst>
            <pc:docMk/>
            <pc:sldMk cId="664108087" sldId="294"/>
            <ac:cxnSpMk id="739" creationId="{4E132D74-E5A0-AC25-2011-7422D64AFCBC}"/>
          </ac:cxnSpMkLst>
        </pc:cxnChg>
        <pc:cxnChg chg="add del mod ord">
          <ac:chgData name="Oğuz Öztekin" userId="33c0df0f-d5fe-4bda-8f43-141ad7af67e3" providerId="ADAL" clId="{48B824AD-1B2A-47A8-8D92-6FE6E622A650}" dt="2024-12-16T18:22:43.324" v="193349"/>
          <ac:cxnSpMkLst>
            <pc:docMk/>
            <pc:sldMk cId="664108087" sldId="294"/>
            <ac:cxnSpMk id="740" creationId="{3C079171-017D-63C3-F145-A84AFCA79C1C}"/>
          </ac:cxnSpMkLst>
        </pc:cxnChg>
        <pc:cxnChg chg="add del mod ord">
          <ac:chgData name="Oğuz Öztekin" userId="33c0df0f-d5fe-4bda-8f43-141ad7af67e3" providerId="ADAL" clId="{48B824AD-1B2A-47A8-8D92-6FE6E622A650}" dt="2024-12-16T18:22:43.325" v="193352"/>
          <ac:cxnSpMkLst>
            <pc:docMk/>
            <pc:sldMk cId="664108087" sldId="294"/>
            <ac:cxnSpMk id="741" creationId="{50DF5EAA-E956-A037-2218-5D2B2DCBC909}"/>
          </ac:cxnSpMkLst>
        </pc:cxnChg>
        <pc:cxnChg chg="add del mod ord">
          <ac:chgData name="Oğuz Öztekin" userId="33c0df0f-d5fe-4bda-8f43-141ad7af67e3" providerId="ADAL" clId="{48B824AD-1B2A-47A8-8D92-6FE6E622A650}" dt="2024-12-16T18:22:43.325" v="193355"/>
          <ac:cxnSpMkLst>
            <pc:docMk/>
            <pc:sldMk cId="664108087" sldId="294"/>
            <ac:cxnSpMk id="742" creationId="{8300EBB8-41AE-28B7-1EF6-731D2FE2AB3A}"/>
          </ac:cxnSpMkLst>
        </pc:cxnChg>
        <pc:cxnChg chg="add del mod ord">
          <ac:chgData name="Oğuz Öztekin" userId="33c0df0f-d5fe-4bda-8f43-141ad7af67e3" providerId="ADAL" clId="{48B824AD-1B2A-47A8-8D92-6FE6E622A650}" dt="2024-12-16T18:22:43.326" v="193358"/>
          <ac:cxnSpMkLst>
            <pc:docMk/>
            <pc:sldMk cId="664108087" sldId="294"/>
            <ac:cxnSpMk id="743" creationId="{9AFFCCFF-B243-6B31-155C-6431D1502EB1}"/>
          </ac:cxnSpMkLst>
        </pc:cxnChg>
        <pc:cxnChg chg="add del mod ord">
          <ac:chgData name="Oğuz Öztekin" userId="33c0df0f-d5fe-4bda-8f43-141ad7af67e3" providerId="ADAL" clId="{48B824AD-1B2A-47A8-8D92-6FE6E622A650}" dt="2024-12-16T18:22:43.327" v="193361"/>
          <ac:cxnSpMkLst>
            <pc:docMk/>
            <pc:sldMk cId="664108087" sldId="294"/>
            <ac:cxnSpMk id="744" creationId="{58FF6A72-5DB9-5FCB-6F5E-4D8E8F2218E1}"/>
          </ac:cxnSpMkLst>
        </pc:cxnChg>
        <pc:cxnChg chg="add del mod ord">
          <ac:chgData name="Oğuz Öztekin" userId="33c0df0f-d5fe-4bda-8f43-141ad7af67e3" providerId="ADAL" clId="{48B824AD-1B2A-47A8-8D92-6FE6E622A650}" dt="2024-12-16T18:22:43.328" v="193364"/>
          <ac:cxnSpMkLst>
            <pc:docMk/>
            <pc:sldMk cId="664108087" sldId="294"/>
            <ac:cxnSpMk id="745" creationId="{5A2D5216-C9D7-9401-8662-969746990589}"/>
          </ac:cxnSpMkLst>
        </pc:cxnChg>
        <pc:cxnChg chg="add del mod ord">
          <ac:chgData name="Oğuz Öztekin" userId="33c0df0f-d5fe-4bda-8f43-141ad7af67e3" providerId="ADAL" clId="{48B824AD-1B2A-47A8-8D92-6FE6E622A650}" dt="2024-12-16T18:22:43.329" v="193367"/>
          <ac:cxnSpMkLst>
            <pc:docMk/>
            <pc:sldMk cId="664108087" sldId="294"/>
            <ac:cxnSpMk id="746" creationId="{AD49FEA0-6A34-160B-6094-B07799A27DBA}"/>
          </ac:cxnSpMkLst>
        </pc:cxnChg>
        <pc:cxnChg chg="add del mod ord">
          <ac:chgData name="Oğuz Öztekin" userId="33c0df0f-d5fe-4bda-8f43-141ad7af67e3" providerId="ADAL" clId="{48B824AD-1B2A-47A8-8D92-6FE6E622A650}" dt="2024-12-16T18:22:43.329" v="193370"/>
          <ac:cxnSpMkLst>
            <pc:docMk/>
            <pc:sldMk cId="664108087" sldId="294"/>
            <ac:cxnSpMk id="747" creationId="{E032CF89-9246-D02C-D072-59DBFAE98737}"/>
          </ac:cxnSpMkLst>
        </pc:cxnChg>
        <pc:cxnChg chg="add del mod ord">
          <ac:chgData name="Oğuz Öztekin" userId="33c0df0f-d5fe-4bda-8f43-141ad7af67e3" providerId="ADAL" clId="{48B824AD-1B2A-47A8-8D92-6FE6E622A650}" dt="2024-12-16T18:22:43.330" v="193373"/>
          <ac:cxnSpMkLst>
            <pc:docMk/>
            <pc:sldMk cId="664108087" sldId="294"/>
            <ac:cxnSpMk id="748" creationId="{1A4C1DF2-A7C1-20E9-AE2F-59F9273DA446}"/>
          </ac:cxnSpMkLst>
        </pc:cxnChg>
        <pc:cxnChg chg="add del mod ord">
          <ac:chgData name="Oğuz Öztekin" userId="33c0df0f-d5fe-4bda-8f43-141ad7af67e3" providerId="ADAL" clId="{48B824AD-1B2A-47A8-8D92-6FE6E622A650}" dt="2024-12-16T18:22:43.331" v="193376"/>
          <ac:cxnSpMkLst>
            <pc:docMk/>
            <pc:sldMk cId="664108087" sldId="294"/>
            <ac:cxnSpMk id="749" creationId="{32D3976B-CF5C-CC75-A923-F445AB809D6D}"/>
          </ac:cxnSpMkLst>
        </pc:cxnChg>
        <pc:cxnChg chg="add del mod ord">
          <ac:chgData name="Oğuz Öztekin" userId="33c0df0f-d5fe-4bda-8f43-141ad7af67e3" providerId="ADAL" clId="{48B824AD-1B2A-47A8-8D92-6FE6E622A650}" dt="2024-12-16T18:22:43.332" v="193379"/>
          <ac:cxnSpMkLst>
            <pc:docMk/>
            <pc:sldMk cId="664108087" sldId="294"/>
            <ac:cxnSpMk id="750" creationId="{48631803-86F1-612A-8774-4150BF41C9C0}"/>
          </ac:cxnSpMkLst>
        </pc:cxnChg>
        <pc:cxnChg chg="add del mod ord">
          <ac:chgData name="Oğuz Öztekin" userId="33c0df0f-d5fe-4bda-8f43-141ad7af67e3" providerId="ADAL" clId="{48B824AD-1B2A-47A8-8D92-6FE6E622A650}" dt="2024-12-16T18:22:43.333" v="193382"/>
          <ac:cxnSpMkLst>
            <pc:docMk/>
            <pc:sldMk cId="664108087" sldId="294"/>
            <ac:cxnSpMk id="751" creationId="{26EEC84A-25FB-11B1-6C1B-A8D1C1F22949}"/>
          </ac:cxnSpMkLst>
        </pc:cxnChg>
        <pc:cxnChg chg="add del mod ord">
          <ac:chgData name="Oğuz Öztekin" userId="33c0df0f-d5fe-4bda-8f43-141ad7af67e3" providerId="ADAL" clId="{48B824AD-1B2A-47A8-8D92-6FE6E622A650}" dt="2024-12-16T18:22:43.333" v="193385"/>
          <ac:cxnSpMkLst>
            <pc:docMk/>
            <pc:sldMk cId="664108087" sldId="294"/>
            <ac:cxnSpMk id="752" creationId="{A9A5AC94-764A-4A9A-927A-B56A30F1A636}"/>
          </ac:cxnSpMkLst>
        </pc:cxnChg>
        <pc:cxnChg chg="add del mod ord">
          <ac:chgData name="Oğuz Öztekin" userId="33c0df0f-d5fe-4bda-8f43-141ad7af67e3" providerId="ADAL" clId="{48B824AD-1B2A-47A8-8D92-6FE6E622A650}" dt="2024-12-16T18:22:43.334" v="193388"/>
          <ac:cxnSpMkLst>
            <pc:docMk/>
            <pc:sldMk cId="664108087" sldId="294"/>
            <ac:cxnSpMk id="753" creationId="{0A016BA1-1397-3906-2E0A-3C45CF4F8B8B}"/>
          </ac:cxnSpMkLst>
        </pc:cxnChg>
        <pc:cxnChg chg="add del mod ord">
          <ac:chgData name="Oğuz Öztekin" userId="33c0df0f-d5fe-4bda-8f43-141ad7af67e3" providerId="ADAL" clId="{48B824AD-1B2A-47A8-8D92-6FE6E622A650}" dt="2024-12-16T18:22:43.334" v="193391"/>
          <ac:cxnSpMkLst>
            <pc:docMk/>
            <pc:sldMk cId="664108087" sldId="294"/>
            <ac:cxnSpMk id="754" creationId="{2EFC809F-DE78-0030-BADF-6B31B7211317}"/>
          </ac:cxnSpMkLst>
        </pc:cxnChg>
        <pc:cxnChg chg="add del mod ord">
          <ac:chgData name="Oğuz Öztekin" userId="33c0df0f-d5fe-4bda-8f43-141ad7af67e3" providerId="ADAL" clId="{48B824AD-1B2A-47A8-8D92-6FE6E622A650}" dt="2024-12-16T18:22:43.336" v="193394"/>
          <ac:cxnSpMkLst>
            <pc:docMk/>
            <pc:sldMk cId="664108087" sldId="294"/>
            <ac:cxnSpMk id="755" creationId="{4B3951DD-496F-3F5B-7972-0660E975D3E7}"/>
          </ac:cxnSpMkLst>
        </pc:cxnChg>
        <pc:cxnChg chg="add del mod ord">
          <ac:chgData name="Oğuz Öztekin" userId="33c0df0f-d5fe-4bda-8f43-141ad7af67e3" providerId="ADAL" clId="{48B824AD-1B2A-47A8-8D92-6FE6E622A650}" dt="2024-12-16T18:22:43.336" v="193397"/>
          <ac:cxnSpMkLst>
            <pc:docMk/>
            <pc:sldMk cId="664108087" sldId="294"/>
            <ac:cxnSpMk id="756" creationId="{BED71F37-16D3-629D-DE96-ADE9F15A7B68}"/>
          </ac:cxnSpMkLst>
        </pc:cxnChg>
        <pc:cxnChg chg="add del mod ord">
          <ac:chgData name="Oğuz Öztekin" userId="33c0df0f-d5fe-4bda-8f43-141ad7af67e3" providerId="ADAL" clId="{48B824AD-1B2A-47A8-8D92-6FE6E622A650}" dt="2024-12-16T18:22:43.337" v="193400"/>
          <ac:cxnSpMkLst>
            <pc:docMk/>
            <pc:sldMk cId="664108087" sldId="294"/>
            <ac:cxnSpMk id="757" creationId="{8900EC13-7E95-A31F-ECCA-59B8D5ED7979}"/>
          </ac:cxnSpMkLst>
        </pc:cxnChg>
        <pc:cxnChg chg="add del mod ord">
          <ac:chgData name="Oğuz Öztekin" userId="33c0df0f-d5fe-4bda-8f43-141ad7af67e3" providerId="ADAL" clId="{48B824AD-1B2A-47A8-8D92-6FE6E622A650}" dt="2024-12-16T18:22:34.944" v="192018"/>
          <ac:cxnSpMkLst>
            <pc:docMk/>
            <pc:sldMk cId="664108087" sldId="294"/>
            <ac:cxnSpMk id="758" creationId="{7A7BA607-4233-CE32-AFBD-A58A0D80E618}"/>
          </ac:cxnSpMkLst>
        </pc:cxnChg>
        <pc:cxnChg chg="add del mod ord">
          <ac:chgData name="Oğuz Öztekin" userId="33c0df0f-d5fe-4bda-8f43-141ad7af67e3" providerId="ADAL" clId="{48B824AD-1B2A-47A8-8D92-6FE6E622A650}" dt="2024-12-16T18:22:34.949" v="192021"/>
          <ac:cxnSpMkLst>
            <pc:docMk/>
            <pc:sldMk cId="664108087" sldId="294"/>
            <ac:cxnSpMk id="759" creationId="{98F40E8C-66BF-AEDD-D85A-2B818E9DABC1}"/>
          </ac:cxnSpMkLst>
        </pc:cxnChg>
        <pc:cxnChg chg="add del mod ord">
          <ac:chgData name="Oğuz Öztekin" userId="33c0df0f-d5fe-4bda-8f43-141ad7af67e3" providerId="ADAL" clId="{48B824AD-1B2A-47A8-8D92-6FE6E622A650}" dt="2024-12-16T18:22:34.950" v="192024"/>
          <ac:cxnSpMkLst>
            <pc:docMk/>
            <pc:sldMk cId="664108087" sldId="294"/>
            <ac:cxnSpMk id="760" creationId="{138C0F49-964F-103A-D710-6754CE5F4BC4}"/>
          </ac:cxnSpMkLst>
        </pc:cxnChg>
        <pc:cxnChg chg="add del mod ord">
          <ac:chgData name="Oğuz Öztekin" userId="33c0df0f-d5fe-4bda-8f43-141ad7af67e3" providerId="ADAL" clId="{48B824AD-1B2A-47A8-8D92-6FE6E622A650}" dt="2024-12-16T18:22:34.952" v="192027"/>
          <ac:cxnSpMkLst>
            <pc:docMk/>
            <pc:sldMk cId="664108087" sldId="294"/>
            <ac:cxnSpMk id="761" creationId="{0E1E8EA0-6379-4F44-D7DF-B9282372CE5A}"/>
          </ac:cxnSpMkLst>
        </pc:cxnChg>
        <pc:cxnChg chg="add del mod ord">
          <ac:chgData name="Oğuz Öztekin" userId="33c0df0f-d5fe-4bda-8f43-141ad7af67e3" providerId="ADAL" clId="{48B824AD-1B2A-47A8-8D92-6FE6E622A650}" dt="2024-12-16T18:22:34.952" v="192030"/>
          <ac:cxnSpMkLst>
            <pc:docMk/>
            <pc:sldMk cId="664108087" sldId="294"/>
            <ac:cxnSpMk id="762" creationId="{76F8E54D-13FB-079B-1784-95183571D7A4}"/>
          </ac:cxnSpMkLst>
        </pc:cxnChg>
        <pc:cxnChg chg="add del mod ord">
          <ac:chgData name="Oğuz Öztekin" userId="33c0df0f-d5fe-4bda-8f43-141ad7af67e3" providerId="ADAL" clId="{48B824AD-1B2A-47A8-8D92-6FE6E622A650}" dt="2024-12-16T18:22:34.952" v="192033"/>
          <ac:cxnSpMkLst>
            <pc:docMk/>
            <pc:sldMk cId="664108087" sldId="294"/>
            <ac:cxnSpMk id="763" creationId="{C95769BA-B9C7-E33A-EB3A-C31BC188382B}"/>
          </ac:cxnSpMkLst>
        </pc:cxnChg>
        <pc:cxnChg chg="add del mod ord">
          <ac:chgData name="Oğuz Öztekin" userId="33c0df0f-d5fe-4bda-8f43-141ad7af67e3" providerId="ADAL" clId="{48B824AD-1B2A-47A8-8D92-6FE6E622A650}" dt="2024-12-16T18:22:34.954" v="192036"/>
          <ac:cxnSpMkLst>
            <pc:docMk/>
            <pc:sldMk cId="664108087" sldId="294"/>
            <ac:cxnSpMk id="764" creationId="{2366F8A0-1425-DD2C-CB74-3D7C7FBE769B}"/>
          </ac:cxnSpMkLst>
        </pc:cxnChg>
        <pc:cxnChg chg="add del mod ord">
          <ac:chgData name="Oğuz Öztekin" userId="33c0df0f-d5fe-4bda-8f43-141ad7af67e3" providerId="ADAL" clId="{48B824AD-1B2A-47A8-8D92-6FE6E622A650}" dt="2024-12-16T18:22:34.955" v="192039"/>
          <ac:cxnSpMkLst>
            <pc:docMk/>
            <pc:sldMk cId="664108087" sldId="294"/>
            <ac:cxnSpMk id="765" creationId="{CA561A94-FB4D-87C0-30B2-3448351409A8}"/>
          </ac:cxnSpMkLst>
        </pc:cxnChg>
        <pc:cxnChg chg="add del mod ord">
          <ac:chgData name="Oğuz Öztekin" userId="33c0df0f-d5fe-4bda-8f43-141ad7af67e3" providerId="ADAL" clId="{48B824AD-1B2A-47A8-8D92-6FE6E622A650}" dt="2024-12-16T18:22:34.955" v="192042"/>
          <ac:cxnSpMkLst>
            <pc:docMk/>
            <pc:sldMk cId="664108087" sldId="294"/>
            <ac:cxnSpMk id="766" creationId="{343025EB-C553-4D45-8402-E2104BDBBB58}"/>
          </ac:cxnSpMkLst>
        </pc:cxnChg>
        <pc:cxnChg chg="add del mod ord">
          <ac:chgData name="Oğuz Öztekin" userId="33c0df0f-d5fe-4bda-8f43-141ad7af67e3" providerId="ADAL" clId="{48B824AD-1B2A-47A8-8D92-6FE6E622A650}" dt="2024-12-16T18:22:34.956" v="192045"/>
          <ac:cxnSpMkLst>
            <pc:docMk/>
            <pc:sldMk cId="664108087" sldId="294"/>
            <ac:cxnSpMk id="767" creationId="{779D066D-1DFD-865F-0E1C-13C96E31A3A5}"/>
          </ac:cxnSpMkLst>
        </pc:cxnChg>
        <pc:cxnChg chg="add del mod ord">
          <ac:chgData name="Oğuz Öztekin" userId="33c0df0f-d5fe-4bda-8f43-141ad7af67e3" providerId="ADAL" clId="{48B824AD-1B2A-47A8-8D92-6FE6E622A650}" dt="2024-12-16T18:22:34.957" v="192048"/>
          <ac:cxnSpMkLst>
            <pc:docMk/>
            <pc:sldMk cId="664108087" sldId="294"/>
            <ac:cxnSpMk id="768" creationId="{A2592DF4-6CB7-05DF-C8CC-74435160ABB5}"/>
          </ac:cxnSpMkLst>
        </pc:cxnChg>
        <pc:cxnChg chg="add del mod ord">
          <ac:chgData name="Oğuz Öztekin" userId="33c0df0f-d5fe-4bda-8f43-141ad7af67e3" providerId="ADAL" clId="{48B824AD-1B2A-47A8-8D92-6FE6E622A650}" dt="2024-12-16T18:22:34.957" v="192051"/>
          <ac:cxnSpMkLst>
            <pc:docMk/>
            <pc:sldMk cId="664108087" sldId="294"/>
            <ac:cxnSpMk id="769" creationId="{7D281037-F4D4-5F90-75E0-9A2B8832D77C}"/>
          </ac:cxnSpMkLst>
        </pc:cxnChg>
        <pc:cxnChg chg="add del mod ord">
          <ac:chgData name="Oğuz Öztekin" userId="33c0df0f-d5fe-4bda-8f43-141ad7af67e3" providerId="ADAL" clId="{48B824AD-1B2A-47A8-8D92-6FE6E622A650}" dt="2024-12-16T18:22:34.958" v="192054"/>
          <ac:cxnSpMkLst>
            <pc:docMk/>
            <pc:sldMk cId="664108087" sldId="294"/>
            <ac:cxnSpMk id="770" creationId="{BFEE2929-DC31-5703-4466-6B2D45A43BA4}"/>
          </ac:cxnSpMkLst>
        </pc:cxnChg>
        <pc:cxnChg chg="add del mod ord">
          <ac:chgData name="Oğuz Öztekin" userId="33c0df0f-d5fe-4bda-8f43-141ad7af67e3" providerId="ADAL" clId="{48B824AD-1B2A-47A8-8D92-6FE6E622A650}" dt="2024-12-16T18:22:34.958" v="192057"/>
          <ac:cxnSpMkLst>
            <pc:docMk/>
            <pc:sldMk cId="664108087" sldId="294"/>
            <ac:cxnSpMk id="771" creationId="{C30EB7EB-7EFE-6D93-CE70-8DEA3F0C7E00}"/>
          </ac:cxnSpMkLst>
        </pc:cxnChg>
        <pc:cxnChg chg="add del mod ord">
          <ac:chgData name="Oğuz Öztekin" userId="33c0df0f-d5fe-4bda-8f43-141ad7af67e3" providerId="ADAL" clId="{48B824AD-1B2A-47A8-8D92-6FE6E622A650}" dt="2024-12-16T18:22:34.958" v="192060"/>
          <ac:cxnSpMkLst>
            <pc:docMk/>
            <pc:sldMk cId="664108087" sldId="294"/>
            <ac:cxnSpMk id="772" creationId="{19374D2C-2543-6E2E-7A20-60984C31CA0E}"/>
          </ac:cxnSpMkLst>
        </pc:cxnChg>
        <pc:cxnChg chg="add del mod ord">
          <ac:chgData name="Oğuz Öztekin" userId="33c0df0f-d5fe-4bda-8f43-141ad7af67e3" providerId="ADAL" clId="{48B824AD-1B2A-47A8-8D92-6FE6E622A650}" dt="2024-12-16T18:22:34.961" v="192063"/>
          <ac:cxnSpMkLst>
            <pc:docMk/>
            <pc:sldMk cId="664108087" sldId="294"/>
            <ac:cxnSpMk id="773" creationId="{9AAE4C87-B855-789F-1B72-C606B70C5861}"/>
          </ac:cxnSpMkLst>
        </pc:cxnChg>
        <pc:cxnChg chg="add del mod ord">
          <ac:chgData name="Oğuz Öztekin" userId="33c0df0f-d5fe-4bda-8f43-141ad7af67e3" providerId="ADAL" clId="{48B824AD-1B2A-47A8-8D92-6FE6E622A650}" dt="2024-12-16T18:22:34.962" v="192066"/>
          <ac:cxnSpMkLst>
            <pc:docMk/>
            <pc:sldMk cId="664108087" sldId="294"/>
            <ac:cxnSpMk id="774" creationId="{D2B9692F-97A0-0239-D4C4-162010E41CCE}"/>
          </ac:cxnSpMkLst>
        </pc:cxnChg>
        <pc:cxnChg chg="add del mod ord">
          <ac:chgData name="Oğuz Öztekin" userId="33c0df0f-d5fe-4bda-8f43-141ad7af67e3" providerId="ADAL" clId="{48B824AD-1B2A-47A8-8D92-6FE6E622A650}" dt="2024-12-16T18:22:34.962" v="192069"/>
          <ac:cxnSpMkLst>
            <pc:docMk/>
            <pc:sldMk cId="664108087" sldId="294"/>
            <ac:cxnSpMk id="775" creationId="{E001262F-1B02-A2D3-0C45-2600A2EDEB23}"/>
          </ac:cxnSpMkLst>
        </pc:cxnChg>
        <pc:cxnChg chg="add del mod ord">
          <ac:chgData name="Oğuz Öztekin" userId="33c0df0f-d5fe-4bda-8f43-141ad7af67e3" providerId="ADAL" clId="{48B824AD-1B2A-47A8-8D92-6FE6E622A650}" dt="2024-12-16T18:22:34.962" v="192072"/>
          <ac:cxnSpMkLst>
            <pc:docMk/>
            <pc:sldMk cId="664108087" sldId="294"/>
            <ac:cxnSpMk id="776" creationId="{ABBAC0F1-E29F-FF24-6465-601541B50355}"/>
          </ac:cxnSpMkLst>
        </pc:cxnChg>
        <pc:cxnChg chg="add del mod ord">
          <ac:chgData name="Oğuz Öztekin" userId="33c0df0f-d5fe-4bda-8f43-141ad7af67e3" providerId="ADAL" clId="{48B824AD-1B2A-47A8-8D92-6FE6E622A650}" dt="2024-12-16T18:22:34.964" v="192075"/>
          <ac:cxnSpMkLst>
            <pc:docMk/>
            <pc:sldMk cId="664108087" sldId="294"/>
            <ac:cxnSpMk id="777" creationId="{2F7E79D2-34D6-C215-755D-07CA661AE007}"/>
          </ac:cxnSpMkLst>
        </pc:cxnChg>
        <pc:cxnChg chg="add del mod ord">
          <ac:chgData name="Oğuz Öztekin" userId="33c0df0f-d5fe-4bda-8f43-141ad7af67e3" providerId="ADAL" clId="{48B824AD-1B2A-47A8-8D92-6FE6E622A650}" dt="2024-12-16T18:22:27.003" v="190489"/>
          <ac:cxnSpMkLst>
            <pc:docMk/>
            <pc:sldMk cId="664108087" sldId="294"/>
            <ac:cxnSpMk id="778" creationId="{8E034E48-E57D-6B1A-24F8-0FFA6C2A9A0C}"/>
          </ac:cxnSpMkLst>
        </pc:cxnChg>
        <pc:cxnChg chg="add del mod ord">
          <ac:chgData name="Oğuz Öztekin" userId="33c0df0f-d5fe-4bda-8f43-141ad7af67e3" providerId="ADAL" clId="{48B824AD-1B2A-47A8-8D92-6FE6E622A650}" dt="2024-12-16T18:22:27.008" v="190492"/>
          <ac:cxnSpMkLst>
            <pc:docMk/>
            <pc:sldMk cId="664108087" sldId="294"/>
            <ac:cxnSpMk id="779" creationId="{FC066CCE-5DFE-3CA5-A874-D4CEEE274D3F}"/>
          </ac:cxnSpMkLst>
        </pc:cxnChg>
        <pc:cxnChg chg="add del mod ord">
          <ac:chgData name="Oğuz Öztekin" userId="33c0df0f-d5fe-4bda-8f43-141ad7af67e3" providerId="ADAL" clId="{48B824AD-1B2A-47A8-8D92-6FE6E622A650}" dt="2024-12-16T18:22:27.009" v="190495"/>
          <ac:cxnSpMkLst>
            <pc:docMk/>
            <pc:sldMk cId="664108087" sldId="294"/>
            <ac:cxnSpMk id="780" creationId="{61F4ABED-5A70-4BF6-8B13-34D9EA1E1F86}"/>
          </ac:cxnSpMkLst>
        </pc:cxnChg>
        <pc:cxnChg chg="add del mod ord">
          <ac:chgData name="Oğuz Öztekin" userId="33c0df0f-d5fe-4bda-8f43-141ad7af67e3" providerId="ADAL" clId="{48B824AD-1B2A-47A8-8D92-6FE6E622A650}" dt="2024-12-16T18:22:27.009" v="190498"/>
          <ac:cxnSpMkLst>
            <pc:docMk/>
            <pc:sldMk cId="664108087" sldId="294"/>
            <ac:cxnSpMk id="781" creationId="{C25EAEB7-A564-2CBF-A909-42D6B1FD0C77}"/>
          </ac:cxnSpMkLst>
        </pc:cxnChg>
        <pc:cxnChg chg="add del mod ord">
          <ac:chgData name="Oğuz Öztekin" userId="33c0df0f-d5fe-4bda-8f43-141ad7af67e3" providerId="ADAL" clId="{48B824AD-1B2A-47A8-8D92-6FE6E622A650}" dt="2024-12-16T18:22:27.009" v="190501"/>
          <ac:cxnSpMkLst>
            <pc:docMk/>
            <pc:sldMk cId="664108087" sldId="294"/>
            <ac:cxnSpMk id="782" creationId="{45B5DBAB-AE50-C89F-0888-74AE2D312C67}"/>
          </ac:cxnSpMkLst>
        </pc:cxnChg>
        <pc:cxnChg chg="add del mod ord">
          <ac:chgData name="Oğuz Öztekin" userId="33c0df0f-d5fe-4bda-8f43-141ad7af67e3" providerId="ADAL" clId="{48B824AD-1B2A-47A8-8D92-6FE6E622A650}" dt="2024-12-16T18:22:27.009" v="190504"/>
          <ac:cxnSpMkLst>
            <pc:docMk/>
            <pc:sldMk cId="664108087" sldId="294"/>
            <ac:cxnSpMk id="783" creationId="{FD9E08AB-3A11-F2E9-7E63-88FF5B09C7E5}"/>
          </ac:cxnSpMkLst>
        </pc:cxnChg>
        <pc:cxnChg chg="add del mod ord">
          <ac:chgData name="Oğuz Öztekin" userId="33c0df0f-d5fe-4bda-8f43-141ad7af67e3" providerId="ADAL" clId="{48B824AD-1B2A-47A8-8D92-6FE6E622A650}" dt="2024-12-16T18:22:27.009" v="190507"/>
          <ac:cxnSpMkLst>
            <pc:docMk/>
            <pc:sldMk cId="664108087" sldId="294"/>
            <ac:cxnSpMk id="784" creationId="{20322B70-25DF-8B76-D1E5-72E32C62FC1E}"/>
          </ac:cxnSpMkLst>
        </pc:cxnChg>
        <pc:cxnChg chg="add del mod ord">
          <ac:chgData name="Oğuz Öztekin" userId="33c0df0f-d5fe-4bda-8f43-141ad7af67e3" providerId="ADAL" clId="{48B824AD-1B2A-47A8-8D92-6FE6E622A650}" dt="2024-12-16T18:22:27.009" v="190510"/>
          <ac:cxnSpMkLst>
            <pc:docMk/>
            <pc:sldMk cId="664108087" sldId="294"/>
            <ac:cxnSpMk id="785" creationId="{E034B3A7-019B-D2C0-CB90-57B72200BA47}"/>
          </ac:cxnSpMkLst>
        </pc:cxnChg>
        <pc:cxnChg chg="add del mod ord">
          <ac:chgData name="Oğuz Öztekin" userId="33c0df0f-d5fe-4bda-8f43-141ad7af67e3" providerId="ADAL" clId="{48B824AD-1B2A-47A8-8D92-6FE6E622A650}" dt="2024-12-16T18:22:27.014" v="190513"/>
          <ac:cxnSpMkLst>
            <pc:docMk/>
            <pc:sldMk cId="664108087" sldId="294"/>
            <ac:cxnSpMk id="786" creationId="{6F4F27DE-D81C-F4ED-76E7-85BDBF21A88B}"/>
          </ac:cxnSpMkLst>
        </pc:cxnChg>
        <pc:cxnChg chg="add del mod ord">
          <ac:chgData name="Oğuz Öztekin" userId="33c0df0f-d5fe-4bda-8f43-141ad7af67e3" providerId="ADAL" clId="{48B824AD-1B2A-47A8-8D92-6FE6E622A650}" dt="2024-12-16T18:22:27.014" v="190516"/>
          <ac:cxnSpMkLst>
            <pc:docMk/>
            <pc:sldMk cId="664108087" sldId="294"/>
            <ac:cxnSpMk id="787" creationId="{DC6B449E-F8F7-BD51-2ECE-2172640AAA1E}"/>
          </ac:cxnSpMkLst>
        </pc:cxnChg>
        <pc:cxnChg chg="add del mod ord">
          <ac:chgData name="Oğuz Öztekin" userId="33c0df0f-d5fe-4bda-8f43-141ad7af67e3" providerId="ADAL" clId="{48B824AD-1B2A-47A8-8D92-6FE6E622A650}" dt="2024-12-16T18:22:27.014" v="190519"/>
          <ac:cxnSpMkLst>
            <pc:docMk/>
            <pc:sldMk cId="664108087" sldId="294"/>
            <ac:cxnSpMk id="788" creationId="{C9AB8C41-9504-3F29-BFB7-B8D5E83CAA0B}"/>
          </ac:cxnSpMkLst>
        </pc:cxnChg>
        <pc:cxnChg chg="add del mod ord">
          <ac:chgData name="Oğuz Öztekin" userId="33c0df0f-d5fe-4bda-8f43-141ad7af67e3" providerId="ADAL" clId="{48B824AD-1B2A-47A8-8D92-6FE6E622A650}" dt="2024-12-16T18:22:27.014" v="190522"/>
          <ac:cxnSpMkLst>
            <pc:docMk/>
            <pc:sldMk cId="664108087" sldId="294"/>
            <ac:cxnSpMk id="789" creationId="{2A1A3A8E-6514-5C0B-9E4E-D6D77A5BF09C}"/>
          </ac:cxnSpMkLst>
        </pc:cxnChg>
        <pc:cxnChg chg="add del mod ord">
          <ac:chgData name="Oğuz Öztekin" userId="33c0df0f-d5fe-4bda-8f43-141ad7af67e3" providerId="ADAL" clId="{48B824AD-1B2A-47A8-8D92-6FE6E622A650}" dt="2024-12-16T18:22:27.014" v="190525"/>
          <ac:cxnSpMkLst>
            <pc:docMk/>
            <pc:sldMk cId="664108087" sldId="294"/>
            <ac:cxnSpMk id="790" creationId="{F7465D0F-95B2-0090-ABD8-0A602EC721E5}"/>
          </ac:cxnSpMkLst>
        </pc:cxnChg>
        <pc:cxnChg chg="add del mod ord">
          <ac:chgData name="Oğuz Öztekin" userId="33c0df0f-d5fe-4bda-8f43-141ad7af67e3" providerId="ADAL" clId="{48B824AD-1B2A-47A8-8D92-6FE6E622A650}" dt="2024-12-16T18:22:27.018" v="190528"/>
          <ac:cxnSpMkLst>
            <pc:docMk/>
            <pc:sldMk cId="664108087" sldId="294"/>
            <ac:cxnSpMk id="791" creationId="{AC17A713-ADA2-9493-CA66-0A7D838568E5}"/>
          </ac:cxnSpMkLst>
        </pc:cxnChg>
        <pc:cxnChg chg="add del mod ord">
          <ac:chgData name="Oğuz Öztekin" userId="33c0df0f-d5fe-4bda-8f43-141ad7af67e3" providerId="ADAL" clId="{48B824AD-1B2A-47A8-8D92-6FE6E622A650}" dt="2024-12-16T18:22:27.019" v="190531"/>
          <ac:cxnSpMkLst>
            <pc:docMk/>
            <pc:sldMk cId="664108087" sldId="294"/>
            <ac:cxnSpMk id="792" creationId="{A3AA0D0F-533A-13F1-B00A-FF4BFA69B2B4}"/>
          </ac:cxnSpMkLst>
        </pc:cxnChg>
        <pc:cxnChg chg="add del mod ord">
          <ac:chgData name="Oğuz Öztekin" userId="33c0df0f-d5fe-4bda-8f43-141ad7af67e3" providerId="ADAL" clId="{48B824AD-1B2A-47A8-8D92-6FE6E622A650}" dt="2024-12-16T18:22:27.019" v="190534"/>
          <ac:cxnSpMkLst>
            <pc:docMk/>
            <pc:sldMk cId="664108087" sldId="294"/>
            <ac:cxnSpMk id="793" creationId="{2D9329E2-9E3C-6CFB-DDC3-766AFE038049}"/>
          </ac:cxnSpMkLst>
        </pc:cxnChg>
        <pc:cxnChg chg="add del mod ord">
          <ac:chgData name="Oğuz Öztekin" userId="33c0df0f-d5fe-4bda-8f43-141ad7af67e3" providerId="ADAL" clId="{48B824AD-1B2A-47A8-8D92-6FE6E622A650}" dt="2024-12-16T18:22:27.019" v="190537"/>
          <ac:cxnSpMkLst>
            <pc:docMk/>
            <pc:sldMk cId="664108087" sldId="294"/>
            <ac:cxnSpMk id="794" creationId="{B950E067-5BAF-6BFE-7FE8-DB79EA5105BD}"/>
          </ac:cxnSpMkLst>
        </pc:cxnChg>
        <pc:cxnChg chg="add del mod ord">
          <ac:chgData name="Oğuz Öztekin" userId="33c0df0f-d5fe-4bda-8f43-141ad7af67e3" providerId="ADAL" clId="{48B824AD-1B2A-47A8-8D92-6FE6E622A650}" dt="2024-12-16T18:22:27.019" v="190540"/>
          <ac:cxnSpMkLst>
            <pc:docMk/>
            <pc:sldMk cId="664108087" sldId="294"/>
            <ac:cxnSpMk id="795" creationId="{9D308DE8-228F-F6F6-B1AF-9DBC28ED5D10}"/>
          </ac:cxnSpMkLst>
        </pc:cxnChg>
        <pc:cxnChg chg="add del mod ord">
          <ac:chgData name="Oğuz Öztekin" userId="33c0df0f-d5fe-4bda-8f43-141ad7af67e3" providerId="ADAL" clId="{48B824AD-1B2A-47A8-8D92-6FE6E622A650}" dt="2024-12-16T18:22:27.019" v="190543"/>
          <ac:cxnSpMkLst>
            <pc:docMk/>
            <pc:sldMk cId="664108087" sldId="294"/>
            <ac:cxnSpMk id="796" creationId="{6FDA8AFD-7DAF-37D2-169E-8057F55482B4}"/>
          </ac:cxnSpMkLst>
        </pc:cxnChg>
        <pc:cxnChg chg="add del mod ord">
          <ac:chgData name="Oğuz Öztekin" userId="33c0df0f-d5fe-4bda-8f43-141ad7af67e3" providerId="ADAL" clId="{48B824AD-1B2A-47A8-8D92-6FE6E622A650}" dt="2024-12-16T18:22:27.024" v="190546"/>
          <ac:cxnSpMkLst>
            <pc:docMk/>
            <pc:sldMk cId="664108087" sldId="294"/>
            <ac:cxnSpMk id="797" creationId="{C09B9805-CBBF-1831-EFFD-B1D76D1B523D}"/>
          </ac:cxnSpMkLst>
        </pc:cxnChg>
        <pc:cxnChg chg="add del mod ord">
          <ac:chgData name="Oğuz Öztekin" userId="33c0df0f-d5fe-4bda-8f43-141ad7af67e3" providerId="ADAL" clId="{48B824AD-1B2A-47A8-8D92-6FE6E622A650}" dt="2024-12-16T18:22:15.616" v="188760"/>
          <ac:cxnSpMkLst>
            <pc:docMk/>
            <pc:sldMk cId="664108087" sldId="294"/>
            <ac:cxnSpMk id="798" creationId="{100E52C8-55A5-58FA-73A6-E1D632AA7C10}"/>
          </ac:cxnSpMkLst>
        </pc:cxnChg>
        <pc:cxnChg chg="add del mod ord">
          <ac:chgData name="Oğuz Öztekin" userId="33c0df0f-d5fe-4bda-8f43-141ad7af67e3" providerId="ADAL" clId="{48B824AD-1B2A-47A8-8D92-6FE6E622A650}" dt="2024-12-16T18:22:15.618" v="188763"/>
          <ac:cxnSpMkLst>
            <pc:docMk/>
            <pc:sldMk cId="664108087" sldId="294"/>
            <ac:cxnSpMk id="799" creationId="{CF54C600-DF8D-80C5-78E1-D6F10F81EB7C}"/>
          </ac:cxnSpMkLst>
        </pc:cxnChg>
        <pc:cxnChg chg="add del mod ord">
          <ac:chgData name="Oğuz Öztekin" userId="33c0df0f-d5fe-4bda-8f43-141ad7af67e3" providerId="ADAL" clId="{48B824AD-1B2A-47A8-8D92-6FE6E622A650}" dt="2024-12-16T18:22:15.620" v="188766"/>
          <ac:cxnSpMkLst>
            <pc:docMk/>
            <pc:sldMk cId="664108087" sldId="294"/>
            <ac:cxnSpMk id="800" creationId="{D5F847DC-0DE9-38BD-C1DB-69576CFEA81E}"/>
          </ac:cxnSpMkLst>
        </pc:cxnChg>
        <pc:cxnChg chg="add del mod ord">
          <ac:chgData name="Oğuz Öztekin" userId="33c0df0f-d5fe-4bda-8f43-141ad7af67e3" providerId="ADAL" clId="{48B824AD-1B2A-47A8-8D92-6FE6E622A650}" dt="2024-12-16T18:22:15.620" v="188769"/>
          <ac:cxnSpMkLst>
            <pc:docMk/>
            <pc:sldMk cId="664108087" sldId="294"/>
            <ac:cxnSpMk id="801" creationId="{B2059E02-887B-00E1-F0D6-077FC39763C6}"/>
          </ac:cxnSpMkLst>
        </pc:cxnChg>
        <pc:cxnChg chg="add del mod ord">
          <ac:chgData name="Oğuz Öztekin" userId="33c0df0f-d5fe-4bda-8f43-141ad7af67e3" providerId="ADAL" clId="{48B824AD-1B2A-47A8-8D92-6FE6E622A650}" dt="2024-12-16T18:22:15.622" v="188772"/>
          <ac:cxnSpMkLst>
            <pc:docMk/>
            <pc:sldMk cId="664108087" sldId="294"/>
            <ac:cxnSpMk id="802" creationId="{065A585B-6182-618D-FA3D-449E577E799F}"/>
          </ac:cxnSpMkLst>
        </pc:cxnChg>
        <pc:cxnChg chg="add del mod ord">
          <ac:chgData name="Oğuz Öztekin" userId="33c0df0f-d5fe-4bda-8f43-141ad7af67e3" providerId="ADAL" clId="{48B824AD-1B2A-47A8-8D92-6FE6E622A650}" dt="2024-12-16T18:22:15.622" v="188775"/>
          <ac:cxnSpMkLst>
            <pc:docMk/>
            <pc:sldMk cId="664108087" sldId="294"/>
            <ac:cxnSpMk id="803" creationId="{BDFF3FF6-3FF9-E91F-EA25-200B3CE9737B}"/>
          </ac:cxnSpMkLst>
        </pc:cxnChg>
        <pc:cxnChg chg="add del mod ord">
          <ac:chgData name="Oğuz Öztekin" userId="33c0df0f-d5fe-4bda-8f43-141ad7af67e3" providerId="ADAL" clId="{48B824AD-1B2A-47A8-8D92-6FE6E622A650}" dt="2024-12-16T18:22:15.623" v="188778"/>
          <ac:cxnSpMkLst>
            <pc:docMk/>
            <pc:sldMk cId="664108087" sldId="294"/>
            <ac:cxnSpMk id="804" creationId="{A7D65D24-911C-96BE-3376-8F5F29FBD268}"/>
          </ac:cxnSpMkLst>
        </pc:cxnChg>
        <pc:cxnChg chg="add del mod ord">
          <ac:chgData name="Oğuz Öztekin" userId="33c0df0f-d5fe-4bda-8f43-141ad7af67e3" providerId="ADAL" clId="{48B824AD-1B2A-47A8-8D92-6FE6E622A650}" dt="2024-12-16T18:22:15.624" v="188781"/>
          <ac:cxnSpMkLst>
            <pc:docMk/>
            <pc:sldMk cId="664108087" sldId="294"/>
            <ac:cxnSpMk id="805" creationId="{A849C72C-F53A-2429-2E3D-4E4DF4A3DADD}"/>
          </ac:cxnSpMkLst>
        </pc:cxnChg>
        <pc:cxnChg chg="add del mod ord">
          <ac:chgData name="Oğuz Öztekin" userId="33c0df0f-d5fe-4bda-8f43-141ad7af67e3" providerId="ADAL" clId="{48B824AD-1B2A-47A8-8D92-6FE6E622A650}" dt="2024-12-16T18:22:15.625" v="188784"/>
          <ac:cxnSpMkLst>
            <pc:docMk/>
            <pc:sldMk cId="664108087" sldId="294"/>
            <ac:cxnSpMk id="806" creationId="{B9107AC4-9C82-9F29-FC70-93AEFCA234F7}"/>
          </ac:cxnSpMkLst>
        </pc:cxnChg>
        <pc:cxnChg chg="add del mod ord">
          <ac:chgData name="Oğuz Öztekin" userId="33c0df0f-d5fe-4bda-8f43-141ad7af67e3" providerId="ADAL" clId="{48B824AD-1B2A-47A8-8D92-6FE6E622A650}" dt="2024-12-16T18:22:15.626" v="188787"/>
          <ac:cxnSpMkLst>
            <pc:docMk/>
            <pc:sldMk cId="664108087" sldId="294"/>
            <ac:cxnSpMk id="807" creationId="{21AEEA58-DAEA-51C8-2DFA-0F2DFA96E8B4}"/>
          </ac:cxnSpMkLst>
        </pc:cxnChg>
        <pc:cxnChg chg="add del mod ord">
          <ac:chgData name="Oğuz Öztekin" userId="33c0df0f-d5fe-4bda-8f43-141ad7af67e3" providerId="ADAL" clId="{48B824AD-1B2A-47A8-8D92-6FE6E622A650}" dt="2024-12-16T18:22:15.626" v="188790"/>
          <ac:cxnSpMkLst>
            <pc:docMk/>
            <pc:sldMk cId="664108087" sldId="294"/>
            <ac:cxnSpMk id="808" creationId="{54639C7E-AFBB-6F9A-BE55-C68DBBAC259B}"/>
          </ac:cxnSpMkLst>
        </pc:cxnChg>
        <pc:cxnChg chg="add del mod ord">
          <ac:chgData name="Oğuz Öztekin" userId="33c0df0f-d5fe-4bda-8f43-141ad7af67e3" providerId="ADAL" clId="{48B824AD-1B2A-47A8-8D92-6FE6E622A650}" dt="2024-12-16T18:22:15.627" v="188793"/>
          <ac:cxnSpMkLst>
            <pc:docMk/>
            <pc:sldMk cId="664108087" sldId="294"/>
            <ac:cxnSpMk id="809" creationId="{7E274314-EEAE-76D3-35B6-FBCF09616586}"/>
          </ac:cxnSpMkLst>
        </pc:cxnChg>
        <pc:cxnChg chg="add del mod ord">
          <ac:chgData name="Oğuz Öztekin" userId="33c0df0f-d5fe-4bda-8f43-141ad7af67e3" providerId="ADAL" clId="{48B824AD-1B2A-47A8-8D92-6FE6E622A650}" dt="2024-12-16T18:22:15.628" v="188796"/>
          <ac:cxnSpMkLst>
            <pc:docMk/>
            <pc:sldMk cId="664108087" sldId="294"/>
            <ac:cxnSpMk id="810" creationId="{9418DB39-0986-54E2-DCB2-B798B3EFE062}"/>
          </ac:cxnSpMkLst>
        </pc:cxnChg>
        <pc:cxnChg chg="add del mod ord">
          <ac:chgData name="Oğuz Öztekin" userId="33c0df0f-d5fe-4bda-8f43-141ad7af67e3" providerId="ADAL" clId="{48B824AD-1B2A-47A8-8D92-6FE6E622A650}" dt="2024-12-16T18:22:15.629" v="188799"/>
          <ac:cxnSpMkLst>
            <pc:docMk/>
            <pc:sldMk cId="664108087" sldId="294"/>
            <ac:cxnSpMk id="811" creationId="{E3E93E38-11E1-B82C-6977-AB6308B470AB}"/>
          </ac:cxnSpMkLst>
        </pc:cxnChg>
        <pc:cxnChg chg="add del mod ord">
          <ac:chgData name="Oğuz Öztekin" userId="33c0df0f-d5fe-4bda-8f43-141ad7af67e3" providerId="ADAL" clId="{48B824AD-1B2A-47A8-8D92-6FE6E622A650}" dt="2024-12-16T18:22:15.630" v="188802"/>
          <ac:cxnSpMkLst>
            <pc:docMk/>
            <pc:sldMk cId="664108087" sldId="294"/>
            <ac:cxnSpMk id="812" creationId="{E4A0ABF5-B5E5-A51C-63B9-8F61AC5C0AA8}"/>
          </ac:cxnSpMkLst>
        </pc:cxnChg>
        <pc:cxnChg chg="add del mod ord">
          <ac:chgData name="Oğuz Öztekin" userId="33c0df0f-d5fe-4bda-8f43-141ad7af67e3" providerId="ADAL" clId="{48B824AD-1B2A-47A8-8D92-6FE6E622A650}" dt="2024-12-16T18:22:15.630" v="188805"/>
          <ac:cxnSpMkLst>
            <pc:docMk/>
            <pc:sldMk cId="664108087" sldId="294"/>
            <ac:cxnSpMk id="813" creationId="{DC2256B8-65DE-F938-EABC-77DE516E74E9}"/>
          </ac:cxnSpMkLst>
        </pc:cxnChg>
        <pc:cxnChg chg="add del mod ord">
          <ac:chgData name="Oğuz Öztekin" userId="33c0df0f-d5fe-4bda-8f43-141ad7af67e3" providerId="ADAL" clId="{48B824AD-1B2A-47A8-8D92-6FE6E622A650}" dt="2024-12-16T18:22:15.631" v="188808"/>
          <ac:cxnSpMkLst>
            <pc:docMk/>
            <pc:sldMk cId="664108087" sldId="294"/>
            <ac:cxnSpMk id="814" creationId="{11C84671-A9A4-FB65-EE68-10C0ED0354AE}"/>
          </ac:cxnSpMkLst>
        </pc:cxnChg>
        <pc:cxnChg chg="add del mod ord">
          <ac:chgData name="Oğuz Öztekin" userId="33c0df0f-d5fe-4bda-8f43-141ad7af67e3" providerId="ADAL" clId="{48B824AD-1B2A-47A8-8D92-6FE6E622A650}" dt="2024-12-16T18:22:15.631" v="188811"/>
          <ac:cxnSpMkLst>
            <pc:docMk/>
            <pc:sldMk cId="664108087" sldId="294"/>
            <ac:cxnSpMk id="815" creationId="{DBCE25E0-6FCE-F1E9-A01B-79D04CAABAC9}"/>
          </ac:cxnSpMkLst>
        </pc:cxnChg>
        <pc:cxnChg chg="add del mod ord">
          <ac:chgData name="Oğuz Öztekin" userId="33c0df0f-d5fe-4bda-8f43-141ad7af67e3" providerId="ADAL" clId="{48B824AD-1B2A-47A8-8D92-6FE6E622A650}" dt="2024-12-16T18:22:15.633" v="188814"/>
          <ac:cxnSpMkLst>
            <pc:docMk/>
            <pc:sldMk cId="664108087" sldId="294"/>
            <ac:cxnSpMk id="816" creationId="{481BDF70-357D-3F86-3CFC-55E5C9A39F80}"/>
          </ac:cxnSpMkLst>
        </pc:cxnChg>
        <pc:cxnChg chg="add del mod ord">
          <ac:chgData name="Oğuz Öztekin" userId="33c0df0f-d5fe-4bda-8f43-141ad7af67e3" providerId="ADAL" clId="{48B824AD-1B2A-47A8-8D92-6FE6E622A650}" dt="2024-12-16T18:22:15.634" v="188817"/>
          <ac:cxnSpMkLst>
            <pc:docMk/>
            <pc:sldMk cId="664108087" sldId="294"/>
            <ac:cxnSpMk id="817" creationId="{701B7D0E-E935-70C5-E549-2033F7FA20A3}"/>
          </ac:cxnSpMkLst>
        </pc:cxnChg>
        <pc:cxnChg chg="add del mod ord">
          <ac:chgData name="Oğuz Öztekin" userId="33c0df0f-d5fe-4bda-8f43-141ad7af67e3" providerId="ADAL" clId="{48B824AD-1B2A-47A8-8D92-6FE6E622A650}" dt="2024-12-16T18:22:08.092" v="186827"/>
          <ac:cxnSpMkLst>
            <pc:docMk/>
            <pc:sldMk cId="664108087" sldId="294"/>
            <ac:cxnSpMk id="818" creationId="{3A4B4740-4C3E-8F2C-05FF-8F1426B0FEA7}"/>
          </ac:cxnSpMkLst>
        </pc:cxnChg>
        <pc:cxnChg chg="add del mod ord">
          <ac:chgData name="Oğuz Öztekin" userId="33c0df0f-d5fe-4bda-8f43-141ad7af67e3" providerId="ADAL" clId="{48B824AD-1B2A-47A8-8D92-6FE6E622A650}" dt="2024-12-16T18:22:08.094" v="186830"/>
          <ac:cxnSpMkLst>
            <pc:docMk/>
            <pc:sldMk cId="664108087" sldId="294"/>
            <ac:cxnSpMk id="819" creationId="{C4C6CD8A-15A7-B1F7-9F55-FE829AD27224}"/>
          </ac:cxnSpMkLst>
        </pc:cxnChg>
        <pc:cxnChg chg="add del mod ord">
          <ac:chgData name="Oğuz Öztekin" userId="33c0df0f-d5fe-4bda-8f43-141ad7af67e3" providerId="ADAL" clId="{48B824AD-1B2A-47A8-8D92-6FE6E622A650}" dt="2024-12-16T18:22:08.095" v="186833"/>
          <ac:cxnSpMkLst>
            <pc:docMk/>
            <pc:sldMk cId="664108087" sldId="294"/>
            <ac:cxnSpMk id="820" creationId="{204E01BE-B605-ACB1-3CDB-E0BE4A90409F}"/>
          </ac:cxnSpMkLst>
        </pc:cxnChg>
        <pc:cxnChg chg="add del mod ord">
          <ac:chgData name="Oğuz Öztekin" userId="33c0df0f-d5fe-4bda-8f43-141ad7af67e3" providerId="ADAL" clId="{48B824AD-1B2A-47A8-8D92-6FE6E622A650}" dt="2024-12-16T18:22:08.096" v="186836"/>
          <ac:cxnSpMkLst>
            <pc:docMk/>
            <pc:sldMk cId="664108087" sldId="294"/>
            <ac:cxnSpMk id="821" creationId="{BE138BF8-BF67-B95D-E2ED-CD1E04894690}"/>
          </ac:cxnSpMkLst>
        </pc:cxnChg>
        <pc:cxnChg chg="add del mod ord">
          <ac:chgData name="Oğuz Öztekin" userId="33c0df0f-d5fe-4bda-8f43-141ad7af67e3" providerId="ADAL" clId="{48B824AD-1B2A-47A8-8D92-6FE6E622A650}" dt="2024-12-16T18:22:08.097" v="186839"/>
          <ac:cxnSpMkLst>
            <pc:docMk/>
            <pc:sldMk cId="664108087" sldId="294"/>
            <ac:cxnSpMk id="822" creationId="{A2513C7C-47DA-3CC4-C3AF-DFB68FC84E90}"/>
          </ac:cxnSpMkLst>
        </pc:cxnChg>
        <pc:cxnChg chg="add del mod ord">
          <ac:chgData name="Oğuz Öztekin" userId="33c0df0f-d5fe-4bda-8f43-141ad7af67e3" providerId="ADAL" clId="{48B824AD-1B2A-47A8-8D92-6FE6E622A650}" dt="2024-12-16T18:22:08.097" v="186842"/>
          <ac:cxnSpMkLst>
            <pc:docMk/>
            <pc:sldMk cId="664108087" sldId="294"/>
            <ac:cxnSpMk id="823" creationId="{29B50EF3-6885-C2C2-A9C5-77DF633D7722}"/>
          </ac:cxnSpMkLst>
        </pc:cxnChg>
        <pc:cxnChg chg="add del mod ord">
          <ac:chgData name="Oğuz Öztekin" userId="33c0df0f-d5fe-4bda-8f43-141ad7af67e3" providerId="ADAL" clId="{48B824AD-1B2A-47A8-8D92-6FE6E622A650}" dt="2024-12-16T18:22:08.098" v="186845"/>
          <ac:cxnSpMkLst>
            <pc:docMk/>
            <pc:sldMk cId="664108087" sldId="294"/>
            <ac:cxnSpMk id="824" creationId="{BCDF3229-282C-3F1B-26EA-AC0139A9C3B3}"/>
          </ac:cxnSpMkLst>
        </pc:cxnChg>
        <pc:cxnChg chg="add del mod ord">
          <ac:chgData name="Oğuz Öztekin" userId="33c0df0f-d5fe-4bda-8f43-141ad7af67e3" providerId="ADAL" clId="{48B824AD-1B2A-47A8-8D92-6FE6E622A650}" dt="2024-12-16T18:22:08.099" v="186848"/>
          <ac:cxnSpMkLst>
            <pc:docMk/>
            <pc:sldMk cId="664108087" sldId="294"/>
            <ac:cxnSpMk id="825" creationId="{E10C313E-ED6D-0F75-E244-DB9E2E7A1BD9}"/>
          </ac:cxnSpMkLst>
        </pc:cxnChg>
        <pc:cxnChg chg="add del mod ord">
          <ac:chgData name="Oğuz Öztekin" userId="33c0df0f-d5fe-4bda-8f43-141ad7af67e3" providerId="ADAL" clId="{48B824AD-1B2A-47A8-8D92-6FE6E622A650}" dt="2024-12-16T18:22:08.100" v="186851"/>
          <ac:cxnSpMkLst>
            <pc:docMk/>
            <pc:sldMk cId="664108087" sldId="294"/>
            <ac:cxnSpMk id="826" creationId="{1DED9079-DCF6-9164-80D8-7CD5DAC9DB73}"/>
          </ac:cxnSpMkLst>
        </pc:cxnChg>
        <pc:cxnChg chg="add del mod ord">
          <ac:chgData name="Oğuz Öztekin" userId="33c0df0f-d5fe-4bda-8f43-141ad7af67e3" providerId="ADAL" clId="{48B824AD-1B2A-47A8-8D92-6FE6E622A650}" dt="2024-12-16T18:22:08.101" v="186854"/>
          <ac:cxnSpMkLst>
            <pc:docMk/>
            <pc:sldMk cId="664108087" sldId="294"/>
            <ac:cxnSpMk id="827" creationId="{60A4D55B-E878-8464-9BE3-F4D5D287115D}"/>
          </ac:cxnSpMkLst>
        </pc:cxnChg>
        <pc:cxnChg chg="add del mod ord">
          <ac:chgData name="Oğuz Öztekin" userId="33c0df0f-d5fe-4bda-8f43-141ad7af67e3" providerId="ADAL" clId="{48B824AD-1B2A-47A8-8D92-6FE6E622A650}" dt="2024-12-16T18:22:08.102" v="186857"/>
          <ac:cxnSpMkLst>
            <pc:docMk/>
            <pc:sldMk cId="664108087" sldId="294"/>
            <ac:cxnSpMk id="828" creationId="{20BAF0EE-4984-8551-5C38-EC964A506157}"/>
          </ac:cxnSpMkLst>
        </pc:cxnChg>
        <pc:cxnChg chg="add del mod ord">
          <ac:chgData name="Oğuz Öztekin" userId="33c0df0f-d5fe-4bda-8f43-141ad7af67e3" providerId="ADAL" clId="{48B824AD-1B2A-47A8-8D92-6FE6E622A650}" dt="2024-12-16T18:22:08.103" v="186860"/>
          <ac:cxnSpMkLst>
            <pc:docMk/>
            <pc:sldMk cId="664108087" sldId="294"/>
            <ac:cxnSpMk id="829" creationId="{55132D63-2665-9960-1ADE-6B3BD2C2437A}"/>
          </ac:cxnSpMkLst>
        </pc:cxnChg>
        <pc:cxnChg chg="add del mod ord">
          <ac:chgData name="Oğuz Öztekin" userId="33c0df0f-d5fe-4bda-8f43-141ad7af67e3" providerId="ADAL" clId="{48B824AD-1B2A-47A8-8D92-6FE6E622A650}" dt="2024-12-16T18:22:08.103" v="186863"/>
          <ac:cxnSpMkLst>
            <pc:docMk/>
            <pc:sldMk cId="664108087" sldId="294"/>
            <ac:cxnSpMk id="830" creationId="{D734CF3F-FA36-AFFC-2B80-8FD9D7D2A775}"/>
          </ac:cxnSpMkLst>
        </pc:cxnChg>
        <pc:cxnChg chg="add del mod ord">
          <ac:chgData name="Oğuz Öztekin" userId="33c0df0f-d5fe-4bda-8f43-141ad7af67e3" providerId="ADAL" clId="{48B824AD-1B2A-47A8-8D92-6FE6E622A650}" dt="2024-12-16T18:22:08.104" v="186866"/>
          <ac:cxnSpMkLst>
            <pc:docMk/>
            <pc:sldMk cId="664108087" sldId="294"/>
            <ac:cxnSpMk id="831" creationId="{B14DC7D0-F9A1-7E06-05CA-2746A9ED35D6}"/>
          </ac:cxnSpMkLst>
        </pc:cxnChg>
        <pc:cxnChg chg="add del mod ord">
          <ac:chgData name="Oğuz Öztekin" userId="33c0df0f-d5fe-4bda-8f43-141ad7af67e3" providerId="ADAL" clId="{48B824AD-1B2A-47A8-8D92-6FE6E622A650}" dt="2024-12-16T18:22:08.105" v="186869"/>
          <ac:cxnSpMkLst>
            <pc:docMk/>
            <pc:sldMk cId="664108087" sldId="294"/>
            <ac:cxnSpMk id="832" creationId="{68FBDC8A-A564-C61B-0A43-7FAA047AC3C2}"/>
          </ac:cxnSpMkLst>
        </pc:cxnChg>
        <pc:cxnChg chg="add del mod ord">
          <ac:chgData name="Oğuz Öztekin" userId="33c0df0f-d5fe-4bda-8f43-141ad7af67e3" providerId="ADAL" clId="{48B824AD-1B2A-47A8-8D92-6FE6E622A650}" dt="2024-12-16T18:22:08.107" v="186872"/>
          <ac:cxnSpMkLst>
            <pc:docMk/>
            <pc:sldMk cId="664108087" sldId="294"/>
            <ac:cxnSpMk id="833" creationId="{5B26360B-E439-1BDE-F95A-12C79400DAAB}"/>
          </ac:cxnSpMkLst>
        </pc:cxnChg>
        <pc:cxnChg chg="add del mod ord">
          <ac:chgData name="Oğuz Öztekin" userId="33c0df0f-d5fe-4bda-8f43-141ad7af67e3" providerId="ADAL" clId="{48B824AD-1B2A-47A8-8D92-6FE6E622A650}" dt="2024-12-16T18:22:08.107" v="186875"/>
          <ac:cxnSpMkLst>
            <pc:docMk/>
            <pc:sldMk cId="664108087" sldId="294"/>
            <ac:cxnSpMk id="834" creationId="{32E3EB90-D758-7321-737F-A371DEEDD6DD}"/>
          </ac:cxnSpMkLst>
        </pc:cxnChg>
        <pc:cxnChg chg="add del mod ord">
          <ac:chgData name="Oğuz Öztekin" userId="33c0df0f-d5fe-4bda-8f43-141ad7af67e3" providerId="ADAL" clId="{48B824AD-1B2A-47A8-8D92-6FE6E622A650}" dt="2024-12-16T18:22:08.108" v="186878"/>
          <ac:cxnSpMkLst>
            <pc:docMk/>
            <pc:sldMk cId="664108087" sldId="294"/>
            <ac:cxnSpMk id="835" creationId="{0FC77333-60B8-C6B4-7029-F4645356A0A3}"/>
          </ac:cxnSpMkLst>
        </pc:cxnChg>
        <pc:cxnChg chg="add del mod ord">
          <ac:chgData name="Oğuz Öztekin" userId="33c0df0f-d5fe-4bda-8f43-141ad7af67e3" providerId="ADAL" clId="{48B824AD-1B2A-47A8-8D92-6FE6E622A650}" dt="2024-12-16T18:22:08.109" v="186881"/>
          <ac:cxnSpMkLst>
            <pc:docMk/>
            <pc:sldMk cId="664108087" sldId="294"/>
            <ac:cxnSpMk id="836" creationId="{AE5415A2-7B86-6843-5A29-F40306682993}"/>
          </ac:cxnSpMkLst>
        </pc:cxnChg>
        <pc:cxnChg chg="add del mod ord">
          <ac:chgData name="Oğuz Öztekin" userId="33c0df0f-d5fe-4bda-8f43-141ad7af67e3" providerId="ADAL" clId="{48B824AD-1B2A-47A8-8D92-6FE6E622A650}" dt="2024-12-16T18:22:08.109" v="186884"/>
          <ac:cxnSpMkLst>
            <pc:docMk/>
            <pc:sldMk cId="664108087" sldId="294"/>
            <ac:cxnSpMk id="837" creationId="{70FD872A-DEB8-F56A-8911-BA306FE82805}"/>
          </ac:cxnSpMkLst>
        </pc:cxnChg>
        <pc:cxnChg chg="add mod ord">
          <ac:chgData name="Oğuz Öztekin" userId="33c0df0f-d5fe-4bda-8f43-141ad7af67e3" providerId="ADAL" clId="{48B824AD-1B2A-47A8-8D92-6FE6E622A650}" dt="2024-12-16T18:30:17.498" v="202732"/>
          <ac:cxnSpMkLst>
            <pc:docMk/>
            <pc:sldMk cId="664108087" sldId="294"/>
            <ac:cxnSpMk id="868" creationId="{9C2132EC-287A-8A0F-E781-BC8283DA29A8}"/>
          </ac:cxnSpMkLst>
        </pc:cxnChg>
        <pc:cxnChg chg="add mod ord">
          <ac:chgData name="Oğuz Öztekin" userId="33c0df0f-d5fe-4bda-8f43-141ad7af67e3" providerId="ADAL" clId="{48B824AD-1B2A-47A8-8D92-6FE6E622A650}" dt="2024-12-16T18:30:17.498" v="202734"/>
          <ac:cxnSpMkLst>
            <pc:docMk/>
            <pc:sldMk cId="664108087" sldId="294"/>
            <ac:cxnSpMk id="869" creationId="{7C5C5ADE-432A-E99F-5637-7D8300420CD6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18:32:37.693" v="203085"/>
        <pc:sldMkLst>
          <pc:docMk/>
          <pc:sldMk cId="2266923667" sldId="295"/>
        </pc:sldMkLst>
        <pc:spChg chg="mod ord">
          <ac:chgData name="Oğuz Öztekin" userId="33c0df0f-d5fe-4bda-8f43-141ad7af67e3" providerId="ADAL" clId="{48B824AD-1B2A-47A8-8D92-6FE6E622A650}" dt="2024-12-16T18:32:37.675" v="203061" actId="948"/>
          <ac:spMkLst>
            <pc:docMk/>
            <pc:sldMk cId="2266923667" sldId="295"/>
            <ac:spMk id="2" creationId="{BCD7E439-08FC-CFF6-A832-9B7B88B92B45}"/>
          </ac:spMkLst>
        </pc:spChg>
        <pc:spChg chg="add del mod modVis">
          <ac:chgData name="Oğuz Öztekin" userId="33c0df0f-d5fe-4bda-8f43-141ad7af67e3" providerId="ADAL" clId="{48B824AD-1B2A-47A8-8D92-6FE6E622A650}" dt="2024-12-16T18:25:28.015" v="197824"/>
          <ac:spMkLst>
            <pc:docMk/>
            <pc:sldMk cId="2266923667" sldId="295"/>
            <ac:spMk id="4" creationId="{A7E7D83A-1DF3-9075-BD26-A7A685165D07}"/>
          </ac:spMkLst>
        </pc:spChg>
        <pc:spChg chg="add del mod modVis">
          <ac:chgData name="Oğuz Öztekin" userId="33c0df0f-d5fe-4bda-8f43-141ad7af67e3" providerId="ADAL" clId="{48B824AD-1B2A-47A8-8D92-6FE6E622A650}" dt="2024-12-16T18:25:35.907" v="198055"/>
          <ac:spMkLst>
            <pc:docMk/>
            <pc:sldMk cId="2266923667" sldId="295"/>
            <ac:spMk id="5" creationId="{03211789-6366-75D6-A368-EB5133833DFF}"/>
          </ac:spMkLst>
        </pc:spChg>
        <pc:spChg chg="add del mod modVis">
          <ac:chgData name="Oğuz Öztekin" userId="33c0df0f-d5fe-4bda-8f43-141ad7af67e3" providerId="ADAL" clId="{48B824AD-1B2A-47A8-8D92-6FE6E622A650}" dt="2024-12-16T18:26:11.159" v="198197"/>
          <ac:spMkLst>
            <pc:docMk/>
            <pc:sldMk cId="2266923667" sldId="295"/>
            <ac:spMk id="7" creationId="{5627B0DA-DD93-CF8D-FCD3-091DA8491E99}"/>
          </ac:spMkLst>
        </pc:spChg>
        <pc:spChg chg="add del mod modVis">
          <ac:chgData name="Oğuz Öztekin" userId="33c0df0f-d5fe-4bda-8f43-141ad7af67e3" providerId="ADAL" clId="{48B824AD-1B2A-47A8-8D92-6FE6E622A650}" dt="2024-12-16T18:26:13.513" v="198314"/>
          <ac:spMkLst>
            <pc:docMk/>
            <pc:sldMk cId="2266923667" sldId="295"/>
            <ac:spMk id="9" creationId="{9E6F42A7-BCBE-F186-A457-4A5A1A9B0269}"/>
          </ac:spMkLst>
        </pc:spChg>
        <pc:spChg chg="add del mod modVis">
          <ac:chgData name="Oğuz Öztekin" userId="33c0df0f-d5fe-4bda-8f43-141ad7af67e3" providerId="ADAL" clId="{48B824AD-1B2A-47A8-8D92-6FE6E622A650}" dt="2024-12-16T18:26:47.396" v="198395"/>
          <ac:spMkLst>
            <pc:docMk/>
            <pc:sldMk cId="2266923667" sldId="295"/>
            <ac:spMk id="11" creationId="{2DC55127-B2FB-E4BA-7F1F-209A436DE4E7}"/>
          </ac:spMkLst>
        </pc:spChg>
        <pc:spChg chg="add del mod modVis">
          <ac:chgData name="Oğuz Öztekin" userId="33c0df0f-d5fe-4bda-8f43-141ad7af67e3" providerId="ADAL" clId="{48B824AD-1B2A-47A8-8D92-6FE6E622A650}" dt="2024-12-16T18:26:55.918" v="198506"/>
          <ac:spMkLst>
            <pc:docMk/>
            <pc:sldMk cId="2266923667" sldId="295"/>
            <ac:spMk id="13" creationId="{817CE74F-0494-BEA5-7DCB-CABA1E4937E6}"/>
          </ac:spMkLst>
        </pc:spChg>
        <pc:spChg chg="add mod">
          <ac:chgData name="Oğuz Öztekin" userId="33c0df0f-d5fe-4bda-8f43-141ad7af67e3" providerId="ADAL" clId="{48B824AD-1B2A-47A8-8D92-6FE6E622A650}" dt="2024-12-16T18:31:09.269" v="202999"/>
          <ac:spMkLst>
            <pc:docMk/>
            <pc:sldMk cId="2266923667" sldId="295"/>
            <ac:spMk id="15" creationId="{77D77E17-FAC3-FDB9-8BE0-35C29FD77513}"/>
          </ac:spMkLst>
        </pc:spChg>
        <pc:spChg chg="add mod">
          <ac:chgData name="Oğuz Öztekin" userId="33c0df0f-d5fe-4bda-8f43-141ad7af67e3" providerId="ADAL" clId="{48B824AD-1B2A-47A8-8D92-6FE6E622A650}" dt="2024-12-16T18:31:09.269" v="203000"/>
          <ac:spMkLst>
            <pc:docMk/>
            <pc:sldMk cId="2266923667" sldId="295"/>
            <ac:spMk id="16" creationId="{94492964-7511-7EA4-CE9B-2B74E26294D1}"/>
          </ac:spMkLst>
        </pc:spChg>
        <pc:spChg chg="add mod">
          <ac:chgData name="Oğuz Öztekin" userId="33c0df0f-d5fe-4bda-8f43-141ad7af67e3" providerId="ADAL" clId="{48B824AD-1B2A-47A8-8D92-6FE6E622A650}" dt="2024-12-16T18:31:09.270" v="203001"/>
          <ac:spMkLst>
            <pc:docMk/>
            <pc:sldMk cId="2266923667" sldId="295"/>
            <ac:spMk id="17" creationId="{FA6613E4-6415-4CF6-3F0C-3CF70CFE91D4}"/>
          </ac:spMkLst>
        </pc:spChg>
        <pc:spChg chg="add del mod">
          <ac:chgData name="Oğuz Öztekin" userId="33c0df0f-d5fe-4bda-8f43-141ad7af67e3" providerId="ADAL" clId="{48B824AD-1B2A-47A8-8D92-6FE6E622A650}" dt="2024-12-16T18:27:43.467" v="199678"/>
          <ac:spMkLst>
            <pc:docMk/>
            <pc:sldMk cId="2266923667" sldId="295"/>
            <ac:spMk id="18" creationId="{DFA35682-6A42-1290-921A-84FC4CBA6DE9}"/>
          </ac:spMkLst>
        </pc:spChg>
        <pc:spChg chg="add del mod">
          <ac:chgData name="Oğuz Öztekin" userId="33c0df0f-d5fe-4bda-8f43-141ad7af67e3" providerId="ADAL" clId="{48B824AD-1B2A-47A8-8D92-6FE6E622A650}" dt="2024-12-16T18:27:43.467" v="199681"/>
          <ac:spMkLst>
            <pc:docMk/>
            <pc:sldMk cId="2266923667" sldId="295"/>
            <ac:spMk id="19" creationId="{AB14DD1D-486A-3C59-8F98-455757E47414}"/>
          </ac:spMkLst>
        </pc:spChg>
        <pc:spChg chg="mod">
          <ac:chgData name="Oğuz Öztekin" userId="33c0df0f-d5fe-4bda-8f43-141ad7af67e3" providerId="ADAL" clId="{48B824AD-1B2A-47A8-8D92-6FE6E622A650}" dt="2024-12-16T18:31:09.266" v="202986"/>
          <ac:spMkLst>
            <pc:docMk/>
            <pc:sldMk cId="2266923667" sldId="295"/>
            <ac:spMk id="20" creationId="{CD9C130B-AF74-B3DD-4EB6-097CD3EE21AD}"/>
          </ac:spMkLst>
        </pc:spChg>
        <pc:spChg chg="add del mod">
          <ac:chgData name="Oğuz Öztekin" userId="33c0df0f-d5fe-4bda-8f43-141ad7af67e3" providerId="ADAL" clId="{48B824AD-1B2A-47A8-8D92-6FE6E622A650}" dt="2024-12-16T18:27:43.467" v="199684"/>
          <ac:spMkLst>
            <pc:docMk/>
            <pc:sldMk cId="2266923667" sldId="295"/>
            <ac:spMk id="21" creationId="{C420CB4F-E87F-3185-27FF-03A0D6AE4950}"/>
          </ac:spMkLst>
        </pc:spChg>
        <pc:spChg chg="add del mod">
          <ac:chgData name="Oğuz Öztekin" userId="33c0df0f-d5fe-4bda-8f43-141ad7af67e3" providerId="ADAL" clId="{48B824AD-1B2A-47A8-8D92-6FE6E622A650}" dt="2024-12-16T18:27:43.470" v="199687"/>
          <ac:spMkLst>
            <pc:docMk/>
            <pc:sldMk cId="2266923667" sldId="295"/>
            <ac:spMk id="22" creationId="{D6667977-820B-3766-7B38-47EEF2156941}"/>
          </ac:spMkLst>
        </pc:spChg>
        <pc:spChg chg="add del mod">
          <ac:chgData name="Oğuz Öztekin" userId="33c0df0f-d5fe-4bda-8f43-141ad7af67e3" providerId="ADAL" clId="{48B824AD-1B2A-47A8-8D92-6FE6E622A650}" dt="2024-12-16T18:27:43.470" v="199690"/>
          <ac:spMkLst>
            <pc:docMk/>
            <pc:sldMk cId="2266923667" sldId="295"/>
            <ac:spMk id="23" creationId="{C26AC4E2-FE21-0D09-4761-D515525FB482}"/>
          </ac:spMkLst>
        </pc:spChg>
        <pc:spChg chg="add del mod modVis">
          <ac:chgData name="Oğuz Öztekin" userId="33c0df0f-d5fe-4bda-8f43-141ad7af67e3" providerId="ADAL" clId="{48B824AD-1B2A-47A8-8D92-6FE6E622A650}" dt="2024-12-16T18:27:14.486" v="198799"/>
          <ac:spMkLst>
            <pc:docMk/>
            <pc:sldMk cId="2266923667" sldId="295"/>
            <ac:spMk id="24" creationId="{2C024D61-DF50-E376-7416-FB2C055D4FBF}"/>
          </ac:spMkLst>
        </pc:spChg>
        <pc:spChg chg="add del mod">
          <ac:chgData name="Oğuz Öztekin" userId="33c0df0f-d5fe-4bda-8f43-141ad7af67e3" providerId="ADAL" clId="{48B824AD-1B2A-47A8-8D92-6FE6E622A650}" dt="2024-12-16T18:27:43.470" v="199693"/>
          <ac:spMkLst>
            <pc:docMk/>
            <pc:sldMk cId="2266923667" sldId="295"/>
            <ac:spMk id="26" creationId="{D0CF3FC1-921C-2366-0AF3-008A81DEB0BB}"/>
          </ac:spMkLst>
        </pc:spChg>
        <pc:spChg chg="add del mod">
          <ac:chgData name="Oğuz Öztekin" userId="33c0df0f-d5fe-4bda-8f43-141ad7af67e3" providerId="ADAL" clId="{48B824AD-1B2A-47A8-8D92-6FE6E622A650}" dt="2024-12-16T18:27:43.470" v="199696"/>
          <ac:spMkLst>
            <pc:docMk/>
            <pc:sldMk cId="2266923667" sldId="295"/>
            <ac:spMk id="27" creationId="{A4B96620-5395-33D8-988C-1704CA4E5767}"/>
          </ac:spMkLst>
        </pc:spChg>
        <pc:spChg chg="add del mod">
          <ac:chgData name="Oğuz Öztekin" userId="33c0df0f-d5fe-4bda-8f43-141ad7af67e3" providerId="ADAL" clId="{48B824AD-1B2A-47A8-8D92-6FE6E622A650}" dt="2024-12-16T18:27:43.474" v="199699"/>
          <ac:spMkLst>
            <pc:docMk/>
            <pc:sldMk cId="2266923667" sldId="295"/>
            <ac:spMk id="28" creationId="{8D13D946-0957-2C71-0F39-BBCDA061962D}"/>
          </ac:spMkLst>
        </pc:spChg>
        <pc:spChg chg="mod">
          <ac:chgData name="Oğuz Öztekin" userId="33c0df0f-d5fe-4bda-8f43-141ad7af67e3" providerId="ADAL" clId="{48B824AD-1B2A-47A8-8D92-6FE6E622A650}" dt="2024-12-16T18:31:09.267" v="202987"/>
          <ac:spMkLst>
            <pc:docMk/>
            <pc:sldMk cId="2266923667" sldId="295"/>
            <ac:spMk id="29" creationId="{3A202433-D376-1EDF-4656-655DDC050BCD}"/>
          </ac:spMkLst>
        </pc:spChg>
        <pc:spChg chg="add del mod">
          <ac:chgData name="Oğuz Öztekin" userId="33c0df0f-d5fe-4bda-8f43-141ad7af67e3" providerId="ADAL" clId="{48B824AD-1B2A-47A8-8D92-6FE6E622A650}" dt="2024-12-16T18:27:43.474" v="199702"/>
          <ac:spMkLst>
            <pc:docMk/>
            <pc:sldMk cId="2266923667" sldId="295"/>
            <ac:spMk id="30" creationId="{081AD571-6CFC-606F-DB26-8B6E48B7D58E}"/>
          </ac:spMkLst>
        </pc:spChg>
        <pc:spChg chg="add del mod">
          <ac:chgData name="Oğuz Öztekin" userId="33c0df0f-d5fe-4bda-8f43-141ad7af67e3" providerId="ADAL" clId="{48B824AD-1B2A-47A8-8D92-6FE6E622A650}" dt="2024-12-16T18:27:43.474" v="199705"/>
          <ac:spMkLst>
            <pc:docMk/>
            <pc:sldMk cId="2266923667" sldId="295"/>
            <ac:spMk id="31" creationId="{6CABB666-A94F-431E-9D14-C2802E741243}"/>
          </ac:spMkLst>
        </pc:spChg>
        <pc:spChg chg="add del mod">
          <ac:chgData name="Oğuz Öztekin" userId="33c0df0f-d5fe-4bda-8f43-141ad7af67e3" providerId="ADAL" clId="{48B824AD-1B2A-47A8-8D92-6FE6E622A650}" dt="2024-12-16T18:27:43.474" v="199708"/>
          <ac:spMkLst>
            <pc:docMk/>
            <pc:sldMk cId="2266923667" sldId="295"/>
            <ac:spMk id="32" creationId="{F17A99C3-4789-DDD2-56FF-2B56F2409A02}"/>
          </ac:spMkLst>
        </pc:spChg>
        <pc:spChg chg="add del mod">
          <ac:chgData name="Oğuz Öztekin" userId="33c0df0f-d5fe-4bda-8f43-141ad7af67e3" providerId="ADAL" clId="{48B824AD-1B2A-47A8-8D92-6FE6E622A650}" dt="2024-12-16T18:27:43.474" v="199711"/>
          <ac:spMkLst>
            <pc:docMk/>
            <pc:sldMk cId="2266923667" sldId="295"/>
            <ac:spMk id="33" creationId="{2FDC0706-56C0-1E6C-32F7-F92B04B78930}"/>
          </ac:spMkLst>
        </pc:spChg>
        <pc:spChg chg="add del mod">
          <ac:chgData name="Oğuz Öztekin" userId="33c0df0f-d5fe-4bda-8f43-141ad7af67e3" providerId="ADAL" clId="{48B824AD-1B2A-47A8-8D92-6FE6E622A650}" dt="2024-12-16T18:27:43.474" v="199714"/>
          <ac:spMkLst>
            <pc:docMk/>
            <pc:sldMk cId="2266923667" sldId="295"/>
            <ac:spMk id="34" creationId="{CE5990EE-B203-BAD2-BA83-1CD15A023656}"/>
          </ac:spMkLst>
        </pc:spChg>
        <pc:spChg chg="mod">
          <ac:chgData name="Oğuz Öztekin" userId="33c0df0f-d5fe-4bda-8f43-141ad7af67e3" providerId="ADAL" clId="{48B824AD-1B2A-47A8-8D92-6FE6E622A650}" dt="2024-12-16T18:31:09.267" v="202988"/>
          <ac:spMkLst>
            <pc:docMk/>
            <pc:sldMk cId="2266923667" sldId="295"/>
            <ac:spMk id="35" creationId="{36502F2F-2896-3D69-0890-F3CA28A9AAEE}"/>
          </ac:spMkLst>
        </pc:spChg>
        <pc:spChg chg="mod">
          <ac:chgData name="Oğuz Öztekin" userId="33c0df0f-d5fe-4bda-8f43-141ad7af67e3" providerId="ADAL" clId="{48B824AD-1B2A-47A8-8D92-6FE6E622A650}" dt="2024-12-16T18:31:09.267" v="202989"/>
          <ac:spMkLst>
            <pc:docMk/>
            <pc:sldMk cId="2266923667" sldId="295"/>
            <ac:spMk id="36" creationId="{079E8A00-35A9-59B4-A6AC-325205721159}"/>
          </ac:spMkLst>
        </pc:spChg>
        <pc:spChg chg="mod">
          <ac:chgData name="Oğuz Öztekin" userId="33c0df0f-d5fe-4bda-8f43-141ad7af67e3" providerId="ADAL" clId="{48B824AD-1B2A-47A8-8D92-6FE6E622A650}" dt="2024-12-16T18:31:09.267" v="202990"/>
          <ac:spMkLst>
            <pc:docMk/>
            <pc:sldMk cId="2266923667" sldId="295"/>
            <ac:spMk id="37" creationId="{75E5D036-631F-70F7-8B38-DE3CD7F5AA36}"/>
          </ac:spMkLst>
        </pc:spChg>
        <pc:spChg chg="add del mod">
          <ac:chgData name="Oğuz Öztekin" userId="33c0df0f-d5fe-4bda-8f43-141ad7af67e3" providerId="ADAL" clId="{48B824AD-1B2A-47A8-8D92-6FE6E622A650}" dt="2024-12-16T18:27:43.474" v="199717"/>
          <ac:spMkLst>
            <pc:docMk/>
            <pc:sldMk cId="2266923667" sldId="295"/>
            <ac:spMk id="38" creationId="{A4F32127-0EBB-5103-43CA-0066C121585A}"/>
          </ac:spMkLst>
        </pc:spChg>
        <pc:spChg chg="add del mod">
          <ac:chgData name="Oğuz Öztekin" userId="33c0df0f-d5fe-4bda-8f43-141ad7af67e3" providerId="ADAL" clId="{48B824AD-1B2A-47A8-8D92-6FE6E622A650}" dt="2024-12-16T18:27:43.474" v="199720"/>
          <ac:spMkLst>
            <pc:docMk/>
            <pc:sldMk cId="2266923667" sldId="295"/>
            <ac:spMk id="39" creationId="{0C52ADA8-B1B0-1E04-6AF0-B85DBD019DA5}"/>
          </ac:spMkLst>
        </pc:spChg>
        <pc:spChg chg="add del mod">
          <ac:chgData name="Oğuz Öztekin" userId="33c0df0f-d5fe-4bda-8f43-141ad7af67e3" providerId="ADAL" clId="{48B824AD-1B2A-47A8-8D92-6FE6E622A650}" dt="2024-12-16T18:27:43.474" v="199723"/>
          <ac:spMkLst>
            <pc:docMk/>
            <pc:sldMk cId="2266923667" sldId="295"/>
            <ac:spMk id="40" creationId="{8F89D1C7-5C12-2F40-7415-C6634BCD284F}"/>
          </ac:spMkLst>
        </pc:spChg>
        <pc:spChg chg="add del mod modVis">
          <ac:chgData name="Oğuz Öztekin" userId="33c0df0f-d5fe-4bda-8f43-141ad7af67e3" providerId="ADAL" clId="{48B824AD-1B2A-47A8-8D92-6FE6E622A650}" dt="2024-12-16T18:27:30.378" v="199468"/>
          <ac:spMkLst>
            <pc:docMk/>
            <pc:sldMk cId="2266923667" sldId="295"/>
            <ac:spMk id="41" creationId="{B654AAC8-54EF-9C83-D887-5B2947ADBAEF}"/>
          </ac:spMkLst>
        </pc:spChg>
        <pc:spChg chg="add del mod modVis">
          <ac:chgData name="Oğuz Öztekin" userId="33c0df0f-d5fe-4bda-8f43-141ad7af67e3" providerId="ADAL" clId="{48B824AD-1B2A-47A8-8D92-6FE6E622A650}" dt="2024-12-16T18:27:34.941" v="199673"/>
          <ac:spMkLst>
            <pc:docMk/>
            <pc:sldMk cId="2266923667" sldId="295"/>
            <ac:spMk id="62" creationId="{B0982688-7C23-4260-635F-D77C6AE244C0}"/>
          </ac:spMkLst>
        </pc:spChg>
        <pc:spChg chg="add del mod modVis">
          <ac:chgData name="Oğuz Öztekin" userId="33c0df0f-d5fe-4bda-8f43-141ad7af67e3" providerId="ADAL" clId="{48B824AD-1B2A-47A8-8D92-6FE6E622A650}" dt="2024-12-16T18:28:17.802" v="200656"/>
          <ac:spMkLst>
            <pc:docMk/>
            <pc:sldMk cId="2266923667" sldId="295"/>
            <ac:spMk id="78" creationId="{70457D38-ADB9-9937-7820-22E3C0884983}"/>
          </ac:spMkLst>
        </pc:spChg>
        <pc:spChg chg="add del mod modVis">
          <ac:chgData name="Oğuz Öztekin" userId="33c0df0f-d5fe-4bda-8f43-141ad7af67e3" providerId="ADAL" clId="{48B824AD-1B2A-47A8-8D92-6FE6E622A650}" dt="2024-12-16T18:28:41.794" v="200829"/>
          <ac:spMkLst>
            <pc:docMk/>
            <pc:sldMk cId="2266923667" sldId="295"/>
            <ac:spMk id="80" creationId="{E5B24E10-BF14-5CC0-18D7-E6ACE9FC5B82}"/>
          </ac:spMkLst>
        </pc:spChg>
        <pc:spChg chg="add del mod modVis">
          <ac:chgData name="Oğuz Öztekin" userId="33c0df0f-d5fe-4bda-8f43-141ad7af67e3" providerId="ADAL" clId="{48B824AD-1B2A-47A8-8D92-6FE6E622A650}" dt="2024-12-16T18:28:50.883" v="200992"/>
          <ac:spMkLst>
            <pc:docMk/>
            <pc:sldMk cId="2266923667" sldId="295"/>
            <ac:spMk id="82" creationId="{CE85B43F-F871-757D-12E0-F58979C98775}"/>
          </ac:spMkLst>
        </pc:spChg>
        <pc:spChg chg="add del mod">
          <ac:chgData name="Oğuz Öztekin" userId="33c0df0f-d5fe-4bda-8f43-141ad7af67e3" providerId="ADAL" clId="{48B824AD-1B2A-47A8-8D92-6FE6E622A650}" dt="2024-12-16T18:29:51.174" v="202014"/>
          <ac:spMkLst>
            <pc:docMk/>
            <pc:sldMk cId="2266923667" sldId="295"/>
            <ac:spMk id="84" creationId="{EF8D4520-32A8-8F64-6794-EB4BE2722A31}"/>
          </ac:spMkLst>
        </pc:spChg>
        <pc:spChg chg="add del mod">
          <ac:chgData name="Oğuz Öztekin" userId="33c0df0f-d5fe-4bda-8f43-141ad7af67e3" providerId="ADAL" clId="{48B824AD-1B2A-47A8-8D92-6FE6E622A650}" dt="2024-12-16T18:29:51.175" v="202017"/>
          <ac:spMkLst>
            <pc:docMk/>
            <pc:sldMk cId="2266923667" sldId="295"/>
            <ac:spMk id="85" creationId="{135C9DCA-893D-D641-2DFF-A5B6FDBB0F88}"/>
          </ac:spMkLst>
        </pc:spChg>
        <pc:spChg chg="mod">
          <ac:chgData name="Oğuz Öztekin" userId="33c0df0f-d5fe-4bda-8f43-141ad7af67e3" providerId="ADAL" clId="{48B824AD-1B2A-47A8-8D92-6FE6E622A650}" dt="2024-12-16T18:31:09.268" v="202991"/>
          <ac:spMkLst>
            <pc:docMk/>
            <pc:sldMk cId="2266923667" sldId="295"/>
            <ac:spMk id="86" creationId="{C7270AE9-07B0-98DB-9B14-09D1F99EA3A8}"/>
          </ac:spMkLst>
        </pc:spChg>
        <pc:spChg chg="mod">
          <ac:chgData name="Oğuz Öztekin" userId="33c0df0f-d5fe-4bda-8f43-141ad7af67e3" providerId="ADAL" clId="{48B824AD-1B2A-47A8-8D92-6FE6E622A650}" dt="2024-12-16T18:31:09.268" v="202992"/>
          <ac:spMkLst>
            <pc:docMk/>
            <pc:sldMk cId="2266923667" sldId="295"/>
            <ac:spMk id="87" creationId="{196DEEAD-EA3D-38D0-3169-7587D77AC977}"/>
          </ac:spMkLst>
        </pc:spChg>
        <pc:spChg chg="mod">
          <ac:chgData name="Oğuz Öztekin" userId="33c0df0f-d5fe-4bda-8f43-141ad7af67e3" providerId="ADAL" clId="{48B824AD-1B2A-47A8-8D92-6FE6E622A650}" dt="2024-12-16T18:31:09.268" v="202993"/>
          <ac:spMkLst>
            <pc:docMk/>
            <pc:sldMk cId="2266923667" sldId="295"/>
            <ac:spMk id="88" creationId="{ABE537D0-CAE6-6B5D-6350-3160B5C90870}"/>
          </ac:spMkLst>
        </pc:spChg>
        <pc:spChg chg="mod">
          <ac:chgData name="Oğuz Öztekin" userId="33c0df0f-d5fe-4bda-8f43-141ad7af67e3" providerId="ADAL" clId="{48B824AD-1B2A-47A8-8D92-6FE6E622A650}" dt="2024-12-16T18:31:09.268" v="202994"/>
          <ac:spMkLst>
            <pc:docMk/>
            <pc:sldMk cId="2266923667" sldId="295"/>
            <ac:spMk id="89" creationId="{7C5E0481-6693-6E68-BF14-82242C944190}"/>
          </ac:spMkLst>
        </pc:spChg>
        <pc:spChg chg="mod">
          <ac:chgData name="Oğuz Öztekin" userId="33c0df0f-d5fe-4bda-8f43-141ad7af67e3" providerId="ADAL" clId="{48B824AD-1B2A-47A8-8D92-6FE6E622A650}" dt="2024-12-16T18:31:09.268" v="202995"/>
          <ac:spMkLst>
            <pc:docMk/>
            <pc:sldMk cId="2266923667" sldId="295"/>
            <ac:spMk id="90" creationId="{D8B17D6C-3752-8590-50CD-AB9B5A43ED5A}"/>
          </ac:spMkLst>
        </pc:spChg>
        <pc:spChg chg="mod">
          <ac:chgData name="Oğuz Öztekin" userId="33c0df0f-d5fe-4bda-8f43-141ad7af67e3" providerId="ADAL" clId="{48B824AD-1B2A-47A8-8D92-6FE6E622A650}" dt="2024-12-16T18:31:09.268" v="202996"/>
          <ac:spMkLst>
            <pc:docMk/>
            <pc:sldMk cId="2266923667" sldId="295"/>
            <ac:spMk id="91" creationId="{FD24076D-624A-77E5-88E4-C8C2782B3B82}"/>
          </ac:spMkLst>
        </pc:spChg>
        <pc:spChg chg="mod">
          <ac:chgData name="Oğuz Öztekin" userId="33c0df0f-d5fe-4bda-8f43-141ad7af67e3" providerId="ADAL" clId="{48B824AD-1B2A-47A8-8D92-6FE6E622A650}" dt="2024-12-16T18:31:09.269" v="202997"/>
          <ac:spMkLst>
            <pc:docMk/>
            <pc:sldMk cId="2266923667" sldId="295"/>
            <ac:spMk id="92" creationId="{A3E5C4DF-2621-8E30-24E1-B0E705DFA907}"/>
          </ac:spMkLst>
        </pc:spChg>
        <pc:spChg chg="add del mod">
          <ac:chgData name="Oğuz Öztekin" userId="33c0df0f-d5fe-4bda-8f43-141ad7af67e3" providerId="ADAL" clId="{48B824AD-1B2A-47A8-8D92-6FE6E622A650}" dt="2024-12-16T18:29:51.175" v="202020"/>
          <ac:spMkLst>
            <pc:docMk/>
            <pc:sldMk cId="2266923667" sldId="295"/>
            <ac:spMk id="93" creationId="{F3633CD6-1CD1-99E4-B879-144FBAF8B586}"/>
          </ac:spMkLst>
        </pc:spChg>
        <pc:spChg chg="add del mod">
          <ac:chgData name="Oğuz Öztekin" userId="33c0df0f-d5fe-4bda-8f43-141ad7af67e3" providerId="ADAL" clId="{48B824AD-1B2A-47A8-8D92-6FE6E622A650}" dt="2024-12-16T18:29:51.176" v="202023"/>
          <ac:spMkLst>
            <pc:docMk/>
            <pc:sldMk cId="2266923667" sldId="295"/>
            <ac:spMk id="94" creationId="{5A8125E6-0A61-BD2E-2E75-448804BCA6B7}"/>
          </ac:spMkLst>
        </pc:spChg>
        <pc:spChg chg="add del mod">
          <ac:chgData name="Oğuz Öztekin" userId="33c0df0f-d5fe-4bda-8f43-141ad7af67e3" providerId="ADAL" clId="{48B824AD-1B2A-47A8-8D92-6FE6E622A650}" dt="2024-12-16T18:29:51.177" v="202026"/>
          <ac:spMkLst>
            <pc:docMk/>
            <pc:sldMk cId="2266923667" sldId="295"/>
            <ac:spMk id="95" creationId="{A4B03104-73FC-0AC5-A0C8-D6A1AD70E77B}"/>
          </ac:spMkLst>
        </pc:spChg>
        <pc:spChg chg="add del mod modVis">
          <ac:chgData name="Oğuz Öztekin" userId="33c0df0f-d5fe-4bda-8f43-141ad7af67e3" providerId="ADAL" clId="{48B824AD-1B2A-47A8-8D92-6FE6E622A650}" dt="2024-12-16T18:27:43.577" v="199854"/>
          <ac:spMkLst>
            <pc:docMk/>
            <pc:sldMk cId="2266923667" sldId="295"/>
            <ac:spMk id="289" creationId="{7D8E803E-4D78-09E0-DE4A-2BA96DC1D072}"/>
          </ac:spMkLst>
        </pc:spChg>
        <pc:spChg chg="add del mod">
          <ac:chgData name="Oğuz Öztekin" userId="33c0df0f-d5fe-4bda-8f43-141ad7af67e3" providerId="ADAL" clId="{48B824AD-1B2A-47A8-8D92-6FE6E622A650}" dt="2024-12-16T18:29:51.164" v="201978"/>
          <ac:spMkLst>
            <pc:docMk/>
            <pc:sldMk cId="2266923667" sldId="295"/>
            <ac:spMk id="291" creationId="{9E04A2D4-C6E4-0606-FD17-DE3D634DBAD8}"/>
          </ac:spMkLst>
        </pc:spChg>
        <pc:spChg chg="mod">
          <ac:chgData name="Oğuz Öztekin" userId="33c0df0f-d5fe-4bda-8f43-141ad7af67e3" providerId="ADAL" clId="{48B824AD-1B2A-47A8-8D92-6FE6E622A650}" dt="2024-12-16T18:31:09.269" v="202998"/>
          <ac:spMkLst>
            <pc:docMk/>
            <pc:sldMk cId="2266923667" sldId="295"/>
            <ac:spMk id="292" creationId="{99EE7145-AC1F-E5CA-1FC9-A664197FC275}"/>
          </ac:spMkLst>
        </pc:spChg>
        <pc:spChg chg="add del mod">
          <ac:chgData name="Oğuz Öztekin" userId="33c0df0f-d5fe-4bda-8f43-141ad7af67e3" providerId="ADAL" clId="{48B824AD-1B2A-47A8-8D92-6FE6E622A650}" dt="2024-12-16T18:29:51.164" v="201981"/>
          <ac:spMkLst>
            <pc:docMk/>
            <pc:sldMk cId="2266923667" sldId="295"/>
            <ac:spMk id="294" creationId="{73D6A15E-9C5C-1F62-5A39-B185B712C4DD}"/>
          </ac:spMkLst>
        </pc:spChg>
        <pc:spChg chg="del mod">
          <ac:chgData name="Oğuz Öztekin" userId="33c0df0f-d5fe-4bda-8f43-141ad7af67e3" providerId="ADAL" clId="{48B824AD-1B2A-47A8-8D92-6FE6E622A650}" dt="2024-12-16T18:26:11.111" v="198125"/>
          <ac:spMkLst>
            <pc:docMk/>
            <pc:sldMk cId="2266923667" sldId="295"/>
            <ac:spMk id="295" creationId="{4ECC55FC-EB74-407A-9B38-E4F13E555C01}"/>
          </ac:spMkLst>
        </pc:spChg>
        <pc:spChg chg="add del mod">
          <ac:chgData name="Oğuz Öztekin" userId="33c0df0f-d5fe-4bda-8f43-141ad7af67e3" providerId="ADAL" clId="{48B824AD-1B2A-47A8-8D92-6FE6E622A650}" dt="2024-12-16T18:29:51.165" v="201984"/>
          <ac:spMkLst>
            <pc:docMk/>
            <pc:sldMk cId="2266923667" sldId="295"/>
            <ac:spMk id="296" creationId="{15BF4038-99D8-6C0A-1D85-143F02AA7119}"/>
          </ac:spMkLst>
        </pc:spChg>
        <pc:spChg chg="add del mod">
          <ac:chgData name="Oğuz Öztekin" userId="33c0df0f-d5fe-4bda-8f43-141ad7af67e3" providerId="ADAL" clId="{48B824AD-1B2A-47A8-8D92-6FE6E622A650}" dt="2024-12-16T18:29:51.167" v="201987"/>
          <ac:spMkLst>
            <pc:docMk/>
            <pc:sldMk cId="2266923667" sldId="295"/>
            <ac:spMk id="297" creationId="{8178FA32-EE63-55DA-A35D-5A5AE55E9F87}"/>
          </ac:spMkLst>
        </pc:spChg>
        <pc:spChg chg="del mod">
          <ac:chgData name="Oğuz Öztekin" userId="33c0df0f-d5fe-4bda-8f43-141ad7af67e3" providerId="ADAL" clId="{48B824AD-1B2A-47A8-8D92-6FE6E622A650}" dt="2024-12-16T18:26:11.115" v="198133"/>
          <ac:spMkLst>
            <pc:docMk/>
            <pc:sldMk cId="2266923667" sldId="295"/>
            <ac:spMk id="298" creationId="{48428B26-238A-B050-7D33-128CB409F9BB}"/>
          </ac:spMkLst>
        </pc:spChg>
        <pc:spChg chg="add del mod">
          <ac:chgData name="Oğuz Öztekin" userId="33c0df0f-d5fe-4bda-8f43-141ad7af67e3" providerId="ADAL" clId="{48B824AD-1B2A-47A8-8D92-6FE6E622A650}" dt="2024-12-16T18:29:51.167" v="201990"/>
          <ac:spMkLst>
            <pc:docMk/>
            <pc:sldMk cId="2266923667" sldId="295"/>
            <ac:spMk id="299" creationId="{E682D74D-1DFD-2A87-ABE9-1E4980099621}"/>
          </ac:spMkLst>
        </pc:spChg>
        <pc:spChg chg="add del mod">
          <ac:chgData name="Oğuz Öztekin" userId="33c0df0f-d5fe-4bda-8f43-141ad7af67e3" providerId="ADAL" clId="{48B824AD-1B2A-47A8-8D92-6FE6E622A650}" dt="2024-12-16T18:29:51.168" v="201993"/>
          <ac:spMkLst>
            <pc:docMk/>
            <pc:sldMk cId="2266923667" sldId="295"/>
            <ac:spMk id="300" creationId="{D63F86BD-5069-19E7-A88E-BFAC63F7174E}"/>
          </ac:spMkLst>
        </pc:spChg>
        <pc:spChg chg="del mod">
          <ac:chgData name="Oğuz Öztekin" userId="33c0df0f-d5fe-4bda-8f43-141ad7af67e3" providerId="ADAL" clId="{48B824AD-1B2A-47A8-8D92-6FE6E622A650}" dt="2024-12-16T18:26:11.116" v="198137"/>
          <ac:spMkLst>
            <pc:docMk/>
            <pc:sldMk cId="2266923667" sldId="295"/>
            <ac:spMk id="301" creationId="{949C00B8-3D98-DF06-6832-2BC8B663ECE1}"/>
          </ac:spMkLst>
        </pc:spChg>
        <pc:spChg chg="add del mod">
          <ac:chgData name="Oğuz Öztekin" userId="33c0df0f-d5fe-4bda-8f43-141ad7af67e3" providerId="ADAL" clId="{48B824AD-1B2A-47A8-8D92-6FE6E622A650}" dt="2024-12-16T18:29:51.168" v="201996"/>
          <ac:spMkLst>
            <pc:docMk/>
            <pc:sldMk cId="2266923667" sldId="295"/>
            <ac:spMk id="302" creationId="{9D73D541-1B5B-D87D-D671-875469C7A567}"/>
          </ac:spMkLst>
        </pc:spChg>
        <pc:spChg chg="add del mod">
          <ac:chgData name="Oğuz Öztekin" userId="33c0df0f-d5fe-4bda-8f43-141ad7af67e3" providerId="ADAL" clId="{48B824AD-1B2A-47A8-8D92-6FE6E622A650}" dt="2024-12-16T18:29:51.170" v="201999"/>
          <ac:spMkLst>
            <pc:docMk/>
            <pc:sldMk cId="2266923667" sldId="295"/>
            <ac:spMk id="303" creationId="{A9CE3188-34BD-6F05-D295-3FADB6C83C92}"/>
          </ac:spMkLst>
        </pc:spChg>
        <pc:spChg chg="del mod">
          <ac:chgData name="Oğuz Öztekin" userId="33c0df0f-d5fe-4bda-8f43-141ad7af67e3" providerId="ADAL" clId="{48B824AD-1B2A-47A8-8D92-6FE6E622A650}" dt="2024-12-16T18:26:11.116" v="198141"/>
          <ac:spMkLst>
            <pc:docMk/>
            <pc:sldMk cId="2266923667" sldId="295"/>
            <ac:spMk id="304" creationId="{6D9AB9C2-405A-E519-3A58-508B75DB1338}"/>
          </ac:spMkLst>
        </pc:spChg>
        <pc:spChg chg="add del mod">
          <ac:chgData name="Oğuz Öztekin" userId="33c0df0f-d5fe-4bda-8f43-141ad7af67e3" providerId="ADAL" clId="{48B824AD-1B2A-47A8-8D92-6FE6E622A650}" dt="2024-12-16T18:29:51.170" v="202002"/>
          <ac:spMkLst>
            <pc:docMk/>
            <pc:sldMk cId="2266923667" sldId="295"/>
            <ac:spMk id="305" creationId="{DE784A8B-420D-C018-D235-7742B6643936}"/>
          </ac:spMkLst>
        </pc:spChg>
        <pc:spChg chg="add del mod">
          <ac:chgData name="Oğuz Öztekin" userId="33c0df0f-d5fe-4bda-8f43-141ad7af67e3" providerId="ADAL" clId="{48B824AD-1B2A-47A8-8D92-6FE6E622A650}" dt="2024-12-16T18:29:51.171" v="202005"/>
          <ac:spMkLst>
            <pc:docMk/>
            <pc:sldMk cId="2266923667" sldId="295"/>
            <ac:spMk id="307" creationId="{C875CCCD-797D-16FD-099A-B210575096ED}"/>
          </ac:spMkLst>
        </pc:spChg>
        <pc:spChg chg="del mod">
          <ac:chgData name="Oğuz Öztekin" userId="33c0df0f-d5fe-4bda-8f43-141ad7af67e3" providerId="ADAL" clId="{48B824AD-1B2A-47A8-8D92-6FE6E622A650}" dt="2024-12-16T18:26:11.120" v="198145"/>
          <ac:spMkLst>
            <pc:docMk/>
            <pc:sldMk cId="2266923667" sldId="295"/>
            <ac:spMk id="308" creationId="{A3B4C75C-4028-45DF-EFC9-3C6352F2D454}"/>
          </ac:spMkLst>
        </pc:spChg>
        <pc:spChg chg="add del mod">
          <ac:chgData name="Oğuz Öztekin" userId="33c0df0f-d5fe-4bda-8f43-141ad7af67e3" providerId="ADAL" clId="{48B824AD-1B2A-47A8-8D92-6FE6E622A650}" dt="2024-12-16T18:29:51.173" v="202008"/>
          <ac:spMkLst>
            <pc:docMk/>
            <pc:sldMk cId="2266923667" sldId="295"/>
            <ac:spMk id="309" creationId="{27FF3BD9-E64C-16A2-9DD7-24A6EEBC27EB}"/>
          </ac:spMkLst>
        </pc:spChg>
        <pc:spChg chg="add del mod">
          <ac:chgData name="Oğuz Öztekin" userId="33c0df0f-d5fe-4bda-8f43-141ad7af67e3" providerId="ADAL" clId="{48B824AD-1B2A-47A8-8D92-6FE6E622A650}" dt="2024-12-16T18:29:51.173" v="202011"/>
          <ac:spMkLst>
            <pc:docMk/>
            <pc:sldMk cId="2266923667" sldId="295"/>
            <ac:spMk id="310" creationId="{BEA4CF4C-6AF9-23CB-ED34-A4BAE36228CF}"/>
          </ac:spMkLst>
        </pc:spChg>
        <pc:spChg chg="del mod">
          <ac:chgData name="Oğuz Öztekin" userId="33c0df0f-d5fe-4bda-8f43-141ad7af67e3" providerId="ADAL" clId="{48B824AD-1B2A-47A8-8D92-6FE6E622A650}" dt="2024-12-16T18:26:11.120" v="198149"/>
          <ac:spMkLst>
            <pc:docMk/>
            <pc:sldMk cId="2266923667" sldId="295"/>
            <ac:spMk id="311" creationId="{B18AA712-F150-333A-B6C1-65F70183601E}"/>
          </ac:spMkLst>
        </pc:spChg>
        <pc:spChg chg="add del mod modVis">
          <ac:chgData name="Oğuz Öztekin" userId="33c0df0f-d5fe-4bda-8f43-141ad7af67e3" providerId="ADAL" clId="{48B824AD-1B2A-47A8-8D92-6FE6E622A650}" dt="2024-12-16T18:28:13.940" v="200497"/>
          <ac:spMkLst>
            <pc:docMk/>
            <pc:sldMk cId="2266923667" sldId="295"/>
            <ac:spMk id="312" creationId="{726E1644-8C1A-F4ED-ABD1-2AE6B18E5790}"/>
          </ac:spMkLst>
        </pc:spChg>
        <pc:spChg chg="del mod">
          <ac:chgData name="Oğuz Öztekin" userId="33c0df0f-d5fe-4bda-8f43-141ad7af67e3" providerId="ADAL" clId="{48B824AD-1B2A-47A8-8D92-6FE6E622A650}" dt="2024-12-16T18:26:11.120" v="198153"/>
          <ac:spMkLst>
            <pc:docMk/>
            <pc:sldMk cId="2266923667" sldId="295"/>
            <ac:spMk id="315" creationId="{7C996004-A612-B515-28E9-094B9CEB5800}"/>
          </ac:spMkLst>
        </pc:spChg>
        <pc:spChg chg="del mod">
          <ac:chgData name="Oğuz Öztekin" userId="33c0df0f-d5fe-4bda-8f43-141ad7af67e3" providerId="ADAL" clId="{48B824AD-1B2A-47A8-8D92-6FE6E622A650}" dt="2024-12-16T18:26:11.126" v="198157"/>
          <ac:spMkLst>
            <pc:docMk/>
            <pc:sldMk cId="2266923667" sldId="295"/>
            <ac:spMk id="319" creationId="{D22E6048-5D2B-1177-BF38-784CC3120374}"/>
          </ac:spMkLst>
        </pc:spChg>
        <pc:spChg chg="add del mod">
          <ac:chgData name="Oğuz Öztekin" userId="33c0df0f-d5fe-4bda-8f43-141ad7af67e3" providerId="ADAL" clId="{48B824AD-1B2A-47A8-8D92-6FE6E622A650}" dt="2024-12-16T18:29:51.178" v="202029"/>
          <ac:spMkLst>
            <pc:docMk/>
            <pc:sldMk cId="2266923667" sldId="295"/>
            <ac:spMk id="320" creationId="{17F6A63D-4C0B-D917-B77C-47C3792D29E3}"/>
          </ac:spMkLst>
        </pc:spChg>
        <pc:spChg chg="add del mod">
          <ac:chgData name="Oğuz Öztekin" userId="33c0df0f-d5fe-4bda-8f43-141ad7af67e3" providerId="ADAL" clId="{48B824AD-1B2A-47A8-8D92-6FE6E622A650}" dt="2024-12-16T18:29:51.178" v="202032"/>
          <ac:spMkLst>
            <pc:docMk/>
            <pc:sldMk cId="2266923667" sldId="295"/>
            <ac:spMk id="322" creationId="{807E44F8-D96D-4AD4-7008-9C96EAFB5E48}"/>
          </ac:spMkLst>
        </pc:spChg>
        <pc:spChg chg="del mod">
          <ac:chgData name="Oğuz Öztekin" userId="33c0df0f-d5fe-4bda-8f43-141ad7af67e3" providerId="ADAL" clId="{48B824AD-1B2A-47A8-8D92-6FE6E622A650}" dt="2024-12-16T18:26:11.128" v="198159"/>
          <ac:spMkLst>
            <pc:docMk/>
            <pc:sldMk cId="2266923667" sldId="295"/>
            <ac:spMk id="323" creationId="{59A4C7E3-BB87-6CC4-13E5-C4A385F1671A}"/>
          </ac:spMkLst>
        </pc:spChg>
        <pc:spChg chg="add del mod">
          <ac:chgData name="Oğuz Öztekin" userId="33c0df0f-d5fe-4bda-8f43-141ad7af67e3" providerId="ADAL" clId="{48B824AD-1B2A-47A8-8D92-6FE6E622A650}" dt="2024-12-16T18:29:51.178" v="202035"/>
          <ac:spMkLst>
            <pc:docMk/>
            <pc:sldMk cId="2266923667" sldId="295"/>
            <ac:spMk id="324" creationId="{7ADBB057-F40D-529F-68FD-24FC0753B94D}"/>
          </ac:spMkLst>
        </pc:spChg>
        <pc:spChg chg="add del mod">
          <ac:chgData name="Oğuz Öztekin" userId="33c0df0f-d5fe-4bda-8f43-141ad7af67e3" providerId="ADAL" clId="{48B824AD-1B2A-47A8-8D92-6FE6E622A650}" dt="2024-12-16T18:29:51.180" v="202038"/>
          <ac:spMkLst>
            <pc:docMk/>
            <pc:sldMk cId="2266923667" sldId="295"/>
            <ac:spMk id="325" creationId="{3374140D-A910-C93A-6A00-2C74AE5BB137}"/>
          </ac:spMkLst>
        </pc:spChg>
        <pc:spChg chg="del mod">
          <ac:chgData name="Oğuz Öztekin" userId="33c0df0f-d5fe-4bda-8f43-141ad7af67e3" providerId="ADAL" clId="{48B824AD-1B2A-47A8-8D92-6FE6E622A650}" dt="2024-12-16T18:26:11.128" v="198161"/>
          <ac:spMkLst>
            <pc:docMk/>
            <pc:sldMk cId="2266923667" sldId="295"/>
            <ac:spMk id="326" creationId="{6C4B196E-1A99-1C97-7F03-2063272868BC}"/>
          </ac:spMkLst>
        </pc:spChg>
        <pc:spChg chg="add del mod modVis">
          <ac:chgData name="Oğuz Öztekin" userId="33c0df0f-d5fe-4bda-8f43-141ad7af67e3" providerId="ADAL" clId="{48B824AD-1B2A-47A8-8D92-6FE6E622A650}" dt="2024-12-16T18:29:28.972" v="201597"/>
          <ac:spMkLst>
            <pc:docMk/>
            <pc:sldMk cId="2266923667" sldId="295"/>
            <ac:spMk id="327" creationId="{0FE46365-1524-3B95-C931-730C121456BE}"/>
          </ac:spMkLst>
        </pc:spChg>
        <pc:spChg chg="del mod">
          <ac:chgData name="Oğuz Öztekin" userId="33c0df0f-d5fe-4bda-8f43-141ad7af67e3" providerId="ADAL" clId="{48B824AD-1B2A-47A8-8D92-6FE6E622A650}" dt="2024-12-16T18:26:11.130" v="198163"/>
          <ac:spMkLst>
            <pc:docMk/>
            <pc:sldMk cId="2266923667" sldId="295"/>
            <ac:spMk id="329" creationId="{3D9CA466-8D7A-F392-37B3-13C72C92AD40}"/>
          </ac:spMkLst>
        </pc:spChg>
        <pc:spChg chg="del mod">
          <ac:chgData name="Oğuz Öztekin" userId="33c0df0f-d5fe-4bda-8f43-141ad7af67e3" providerId="ADAL" clId="{48B824AD-1B2A-47A8-8D92-6FE6E622A650}" dt="2024-12-16T18:26:11.130" v="198165"/>
          <ac:spMkLst>
            <pc:docMk/>
            <pc:sldMk cId="2266923667" sldId="295"/>
            <ac:spMk id="332" creationId="{C6DA89F9-2E61-0CF3-4836-1CDDB7FBED1C}"/>
          </ac:spMkLst>
        </pc:spChg>
        <pc:spChg chg="del mod">
          <ac:chgData name="Oğuz Öztekin" userId="33c0df0f-d5fe-4bda-8f43-141ad7af67e3" providerId="ADAL" clId="{48B824AD-1B2A-47A8-8D92-6FE6E622A650}" dt="2024-12-16T18:26:11.130" v="198167"/>
          <ac:spMkLst>
            <pc:docMk/>
            <pc:sldMk cId="2266923667" sldId="295"/>
            <ac:spMk id="335" creationId="{9F83655C-9F27-F5D1-BB04-813E5BEC1076}"/>
          </ac:spMkLst>
        </pc:spChg>
        <pc:spChg chg="add del mod modVis">
          <ac:chgData name="Oğuz Öztekin" userId="33c0df0f-d5fe-4bda-8f43-141ad7af67e3" providerId="ADAL" clId="{48B824AD-1B2A-47A8-8D92-6FE6E622A650}" dt="2024-12-16T18:29:34.387" v="201776"/>
          <ac:spMkLst>
            <pc:docMk/>
            <pc:sldMk cId="2266923667" sldId="295"/>
            <ac:spMk id="341" creationId="{C58DF514-ADA5-0A72-215E-182FC556505C}"/>
          </ac:spMkLst>
        </pc:spChg>
        <pc:spChg chg="add del mod modVis">
          <ac:chgData name="Oğuz Öztekin" userId="33c0df0f-d5fe-4bda-8f43-141ad7af67e3" providerId="ADAL" clId="{48B824AD-1B2A-47A8-8D92-6FE6E622A650}" dt="2024-12-16T18:29:47.788" v="201973"/>
          <ac:spMkLst>
            <pc:docMk/>
            <pc:sldMk cId="2266923667" sldId="295"/>
            <ac:spMk id="343" creationId="{9F82F0E3-0CAE-9F87-5E8B-5B160853237D}"/>
          </ac:spMkLst>
        </pc:spChg>
        <pc:spChg chg="add del mod modVis">
          <ac:chgData name="Oğuz Öztekin" userId="33c0df0f-d5fe-4bda-8f43-141ad7af67e3" providerId="ADAL" clId="{48B824AD-1B2A-47A8-8D92-6FE6E622A650}" dt="2024-12-16T18:29:51.264" v="202161"/>
          <ac:spMkLst>
            <pc:docMk/>
            <pc:sldMk cId="2266923667" sldId="295"/>
            <ac:spMk id="345" creationId="{80BFEA8A-3FED-0957-8DC2-A434C09624FA}"/>
          </ac:spMkLst>
        </pc:spChg>
        <pc:spChg chg="add mod">
          <ac:chgData name="Oğuz Öztekin" userId="33c0df0f-d5fe-4bda-8f43-141ad7af67e3" providerId="ADAL" clId="{48B824AD-1B2A-47A8-8D92-6FE6E622A650}" dt="2024-12-16T18:31:09.270" v="203002"/>
          <ac:spMkLst>
            <pc:docMk/>
            <pc:sldMk cId="2266923667" sldId="295"/>
            <ac:spMk id="347" creationId="{BF2BF8BF-574C-0B39-97C5-8F771DC9F342}"/>
          </ac:spMkLst>
        </pc:spChg>
        <pc:spChg chg="add del mod modVis">
          <ac:chgData name="Oğuz Öztekin" userId="33c0df0f-d5fe-4bda-8f43-141ad7af67e3" providerId="ADAL" clId="{48B824AD-1B2A-47A8-8D92-6FE6E622A650}" dt="2024-12-16T18:29:55.834" v="202282"/>
          <ac:spMkLst>
            <pc:docMk/>
            <pc:sldMk cId="2266923667" sldId="295"/>
            <ac:spMk id="348" creationId="{FC38996F-E412-EC25-A670-C34A7B18BB5F}"/>
          </ac:spMkLst>
        </pc:spChg>
        <pc:spChg chg="add del mod modVis">
          <ac:chgData name="Oğuz Öztekin" userId="33c0df0f-d5fe-4bda-8f43-141ad7af67e3" providerId="ADAL" clId="{48B824AD-1B2A-47A8-8D92-6FE6E622A650}" dt="2024-12-16T18:31:06.291" v="202886"/>
          <ac:spMkLst>
            <pc:docMk/>
            <pc:sldMk cId="2266923667" sldId="295"/>
            <ac:spMk id="350" creationId="{67186E15-589F-4D3C-BB41-06B494FC90D0}"/>
          </ac:spMkLst>
        </pc:spChg>
        <pc:spChg chg="add del mod modVis">
          <ac:chgData name="Oğuz Öztekin" userId="33c0df0f-d5fe-4bda-8f43-141ad7af67e3" providerId="ADAL" clId="{48B824AD-1B2A-47A8-8D92-6FE6E622A650}" dt="2024-12-16T18:31:09.270" v="203004"/>
          <ac:spMkLst>
            <pc:docMk/>
            <pc:sldMk cId="2266923667" sldId="295"/>
            <ac:spMk id="352" creationId="{58DCEB70-C070-E784-1789-0682AA29B45D}"/>
          </ac:spMkLst>
        </pc:spChg>
        <pc:spChg chg="add mod">
          <ac:chgData name="Oğuz Öztekin" userId="33c0df0f-d5fe-4bda-8f43-141ad7af67e3" providerId="ADAL" clId="{48B824AD-1B2A-47A8-8D92-6FE6E622A650}" dt="2024-12-16T18:32:16.535" v="203011" actId="1076"/>
          <ac:spMkLst>
            <pc:docMk/>
            <pc:sldMk cId="2266923667" sldId="295"/>
            <ac:spMk id="354" creationId="{AE39B1B6-58CB-6A01-EA40-FE0E63B04FEA}"/>
          </ac:spMkLst>
        </pc:spChg>
        <pc:spChg chg="add">
          <ac:chgData name="Oğuz Öztekin" userId="33c0df0f-d5fe-4bda-8f43-141ad7af67e3" providerId="ADAL" clId="{48B824AD-1B2A-47A8-8D92-6FE6E622A650}" dt="2024-12-16T18:32:01.667" v="203008"/>
          <ac:spMkLst>
            <pc:docMk/>
            <pc:sldMk cId="2266923667" sldId="295"/>
            <ac:spMk id="355" creationId="{D9F10D43-3FF8-511B-6869-6418FED73187}"/>
          </ac:spMkLst>
        </pc:spChg>
        <pc:spChg chg="add mod">
          <ac:chgData name="Oğuz Öztekin" userId="33c0df0f-d5fe-4bda-8f43-141ad7af67e3" providerId="ADAL" clId="{48B824AD-1B2A-47A8-8D92-6FE6E622A650}" dt="2024-12-16T18:32:31.448" v="203052" actId="20577"/>
          <ac:spMkLst>
            <pc:docMk/>
            <pc:sldMk cId="2266923667" sldId="295"/>
            <ac:spMk id="356" creationId="{64A10673-0262-A96A-F78D-E1631A344D7F}"/>
          </ac:spMkLst>
        </pc:spChg>
        <pc:spChg chg="add del mod modVis">
          <ac:chgData name="Oğuz Öztekin" userId="33c0df0f-d5fe-4bda-8f43-141ad7af67e3" providerId="ADAL" clId="{48B824AD-1B2A-47A8-8D92-6FE6E622A650}" dt="2024-12-16T18:32:37.693" v="203083"/>
          <ac:spMkLst>
            <pc:docMk/>
            <pc:sldMk cId="2266923667" sldId="295"/>
            <ac:spMk id="357" creationId="{A0D22B4E-E69B-0F12-A120-8B944DB58CE8}"/>
          </ac:spMkLst>
        </pc:spChg>
        <pc:spChg chg="del mod">
          <ac:chgData name="Oğuz Öztekin" userId="33c0df0f-d5fe-4bda-8f43-141ad7af67e3" providerId="ADAL" clId="{48B824AD-1B2A-47A8-8D92-6FE6E622A650}" dt="2024-12-16T18:26:11.113" v="198129"/>
          <ac:spMkLst>
            <pc:docMk/>
            <pc:sldMk cId="2266923667" sldId="295"/>
            <ac:spMk id="363" creationId="{94EF31F9-C524-501E-A9F1-AF7F0F2D01E5}"/>
          </ac:spMkLst>
        </pc:spChg>
        <pc:graphicFrameChg chg="mod">
          <ac:chgData name="Oğuz Öztekin" userId="33c0df0f-d5fe-4bda-8f43-141ad7af67e3" providerId="ADAL" clId="{48B824AD-1B2A-47A8-8D92-6FE6E622A650}" dt="2024-12-16T18:32:37.693" v="203085"/>
          <ac:graphicFrameMkLst>
            <pc:docMk/>
            <pc:sldMk cId="2266923667" sldId="295"/>
            <ac:graphicFrameMk id="3" creationId="{8FBC0D09-B320-5F4E-B7D8-01C4F167D28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6:11.137" v="198171"/>
          <ac:graphicFrameMkLst>
            <pc:docMk/>
            <pc:sldMk cId="2266923667" sldId="295"/>
            <ac:graphicFrameMk id="6" creationId="{1F1D31B9-86BE-1164-54C9-82014140D6E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6:13.490" v="198290"/>
          <ac:graphicFrameMkLst>
            <pc:docMk/>
            <pc:sldMk cId="2266923667" sldId="295"/>
            <ac:graphicFrameMk id="8" creationId="{497E4238-70C9-750C-52CC-162B52E497B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6:47.376" v="198371"/>
          <ac:graphicFrameMkLst>
            <pc:docMk/>
            <pc:sldMk cId="2266923667" sldId="295"/>
            <ac:graphicFrameMk id="10" creationId="{2498920A-CA73-09AA-0FAE-214EEAFB9FF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6:55.893" v="198472"/>
          <ac:graphicFrameMkLst>
            <pc:docMk/>
            <pc:sldMk cId="2266923667" sldId="295"/>
            <ac:graphicFrameMk id="12" creationId="{71ECDB31-3A08-3CCE-1127-3D10F8ECD60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7:14.461" v="198765"/>
          <ac:graphicFrameMkLst>
            <pc:docMk/>
            <pc:sldMk cId="2266923667" sldId="295"/>
            <ac:graphicFrameMk id="14" creationId="{5B9E9031-324C-A919-6DBD-5226E015D38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7:30.337" v="199379"/>
          <ac:graphicFrameMkLst>
            <pc:docMk/>
            <pc:sldMk cId="2266923667" sldId="295"/>
            <ac:graphicFrameMk id="25" creationId="{7A9EA0D0-7705-85BC-E410-360224CCC5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7:34.905" v="199590"/>
          <ac:graphicFrameMkLst>
            <pc:docMk/>
            <pc:sldMk cId="2266923667" sldId="295"/>
            <ac:graphicFrameMk id="61" creationId="{16F6D8F4-F18F-4771-8A53-BE6CD7F06D9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8:17.772" v="200585"/>
          <ac:graphicFrameMkLst>
            <pc:docMk/>
            <pc:sldMk cId="2266923667" sldId="295"/>
            <ac:graphicFrameMk id="77" creationId="{20A713FC-8AD7-3F75-052D-B9FAC5D590E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8:41.760" v="200758"/>
          <ac:graphicFrameMkLst>
            <pc:docMk/>
            <pc:sldMk cId="2266923667" sldId="295"/>
            <ac:graphicFrameMk id="79" creationId="{8B38CFCE-87FC-B788-1512-504C1EE7303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8:50.850" v="200921"/>
          <ac:graphicFrameMkLst>
            <pc:docMk/>
            <pc:sldMk cId="2266923667" sldId="295"/>
            <ac:graphicFrameMk id="81" creationId="{D2D8E0FD-7C89-BEEA-3B22-2121490F88B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9:28.924" v="201493"/>
          <ac:graphicFrameMkLst>
            <pc:docMk/>
            <pc:sldMk cId="2266923667" sldId="295"/>
            <ac:graphicFrameMk id="83" creationId="{7F82FE6A-EC1E-5BF3-BC89-ADAD65D327F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7:43.550" v="199827"/>
          <ac:graphicFrameMkLst>
            <pc:docMk/>
            <pc:sldMk cId="2266923667" sldId="295"/>
            <ac:graphicFrameMk id="288" creationId="{41C063AA-B07B-B3A8-0A23-84207327945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8:13.903" v="200422"/>
          <ac:graphicFrameMkLst>
            <pc:docMk/>
            <pc:sldMk cId="2266923667" sldId="295"/>
            <ac:graphicFrameMk id="290" creationId="{CE3B2805-91BB-D83B-4CD7-E9F4261B800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9:34.346" v="201678"/>
          <ac:graphicFrameMkLst>
            <pc:docMk/>
            <pc:sldMk cId="2266923667" sldId="295"/>
            <ac:graphicFrameMk id="340" creationId="{74B903A4-A452-C35F-A891-B94A217C3D3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9:47.747" v="201875"/>
          <ac:graphicFrameMkLst>
            <pc:docMk/>
            <pc:sldMk cId="2266923667" sldId="295"/>
            <ac:graphicFrameMk id="342" creationId="{18386CAC-F6F2-B6CC-0488-FB02EA85506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9:51.245" v="202134"/>
          <ac:graphicFrameMkLst>
            <pc:docMk/>
            <pc:sldMk cId="2266923667" sldId="295"/>
            <ac:graphicFrameMk id="344" creationId="{651924B9-D007-9432-0E03-8726511BB1B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29:55.807" v="202244"/>
          <ac:graphicFrameMkLst>
            <pc:docMk/>
            <pc:sldMk cId="2266923667" sldId="295"/>
            <ac:graphicFrameMk id="346" creationId="{70CFBE0C-14DD-3976-DAB0-AFACADAD43D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31:06.270" v="202858"/>
          <ac:graphicFrameMkLst>
            <pc:docMk/>
            <pc:sldMk cId="2266923667" sldId="295"/>
            <ac:graphicFrameMk id="349" creationId="{EA23454D-2DD1-1BF1-6343-A7762B69937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31:09.250" v="202976"/>
          <ac:graphicFrameMkLst>
            <pc:docMk/>
            <pc:sldMk cId="2266923667" sldId="295"/>
            <ac:graphicFrameMk id="351" creationId="{409E8E3A-A9C7-26A8-5541-B920B67CB9F2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31:09.266" v="202985"/>
          <ac:graphicFrameMkLst>
            <pc:docMk/>
            <pc:sldMk cId="2266923667" sldId="295"/>
            <ac:graphicFrameMk id="353" creationId="{A5AD3932-F247-98FA-DCB7-5EBEBFDC8B6F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25:35.876" v="197997"/>
          <ac:graphicFrameMkLst>
            <pc:docMk/>
            <pc:sldMk cId="2266923667" sldId="295"/>
            <ac:graphicFrameMk id="373" creationId="{796D5964-E564-0E31-821C-84537B9CD05E}"/>
          </ac:graphicFrameMkLst>
        </pc:graphicFrameChg>
        <pc:cxnChg chg="add del mod ord">
          <ac:chgData name="Oğuz Öztekin" userId="33c0df0f-d5fe-4bda-8f43-141ad7af67e3" providerId="ADAL" clId="{48B824AD-1B2A-47A8-8D92-6FE6E622A650}" dt="2024-12-16T18:27:43.550" v="199817"/>
          <ac:cxnSpMkLst>
            <pc:docMk/>
            <pc:sldMk cId="2266923667" sldId="295"/>
            <ac:cxnSpMk id="42" creationId="{049FE10D-BB56-09B0-93A5-B1B7EE107466}"/>
          </ac:cxnSpMkLst>
        </pc:cxnChg>
        <pc:cxnChg chg="add del mod ord">
          <ac:chgData name="Oğuz Öztekin" userId="33c0df0f-d5fe-4bda-8f43-141ad7af67e3" providerId="ADAL" clId="{48B824AD-1B2A-47A8-8D92-6FE6E622A650}" dt="2024-12-16T18:27:43.550" v="199821"/>
          <ac:cxnSpMkLst>
            <pc:docMk/>
            <pc:sldMk cId="2266923667" sldId="295"/>
            <ac:cxnSpMk id="43" creationId="{AA0499B6-9D23-8A74-DA50-F17E42CE124E}"/>
          </ac:cxnSpMkLst>
        </pc:cxnChg>
        <pc:cxnChg chg="add del mod ord">
          <ac:chgData name="Oğuz Öztekin" userId="33c0df0f-d5fe-4bda-8f43-141ad7af67e3" providerId="ADAL" clId="{48B824AD-1B2A-47A8-8D92-6FE6E622A650}" dt="2024-12-16T18:27:43.550" v="199825"/>
          <ac:cxnSpMkLst>
            <pc:docMk/>
            <pc:sldMk cId="2266923667" sldId="295"/>
            <ac:cxnSpMk id="44" creationId="{E0EAB994-4338-D2C2-1CDE-A165FA545C0C}"/>
          </ac:cxnSpMkLst>
        </pc:cxnChg>
        <pc:cxnChg chg="add del mod ord">
          <ac:chgData name="Oğuz Öztekin" userId="33c0df0f-d5fe-4bda-8f43-141ad7af67e3" providerId="ADAL" clId="{48B824AD-1B2A-47A8-8D92-6FE6E622A650}" dt="2024-12-16T18:27:43.467" v="199677"/>
          <ac:cxnSpMkLst>
            <pc:docMk/>
            <pc:sldMk cId="2266923667" sldId="295"/>
            <ac:cxnSpMk id="45" creationId="{937C39C3-8B12-98C1-8E60-8A0AD84BE170}"/>
          </ac:cxnSpMkLst>
        </pc:cxnChg>
        <pc:cxnChg chg="add del mod ord">
          <ac:chgData name="Oğuz Öztekin" userId="33c0df0f-d5fe-4bda-8f43-141ad7af67e3" providerId="ADAL" clId="{48B824AD-1B2A-47A8-8D92-6FE6E622A650}" dt="2024-12-16T18:27:43.467" v="199680"/>
          <ac:cxnSpMkLst>
            <pc:docMk/>
            <pc:sldMk cId="2266923667" sldId="295"/>
            <ac:cxnSpMk id="46" creationId="{21314380-C392-760C-AE66-9A4DE448AF3D}"/>
          </ac:cxnSpMkLst>
        </pc:cxnChg>
        <pc:cxnChg chg="add del mod ord">
          <ac:chgData name="Oğuz Öztekin" userId="33c0df0f-d5fe-4bda-8f43-141ad7af67e3" providerId="ADAL" clId="{48B824AD-1B2A-47A8-8D92-6FE6E622A650}" dt="2024-12-16T18:27:43.467" v="199683"/>
          <ac:cxnSpMkLst>
            <pc:docMk/>
            <pc:sldMk cId="2266923667" sldId="295"/>
            <ac:cxnSpMk id="47" creationId="{C906037A-00CC-0716-1A80-064EDE683D63}"/>
          </ac:cxnSpMkLst>
        </pc:cxnChg>
        <pc:cxnChg chg="add del mod ord">
          <ac:chgData name="Oğuz Öztekin" userId="33c0df0f-d5fe-4bda-8f43-141ad7af67e3" providerId="ADAL" clId="{48B824AD-1B2A-47A8-8D92-6FE6E622A650}" dt="2024-12-16T18:27:43.470" v="199686"/>
          <ac:cxnSpMkLst>
            <pc:docMk/>
            <pc:sldMk cId="2266923667" sldId="295"/>
            <ac:cxnSpMk id="48" creationId="{9000F787-47D9-3280-1616-D6E88CB9EF8E}"/>
          </ac:cxnSpMkLst>
        </pc:cxnChg>
        <pc:cxnChg chg="add del mod ord">
          <ac:chgData name="Oğuz Öztekin" userId="33c0df0f-d5fe-4bda-8f43-141ad7af67e3" providerId="ADAL" clId="{48B824AD-1B2A-47A8-8D92-6FE6E622A650}" dt="2024-12-16T18:27:43.470" v="199689"/>
          <ac:cxnSpMkLst>
            <pc:docMk/>
            <pc:sldMk cId="2266923667" sldId="295"/>
            <ac:cxnSpMk id="49" creationId="{6958F7D4-8B7C-5E81-11D5-035D6AC23905}"/>
          </ac:cxnSpMkLst>
        </pc:cxnChg>
        <pc:cxnChg chg="add del mod ord">
          <ac:chgData name="Oğuz Öztekin" userId="33c0df0f-d5fe-4bda-8f43-141ad7af67e3" providerId="ADAL" clId="{48B824AD-1B2A-47A8-8D92-6FE6E622A650}" dt="2024-12-16T18:27:43.470" v="199692"/>
          <ac:cxnSpMkLst>
            <pc:docMk/>
            <pc:sldMk cId="2266923667" sldId="295"/>
            <ac:cxnSpMk id="50" creationId="{4575472F-371F-E05A-B3F0-53F01C7539CD}"/>
          </ac:cxnSpMkLst>
        </pc:cxnChg>
        <pc:cxnChg chg="add del mod ord">
          <ac:chgData name="Oğuz Öztekin" userId="33c0df0f-d5fe-4bda-8f43-141ad7af67e3" providerId="ADAL" clId="{48B824AD-1B2A-47A8-8D92-6FE6E622A650}" dt="2024-12-16T18:27:43.470" v="199695"/>
          <ac:cxnSpMkLst>
            <pc:docMk/>
            <pc:sldMk cId="2266923667" sldId="295"/>
            <ac:cxnSpMk id="51" creationId="{2B36142E-47E5-D0D2-58B7-A8D8FDB50E60}"/>
          </ac:cxnSpMkLst>
        </pc:cxnChg>
        <pc:cxnChg chg="add del mod ord">
          <ac:chgData name="Oğuz Öztekin" userId="33c0df0f-d5fe-4bda-8f43-141ad7af67e3" providerId="ADAL" clId="{48B824AD-1B2A-47A8-8D92-6FE6E622A650}" dt="2024-12-16T18:27:43.470" v="199698"/>
          <ac:cxnSpMkLst>
            <pc:docMk/>
            <pc:sldMk cId="2266923667" sldId="295"/>
            <ac:cxnSpMk id="52" creationId="{5B82FF9D-E3D4-6B87-436F-E250041E5541}"/>
          </ac:cxnSpMkLst>
        </pc:cxnChg>
        <pc:cxnChg chg="add del mod ord">
          <ac:chgData name="Oğuz Öztekin" userId="33c0df0f-d5fe-4bda-8f43-141ad7af67e3" providerId="ADAL" clId="{48B824AD-1B2A-47A8-8D92-6FE6E622A650}" dt="2024-12-16T18:27:43.474" v="199701"/>
          <ac:cxnSpMkLst>
            <pc:docMk/>
            <pc:sldMk cId="2266923667" sldId="295"/>
            <ac:cxnSpMk id="53" creationId="{89C75659-14CA-A7BD-6AC5-8EDE11386C76}"/>
          </ac:cxnSpMkLst>
        </pc:cxnChg>
        <pc:cxnChg chg="add del mod ord">
          <ac:chgData name="Oğuz Öztekin" userId="33c0df0f-d5fe-4bda-8f43-141ad7af67e3" providerId="ADAL" clId="{48B824AD-1B2A-47A8-8D92-6FE6E622A650}" dt="2024-12-16T18:27:43.474" v="199704"/>
          <ac:cxnSpMkLst>
            <pc:docMk/>
            <pc:sldMk cId="2266923667" sldId="295"/>
            <ac:cxnSpMk id="54" creationId="{0B16CE3B-D5AE-D1D3-FAF7-9B681AF371BE}"/>
          </ac:cxnSpMkLst>
        </pc:cxnChg>
        <pc:cxnChg chg="add del mod ord">
          <ac:chgData name="Oğuz Öztekin" userId="33c0df0f-d5fe-4bda-8f43-141ad7af67e3" providerId="ADAL" clId="{48B824AD-1B2A-47A8-8D92-6FE6E622A650}" dt="2024-12-16T18:27:43.474" v="199707"/>
          <ac:cxnSpMkLst>
            <pc:docMk/>
            <pc:sldMk cId="2266923667" sldId="295"/>
            <ac:cxnSpMk id="55" creationId="{FA582523-5779-7E6E-3DE3-7506A1ED71B9}"/>
          </ac:cxnSpMkLst>
        </pc:cxnChg>
        <pc:cxnChg chg="add del mod ord">
          <ac:chgData name="Oğuz Öztekin" userId="33c0df0f-d5fe-4bda-8f43-141ad7af67e3" providerId="ADAL" clId="{48B824AD-1B2A-47A8-8D92-6FE6E622A650}" dt="2024-12-16T18:27:43.474" v="199710"/>
          <ac:cxnSpMkLst>
            <pc:docMk/>
            <pc:sldMk cId="2266923667" sldId="295"/>
            <ac:cxnSpMk id="56" creationId="{126A3EB5-947C-3916-1259-D6DD1ECB235F}"/>
          </ac:cxnSpMkLst>
        </pc:cxnChg>
        <pc:cxnChg chg="add del mod ord">
          <ac:chgData name="Oğuz Öztekin" userId="33c0df0f-d5fe-4bda-8f43-141ad7af67e3" providerId="ADAL" clId="{48B824AD-1B2A-47A8-8D92-6FE6E622A650}" dt="2024-12-16T18:27:43.474" v="199713"/>
          <ac:cxnSpMkLst>
            <pc:docMk/>
            <pc:sldMk cId="2266923667" sldId="295"/>
            <ac:cxnSpMk id="57" creationId="{057697AD-E4C6-9292-F701-38D7537D5FA8}"/>
          </ac:cxnSpMkLst>
        </pc:cxnChg>
        <pc:cxnChg chg="add del mod ord">
          <ac:chgData name="Oğuz Öztekin" userId="33c0df0f-d5fe-4bda-8f43-141ad7af67e3" providerId="ADAL" clId="{48B824AD-1B2A-47A8-8D92-6FE6E622A650}" dt="2024-12-16T18:27:43.474" v="199716"/>
          <ac:cxnSpMkLst>
            <pc:docMk/>
            <pc:sldMk cId="2266923667" sldId="295"/>
            <ac:cxnSpMk id="58" creationId="{9B8E7125-4C57-EEFD-8DE8-15D1DD2B8A0B}"/>
          </ac:cxnSpMkLst>
        </pc:cxnChg>
        <pc:cxnChg chg="add del mod ord">
          <ac:chgData name="Oğuz Öztekin" userId="33c0df0f-d5fe-4bda-8f43-141ad7af67e3" providerId="ADAL" clId="{48B824AD-1B2A-47A8-8D92-6FE6E622A650}" dt="2024-12-16T18:27:43.474" v="199719"/>
          <ac:cxnSpMkLst>
            <pc:docMk/>
            <pc:sldMk cId="2266923667" sldId="295"/>
            <ac:cxnSpMk id="59" creationId="{102D8C40-1056-C92D-C98A-87E727731BFE}"/>
          </ac:cxnSpMkLst>
        </pc:cxnChg>
        <pc:cxnChg chg="add del mod ord">
          <ac:chgData name="Oğuz Öztekin" userId="33c0df0f-d5fe-4bda-8f43-141ad7af67e3" providerId="ADAL" clId="{48B824AD-1B2A-47A8-8D92-6FE6E622A650}" dt="2024-12-16T18:27:43.474" v="199722"/>
          <ac:cxnSpMkLst>
            <pc:docMk/>
            <pc:sldMk cId="2266923667" sldId="295"/>
            <ac:cxnSpMk id="60" creationId="{DD23C3B2-6F7E-80CB-DAF0-B4649328C9A5}"/>
          </ac:cxnSpMkLst>
        </pc:cxnChg>
        <pc:cxnChg chg="add del mod ord">
          <ac:chgData name="Oğuz Öztekin" userId="33c0df0f-d5fe-4bda-8f43-141ad7af67e3" providerId="ADAL" clId="{48B824AD-1B2A-47A8-8D92-6FE6E622A650}" dt="2024-12-16T18:27:43.550" v="199813"/>
          <ac:cxnSpMkLst>
            <pc:docMk/>
            <pc:sldMk cId="2266923667" sldId="295"/>
            <ac:cxnSpMk id="63" creationId="{347231E4-7DC6-CE0D-BCC9-C2DCCC7A9A55}"/>
          </ac:cxnSpMkLst>
        </pc:cxnChg>
        <pc:cxnChg chg="add del mod ord">
          <ac:chgData name="Oğuz Öztekin" userId="33c0df0f-d5fe-4bda-8f43-141ad7af67e3" providerId="ADAL" clId="{48B824AD-1B2A-47A8-8D92-6FE6E622A650}" dt="2024-12-16T18:29:51.245" v="202132"/>
          <ac:cxnSpMkLst>
            <pc:docMk/>
            <pc:sldMk cId="2266923667" sldId="295"/>
            <ac:cxnSpMk id="64" creationId="{F85A3E03-797B-9352-C2A3-6BC9127A0024}"/>
          </ac:cxnSpMkLst>
        </pc:cxnChg>
        <pc:cxnChg chg="add del mod ord">
          <ac:chgData name="Oğuz Öztekin" userId="33c0df0f-d5fe-4bda-8f43-141ad7af67e3" providerId="ADAL" clId="{48B824AD-1B2A-47A8-8D92-6FE6E622A650}" dt="2024-12-16T18:29:51.162" v="201977"/>
          <ac:cxnSpMkLst>
            <pc:docMk/>
            <pc:sldMk cId="2266923667" sldId="295"/>
            <ac:cxnSpMk id="65" creationId="{E88F41A4-D820-27E4-61E6-123724A18D47}"/>
          </ac:cxnSpMkLst>
        </pc:cxnChg>
        <pc:cxnChg chg="add del mod ord">
          <ac:chgData name="Oğuz Öztekin" userId="33c0df0f-d5fe-4bda-8f43-141ad7af67e3" providerId="ADAL" clId="{48B824AD-1B2A-47A8-8D92-6FE6E622A650}" dt="2024-12-16T18:29:51.164" v="201980"/>
          <ac:cxnSpMkLst>
            <pc:docMk/>
            <pc:sldMk cId="2266923667" sldId="295"/>
            <ac:cxnSpMk id="66" creationId="{B48A15FB-8ECD-25A3-2873-D1B28037C1FF}"/>
          </ac:cxnSpMkLst>
        </pc:cxnChg>
        <pc:cxnChg chg="add del mod ord">
          <ac:chgData name="Oğuz Öztekin" userId="33c0df0f-d5fe-4bda-8f43-141ad7af67e3" providerId="ADAL" clId="{48B824AD-1B2A-47A8-8D92-6FE6E622A650}" dt="2024-12-16T18:29:51.165" v="201983"/>
          <ac:cxnSpMkLst>
            <pc:docMk/>
            <pc:sldMk cId="2266923667" sldId="295"/>
            <ac:cxnSpMk id="67" creationId="{DFB599F9-E5D3-59AB-CABC-1F8E55BC5F2F}"/>
          </ac:cxnSpMkLst>
        </pc:cxnChg>
        <pc:cxnChg chg="add del mod ord">
          <ac:chgData name="Oğuz Öztekin" userId="33c0df0f-d5fe-4bda-8f43-141ad7af67e3" providerId="ADAL" clId="{48B824AD-1B2A-47A8-8D92-6FE6E622A650}" dt="2024-12-16T18:29:51.165" v="201986"/>
          <ac:cxnSpMkLst>
            <pc:docMk/>
            <pc:sldMk cId="2266923667" sldId="295"/>
            <ac:cxnSpMk id="68" creationId="{2B5912CC-5B39-2B02-0072-4E023F42B61C}"/>
          </ac:cxnSpMkLst>
        </pc:cxnChg>
        <pc:cxnChg chg="add del mod ord">
          <ac:chgData name="Oğuz Öztekin" userId="33c0df0f-d5fe-4bda-8f43-141ad7af67e3" providerId="ADAL" clId="{48B824AD-1B2A-47A8-8D92-6FE6E622A650}" dt="2024-12-16T18:29:51.167" v="201989"/>
          <ac:cxnSpMkLst>
            <pc:docMk/>
            <pc:sldMk cId="2266923667" sldId="295"/>
            <ac:cxnSpMk id="69" creationId="{8887918B-CCF7-0114-6EFF-8DDDE5743BD3}"/>
          </ac:cxnSpMkLst>
        </pc:cxnChg>
        <pc:cxnChg chg="add del mod ord">
          <ac:chgData name="Oğuz Öztekin" userId="33c0df0f-d5fe-4bda-8f43-141ad7af67e3" providerId="ADAL" clId="{48B824AD-1B2A-47A8-8D92-6FE6E622A650}" dt="2024-12-16T18:29:51.168" v="201992"/>
          <ac:cxnSpMkLst>
            <pc:docMk/>
            <pc:sldMk cId="2266923667" sldId="295"/>
            <ac:cxnSpMk id="70" creationId="{1BC92ED4-16FA-5F41-99D2-017403310204}"/>
          </ac:cxnSpMkLst>
        </pc:cxnChg>
        <pc:cxnChg chg="add del mod ord">
          <ac:chgData name="Oğuz Öztekin" userId="33c0df0f-d5fe-4bda-8f43-141ad7af67e3" providerId="ADAL" clId="{48B824AD-1B2A-47A8-8D92-6FE6E622A650}" dt="2024-12-16T18:29:51.168" v="201995"/>
          <ac:cxnSpMkLst>
            <pc:docMk/>
            <pc:sldMk cId="2266923667" sldId="295"/>
            <ac:cxnSpMk id="71" creationId="{C81617B8-B983-4D09-A760-3665364D52E8}"/>
          </ac:cxnSpMkLst>
        </pc:cxnChg>
        <pc:cxnChg chg="add del mod ord">
          <ac:chgData name="Oğuz Öztekin" userId="33c0df0f-d5fe-4bda-8f43-141ad7af67e3" providerId="ADAL" clId="{48B824AD-1B2A-47A8-8D92-6FE6E622A650}" dt="2024-12-16T18:29:51.170" v="201998"/>
          <ac:cxnSpMkLst>
            <pc:docMk/>
            <pc:sldMk cId="2266923667" sldId="295"/>
            <ac:cxnSpMk id="72" creationId="{0DD27DC5-D449-FC97-BE51-C1052C4C2AA4}"/>
          </ac:cxnSpMkLst>
        </pc:cxnChg>
        <pc:cxnChg chg="add del mod ord">
          <ac:chgData name="Oğuz Öztekin" userId="33c0df0f-d5fe-4bda-8f43-141ad7af67e3" providerId="ADAL" clId="{48B824AD-1B2A-47A8-8D92-6FE6E622A650}" dt="2024-12-16T18:29:51.170" v="202001"/>
          <ac:cxnSpMkLst>
            <pc:docMk/>
            <pc:sldMk cId="2266923667" sldId="295"/>
            <ac:cxnSpMk id="73" creationId="{53F69320-6FE3-0124-DC74-8A0CD3BAEC05}"/>
          </ac:cxnSpMkLst>
        </pc:cxnChg>
        <pc:cxnChg chg="add del mod ord">
          <ac:chgData name="Oğuz Öztekin" userId="33c0df0f-d5fe-4bda-8f43-141ad7af67e3" providerId="ADAL" clId="{48B824AD-1B2A-47A8-8D92-6FE6E622A650}" dt="2024-12-16T18:29:51.171" v="202004"/>
          <ac:cxnSpMkLst>
            <pc:docMk/>
            <pc:sldMk cId="2266923667" sldId="295"/>
            <ac:cxnSpMk id="74" creationId="{918C28EE-DE72-52B8-6E46-F3503272FBE9}"/>
          </ac:cxnSpMkLst>
        </pc:cxnChg>
        <pc:cxnChg chg="add del mod ord">
          <ac:chgData name="Oğuz Öztekin" userId="33c0df0f-d5fe-4bda-8f43-141ad7af67e3" providerId="ADAL" clId="{48B824AD-1B2A-47A8-8D92-6FE6E622A650}" dt="2024-12-16T18:29:51.171" v="202007"/>
          <ac:cxnSpMkLst>
            <pc:docMk/>
            <pc:sldMk cId="2266923667" sldId="295"/>
            <ac:cxnSpMk id="75" creationId="{5B55EF81-53F9-6348-2932-A31ED5C51152}"/>
          </ac:cxnSpMkLst>
        </pc:cxnChg>
        <pc:cxnChg chg="add del mod ord">
          <ac:chgData name="Oğuz Öztekin" userId="33c0df0f-d5fe-4bda-8f43-141ad7af67e3" providerId="ADAL" clId="{48B824AD-1B2A-47A8-8D92-6FE6E622A650}" dt="2024-12-16T18:29:51.173" v="202010"/>
          <ac:cxnSpMkLst>
            <pc:docMk/>
            <pc:sldMk cId="2266923667" sldId="295"/>
            <ac:cxnSpMk id="76" creationId="{811D3A15-72B7-AF5F-3CC9-AA075CD144CA}"/>
          </ac:cxnSpMkLst>
        </pc:cxnChg>
        <pc:cxnChg chg="del mod ord">
          <ac:chgData name="Oğuz Öztekin" userId="33c0df0f-d5fe-4bda-8f43-141ad7af67e3" providerId="ADAL" clId="{48B824AD-1B2A-47A8-8D92-6FE6E622A650}" dt="2024-12-16T18:26:13.489" v="198288"/>
          <ac:cxnSpMkLst>
            <pc:docMk/>
            <pc:sldMk cId="2266923667" sldId="295"/>
            <ac:cxnSpMk id="293" creationId="{6F519AEF-654C-7C74-7937-0CE38D8C25F5}"/>
          </ac:cxnSpMkLst>
        </pc:cxnChg>
        <pc:cxnChg chg="del mod ord">
          <ac:chgData name="Oğuz Öztekin" userId="33c0df0f-d5fe-4bda-8f43-141ad7af67e3" providerId="ADAL" clId="{48B824AD-1B2A-47A8-8D92-6FE6E622A650}" dt="2024-12-16T18:26:11.116" v="198140"/>
          <ac:cxnSpMkLst>
            <pc:docMk/>
            <pc:sldMk cId="2266923667" sldId="295"/>
            <ac:cxnSpMk id="306" creationId="{8FD8F0E9-711D-9709-EE46-0A496ACC08A3}"/>
          </ac:cxnSpMkLst>
        </pc:cxnChg>
        <pc:cxnChg chg="del mod ord">
          <ac:chgData name="Oğuz Öztekin" userId="33c0df0f-d5fe-4bda-8f43-141ad7af67e3" providerId="ADAL" clId="{48B824AD-1B2A-47A8-8D92-6FE6E622A650}" dt="2024-12-16T18:26:11.120" v="198148"/>
          <ac:cxnSpMkLst>
            <pc:docMk/>
            <pc:sldMk cId="2266923667" sldId="295"/>
            <ac:cxnSpMk id="313" creationId="{B9FCBA0C-90BB-03FF-7633-EC07F507E5ED}"/>
          </ac:cxnSpMkLst>
        </pc:cxnChg>
        <pc:cxnChg chg="add del mod ord">
          <ac:chgData name="Oğuz Öztekin" userId="33c0df0f-d5fe-4bda-8f43-141ad7af67e3" providerId="ADAL" clId="{48B824AD-1B2A-47A8-8D92-6FE6E622A650}" dt="2024-12-16T18:29:51.240" v="202120"/>
          <ac:cxnSpMkLst>
            <pc:docMk/>
            <pc:sldMk cId="2266923667" sldId="295"/>
            <ac:cxnSpMk id="314" creationId="{D28B0BC1-2E76-3161-CF4C-563142727ADA}"/>
          </ac:cxnSpMkLst>
        </pc:cxnChg>
        <pc:cxnChg chg="add del mod ord">
          <ac:chgData name="Oğuz Öztekin" userId="33c0df0f-d5fe-4bda-8f43-141ad7af67e3" providerId="ADAL" clId="{48B824AD-1B2A-47A8-8D92-6FE6E622A650}" dt="2024-12-16T18:29:51.242" v="202124"/>
          <ac:cxnSpMkLst>
            <pc:docMk/>
            <pc:sldMk cId="2266923667" sldId="295"/>
            <ac:cxnSpMk id="316" creationId="{FFD62A60-3864-11E7-53E8-37453187156E}"/>
          </ac:cxnSpMkLst>
        </pc:cxnChg>
        <pc:cxnChg chg="del mod ord">
          <ac:chgData name="Oğuz Öztekin" userId="33c0df0f-d5fe-4bda-8f43-141ad7af67e3" providerId="ADAL" clId="{48B824AD-1B2A-47A8-8D92-6FE6E622A650}" dt="2024-12-16T18:26:11.120" v="198152"/>
          <ac:cxnSpMkLst>
            <pc:docMk/>
            <pc:sldMk cId="2266923667" sldId="295"/>
            <ac:cxnSpMk id="317" creationId="{892F67EA-9B86-ADE7-BF62-445482F7DC26}"/>
          </ac:cxnSpMkLst>
        </pc:cxnChg>
        <pc:cxnChg chg="add del mod ord">
          <ac:chgData name="Oğuz Öztekin" userId="33c0df0f-d5fe-4bda-8f43-141ad7af67e3" providerId="ADAL" clId="{48B824AD-1B2A-47A8-8D92-6FE6E622A650}" dt="2024-12-16T18:29:51.243" v="202128"/>
          <ac:cxnSpMkLst>
            <pc:docMk/>
            <pc:sldMk cId="2266923667" sldId="295"/>
            <ac:cxnSpMk id="318" creationId="{8952F2C3-9C87-C0DC-FB2E-B20B2D0D9335}"/>
          </ac:cxnSpMkLst>
        </pc:cxnChg>
        <pc:cxnChg chg="del mod ord">
          <ac:chgData name="Oğuz Öztekin" userId="33c0df0f-d5fe-4bda-8f43-141ad7af67e3" providerId="ADAL" clId="{48B824AD-1B2A-47A8-8D92-6FE6E622A650}" dt="2024-12-16T18:26:11.126" v="198156"/>
          <ac:cxnSpMkLst>
            <pc:docMk/>
            <pc:sldMk cId="2266923667" sldId="295"/>
            <ac:cxnSpMk id="321" creationId="{A9D92A7B-8FD5-2A36-B1B0-526A1E16B29E}"/>
          </ac:cxnSpMkLst>
        </pc:cxnChg>
        <pc:cxnChg chg="add del mod ord">
          <ac:chgData name="Oğuz Öztekin" userId="33c0df0f-d5fe-4bda-8f43-141ad7af67e3" providerId="ADAL" clId="{48B824AD-1B2A-47A8-8D92-6FE6E622A650}" dt="2024-12-16T18:29:51.174" v="202013"/>
          <ac:cxnSpMkLst>
            <pc:docMk/>
            <pc:sldMk cId="2266923667" sldId="295"/>
            <ac:cxnSpMk id="328" creationId="{A8A20108-7021-D18C-2040-71E6E63E1777}"/>
          </ac:cxnSpMkLst>
        </pc:cxnChg>
        <pc:cxnChg chg="add del mod ord">
          <ac:chgData name="Oğuz Öztekin" userId="33c0df0f-d5fe-4bda-8f43-141ad7af67e3" providerId="ADAL" clId="{48B824AD-1B2A-47A8-8D92-6FE6E622A650}" dt="2024-12-16T18:29:51.174" v="202016"/>
          <ac:cxnSpMkLst>
            <pc:docMk/>
            <pc:sldMk cId="2266923667" sldId="295"/>
            <ac:cxnSpMk id="330" creationId="{8196BA2A-BE05-4024-D58C-B08288C68A08}"/>
          </ac:cxnSpMkLst>
        </pc:cxnChg>
        <pc:cxnChg chg="add del mod ord">
          <ac:chgData name="Oğuz Öztekin" userId="33c0df0f-d5fe-4bda-8f43-141ad7af67e3" providerId="ADAL" clId="{48B824AD-1B2A-47A8-8D92-6FE6E622A650}" dt="2024-12-16T18:29:51.175" v="202019"/>
          <ac:cxnSpMkLst>
            <pc:docMk/>
            <pc:sldMk cId="2266923667" sldId="295"/>
            <ac:cxnSpMk id="331" creationId="{A4F9DE99-F54C-84FF-9992-AD363AF0D92A}"/>
          </ac:cxnSpMkLst>
        </pc:cxnChg>
        <pc:cxnChg chg="add del mod ord">
          <ac:chgData name="Oğuz Öztekin" userId="33c0df0f-d5fe-4bda-8f43-141ad7af67e3" providerId="ADAL" clId="{48B824AD-1B2A-47A8-8D92-6FE6E622A650}" dt="2024-12-16T18:29:51.176" v="202022"/>
          <ac:cxnSpMkLst>
            <pc:docMk/>
            <pc:sldMk cId="2266923667" sldId="295"/>
            <ac:cxnSpMk id="333" creationId="{24E6CF5C-F6EB-D16D-B729-ADF21E127156}"/>
          </ac:cxnSpMkLst>
        </pc:cxnChg>
        <pc:cxnChg chg="add del mod ord">
          <ac:chgData name="Oğuz Öztekin" userId="33c0df0f-d5fe-4bda-8f43-141ad7af67e3" providerId="ADAL" clId="{48B824AD-1B2A-47A8-8D92-6FE6E622A650}" dt="2024-12-16T18:29:51.176" v="202025"/>
          <ac:cxnSpMkLst>
            <pc:docMk/>
            <pc:sldMk cId="2266923667" sldId="295"/>
            <ac:cxnSpMk id="334" creationId="{DB670699-0F0F-FD94-9D97-DE7AC2EE31FF}"/>
          </ac:cxnSpMkLst>
        </pc:cxnChg>
        <pc:cxnChg chg="add del mod ord">
          <ac:chgData name="Oğuz Öztekin" userId="33c0df0f-d5fe-4bda-8f43-141ad7af67e3" providerId="ADAL" clId="{48B824AD-1B2A-47A8-8D92-6FE6E622A650}" dt="2024-12-16T18:29:51.177" v="202028"/>
          <ac:cxnSpMkLst>
            <pc:docMk/>
            <pc:sldMk cId="2266923667" sldId="295"/>
            <ac:cxnSpMk id="336" creationId="{E3BF4E0B-1333-F368-1B5D-27A6B8F2A331}"/>
          </ac:cxnSpMkLst>
        </pc:cxnChg>
        <pc:cxnChg chg="add del mod ord">
          <ac:chgData name="Oğuz Öztekin" userId="33c0df0f-d5fe-4bda-8f43-141ad7af67e3" providerId="ADAL" clId="{48B824AD-1B2A-47A8-8D92-6FE6E622A650}" dt="2024-12-16T18:29:51.178" v="202031"/>
          <ac:cxnSpMkLst>
            <pc:docMk/>
            <pc:sldMk cId="2266923667" sldId="295"/>
            <ac:cxnSpMk id="337" creationId="{F91D722F-4F53-FF7B-9E30-2FA828E14501}"/>
          </ac:cxnSpMkLst>
        </pc:cxnChg>
        <pc:cxnChg chg="add del mod ord">
          <ac:chgData name="Oğuz Öztekin" userId="33c0df0f-d5fe-4bda-8f43-141ad7af67e3" providerId="ADAL" clId="{48B824AD-1B2A-47A8-8D92-6FE6E622A650}" dt="2024-12-16T18:29:51.178" v="202034"/>
          <ac:cxnSpMkLst>
            <pc:docMk/>
            <pc:sldMk cId="2266923667" sldId="295"/>
            <ac:cxnSpMk id="338" creationId="{54FD983E-080E-8981-45C3-7D2FD71CA24C}"/>
          </ac:cxnSpMkLst>
        </pc:cxnChg>
        <pc:cxnChg chg="add del mod ord">
          <ac:chgData name="Oğuz Öztekin" userId="33c0df0f-d5fe-4bda-8f43-141ad7af67e3" providerId="ADAL" clId="{48B824AD-1B2A-47A8-8D92-6FE6E622A650}" dt="2024-12-16T18:29:51.180" v="202037"/>
          <ac:cxnSpMkLst>
            <pc:docMk/>
            <pc:sldMk cId="2266923667" sldId="295"/>
            <ac:cxnSpMk id="339" creationId="{37DD214E-D71D-C24D-728D-FBDCC07DE568}"/>
          </ac:cxnSpMkLst>
        </pc:cxnChg>
        <pc:cxnChg chg="del mod ord">
          <ac:chgData name="Oğuz Öztekin" userId="33c0df0f-d5fe-4bda-8f43-141ad7af67e3" providerId="ADAL" clId="{48B824AD-1B2A-47A8-8D92-6FE6E622A650}" dt="2024-12-16T18:26:11.113" v="198128"/>
          <ac:cxnSpMkLst>
            <pc:docMk/>
            <pc:sldMk cId="2266923667" sldId="295"/>
            <ac:cxnSpMk id="367" creationId="{1E3838D9-F19A-9D32-3CF0-750998D62679}"/>
          </ac:cxnSpMkLst>
        </pc:cxnChg>
        <pc:cxnChg chg="del mod ord">
          <ac:chgData name="Oğuz Öztekin" userId="33c0df0f-d5fe-4bda-8f43-141ad7af67e3" providerId="ADAL" clId="{48B824AD-1B2A-47A8-8D92-6FE6E622A650}" dt="2024-12-16T18:26:11.115" v="198132"/>
          <ac:cxnSpMkLst>
            <pc:docMk/>
            <pc:sldMk cId="2266923667" sldId="295"/>
            <ac:cxnSpMk id="368" creationId="{8BA0013E-CF74-8CD2-B845-795AABC15893}"/>
          </ac:cxnSpMkLst>
        </pc:cxnChg>
        <pc:cxnChg chg="del mod ord">
          <ac:chgData name="Oğuz Öztekin" userId="33c0df0f-d5fe-4bda-8f43-141ad7af67e3" providerId="ADAL" clId="{48B824AD-1B2A-47A8-8D92-6FE6E622A650}" dt="2024-12-16T18:26:11.116" v="198136"/>
          <ac:cxnSpMkLst>
            <pc:docMk/>
            <pc:sldMk cId="2266923667" sldId="295"/>
            <ac:cxnSpMk id="369" creationId="{7DBCA31B-1254-1A1F-7233-02C6BF29B254}"/>
          </ac:cxnSpMkLst>
        </pc:cxnChg>
        <pc:cxnChg chg="del mod ord">
          <ac:chgData name="Oğuz Öztekin" userId="33c0df0f-d5fe-4bda-8f43-141ad7af67e3" providerId="ADAL" clId="{48B824AD-1B2A-47A8-8D92-6FE6E622A650}" dt="2024-12-16T18:26:11.120" v="198144"/>
          <ac:cxnSpMkLst>
            <pc:docMk/>
            <pc:sldMk cId="2266923667" sldId="295"/>
            <ac:cxnSpMk id="370" creationId="{A3275C64-0EB1-6E7D-ECE0-1D21E127A98C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18:56:25.599" v="217872"/>
        <pc:sldMkLst>
          <pc:docMk/>
          <pc:sldMk cId="660051805" sldId="296"/>
        </pc:sldMkLst>
        <pc:spChg chg="mod ord">
          <ac:chgData name="Oğuz Öztekin" userId="33c0df0f-d5fe-4bda-8f43-141ad7af67e3" providerId="ADAL" clId="{48B824AD-1B2A-47A8-8D92-6FE6E622A650}" dt="2024-12-16T18:56:25.596" v="217832"/>
          <ac:spMkLst>
            <pc:docMk/>
            <pc:sldMk cId="660051805" sldId="296"/>
            <ac:spMk id="2" creationId="{14EA1EF1-0EB0-6707-310F-BB9E06DD3418}"/>
          </ac:spMkLst>
        </pc:spChg>
        <pc:spChg chg="add del mod modVis">
          <ac:chgData name="Oğuz Öztekin" userId="33c0df0f-d5fe-4bda-8f43-141ad7af67e3" providerId="ADAL" clId="{48B824AD-1B2A-47A8-8D92-6FE6E622A650}" dt="2024-12-16T18:45:10.014" v="211881"/>
          <ac:spMkLst>
            <pc:docMk/>
            <pc:sldMk cId="660051805" sldId="296"/>
            <ac:spMk id="4" creationId="{0D0238A3-7E6D-2ACD-4BA2-3AA78215CFB7}"/>
          </ac:spMkLst>
        </pc:spChg>
        <pc:spChg chg="add del mod modVis">
          <ac:chgData name="Oğuz Öztekin" userId="33c0df0f-d5fe-4bda-8f43-141ad7af67e3" providerId="ADAL" clId="{48B824AD-1B2A-47A8-8D92-6FE6E622A650}" dt="2024-12-16T18:45:11.550" v="211910"/>
          <ac:spMkLst>
            <pc:docMk/>
            <pc:sldMk cId="660051805" sldId="296"/>
            <ac:spMk id="5" creationId="{673B0AA0-CF44-12A2-82FB-6618EE27517D}"/>
          </ac:spMkLst>
        </pc:spChg>
        <pc:spChg chg="add del mod modVis">
          <ac:chgData name="Oğuz Öztekin" userId="33c0df0f-d5fe-4bda-8f43-141ad7af67e3" providerId="ADAL" clId="{48B824AD-1B2A-47A8-8D92-6FE6E622A650}" dt="2024-12-16T18:45:13.407" v="211941"/>
          <ac:spMkLst>
            <pc:docMk/>
            <pc:sldMk cId="660051805" sldId="296"/>
            <ac:spMk id="6" creationId="{687221A1-28E8-8070-A25E-956F902B2A30}"/>
          </ac:spMkLst>
        </pc:spChg>
        <pc:spChg chg="add del mod modVis">
          <ac:chgData name="Oğuz Öztekin" userId="33c0df0f-d5fe-4bda-8f43-141ad7af67e3" providerId="ADAL" clId="{48B824AD-1B2A-47A8-8D92-6FE6E622A650}" dt="2024-12-16T18:45:16.795" v="212338"/>
          <ac:spMkLst>
            <pc:docMk/>
            <pc:sldMk cId="660051805" sldId="296"/>
            <ac:spMk id="7" creationId="{1A3EB5EB-A817-7D58-3333-3CE4E0F44B48}"/>
          </ac:spMkLst>
        </pc:spChg>
        <pc:spChg chg="add del mod modVis">
          <ac:chgData name="Oğuz Öztekin" userId="33c0df0f-d5fe-4bda-8f43-141ad7af67e3" providerId="ADAL" clId="{48B824AD-1B2A-47A8-8D92-6FE6E622A650}" dt="2024-12-16T18:45:51.630" v="212381" actId="962"/>
          <ac:spMkLst>
            <pc:docMk/>
            <pc:sldMk cId="660051805" sldId="296"/>
            <ac:spMk id="13" creationId="{98655FBE-6F58-227B-0E31-FC7C97DF1F32}"/>
          </ac:spMkLst>
        </pc:spChg>
        <pc:spChg chg="add del mod modVis">
          <ac:chgData name="Oğuz Öztekin" userId="33c0df0f-d5fe-4bda-8f43-141ad7af67e3" providerId="ADAL" clId="{48B824AD-1B2A-47A8-8D92-6FE6E622A650}" dt="2024-12-16T18:45:58.392" v="212409"/>
          <ac:spMkLst>
            <pc:docMk/>
            <pc:sldMk cId="660051805" sldId="296"/>
            <ac:spMk id="14" creationId="{E56477FC-1F76-88D4-9000-2388A64718A1}"/>
          </ac:spMkLst>
        </pc:spChg>
        <pc:spChg chg="add del mod modVis">
          <ac:chgData name="Oğuz Öztekin" userId="33c0df0f-d5fe-4bda-8f43-141ad7af67e3" providerId="ADAL" clId="{48B824AD-1B2A-47A8-8D92-6FE6E622A650}" dt="2024-12-16T18:46:23.971" v="212452" actId="962"/>
          <ac:spMkLst>
            <pc:docMk/>
            <pc:sldMk cId="660051805" sldId="296"/>
            <ac:spMk id="15" creationId="{650B68A5-47F1-774F-8454-A0AB705DDF81}"/>
          </ac:spMkLst>
        </pc:spChg>
        <pc:spChg chg="add del mod modVis">
          <ac:chgData name="Oğuz Öztekin" userId="33c0df0f-d5fe-4bda-8f43-141ad7af67e3" providerId="ADAL" clId="{48B824AD-1B2A-47A8-8D92-6FE6E622A650}" dt="2024-12-16T18:46:30.244" v="212480"/>
          <ac:spMkLst>
            <pc:docMk/>
            <pc:sldMk cId="660051805" sldId="296"/>
            <ac:spMk id="16" creationId="{5F669BC0-FAC6-2084-8946-E871311AF86D}"/>
          </ac:spMkLst>
        </pc:spChg>
        <pc:spChg chg="add del mod modVis">
          <ac:chgData name="Oğuz Öztekin" userId="33c0df0f-d5fe-4bda-8f43-141ad7af67e3" providerId="ADAL" clId="{48B824AD-1B2A-47A8-8D92-6FE6E622A650}" dt="2024-12-16T18:46:32.342" v="212506"/>
          <ac:spMkLst>
            <pc:docMk/>
            <pc:sldMk cId="660051805" sldId="296"/>
            <ac:spMk id="17" creationId="{86E41300-39E1-5F94-B606-085BE60A59BE}"/>
          </ac:spMkLst>
        </pc:spChg>
        <pc:spChg chg="add del mod modVis">
          <ac:chgData name="Oğuz Öztekin" userId="33c0df0f-d5fe-4bda-8f43-141ad7af67e3" providerId="ADAL" clId="{48B824AD-1B2A-47A8-8D92-6FE6E622A650}" dt="2024-12-16T18:46:41.262" v="212533"/>
          <ac:spMkLst>
            <pc:docMk/>
            <pc:sldMk cId="660051805" sldId="296"/>
            <ac:spMk id="18" creationId="{3E83AB87-8890-4B01-5151-ED4B1B59C7A5}"/>
          </ac:spMkLst>
        </pc:spChg>
        <pc:spChg chg="add del mod modVis">
          <ac:chgData name="Oğuz Öztekin" userId="33c0df0f-d5fe-4bda-8f43-141ad7af67e3" providerId="ADAL" clId="{48B824AD-1B2A-47A8-8D92-6FE6E622A650}" dt="2024-12-16T18:46:43.917" v="212559"/>
          <ac:spMkLst>
            <pc:docMk/>
            <pc:sldMk cId="660051805" sldId="296"/>
            <ac:spMk id="19" creationId="{7B6685E1-A187-ACFB-0D2E-DAE15B0ECED9}"/>
          </ac:spMkLst>
        </pc:spChg>
        <pc:spChg chg="mod">
          <ac:chgData name="Oğuz Öztekin" userId="33c0df0f-d5fe-4bda-8f43-141ad7af67e3" providerId="ADAL" clId="{48B824AD-1B2A-47A8-8D92-6FE6E622A650}" dt="2024-12-16T18:56:25.599" v="217857"/>
          <ac:spMkLst>
            <pc:docMk/>
            <pc:sldMk cId="660051805" sldId="296"/>
            <ac:spMk id="20" creationId="{6BC2AD9C-54A5-24E3-468C-65081EB56E1C}"/>
          </ac:spMkLst>
        </pc:spChg>
        <pc:spChg chg="add del mod modVis">
          <ac:chgData name="Oğuz Öztekin" userId="33c0df0f-d5fe-4bda-8f43-141ad7af67e3" providerId="ADAL" clId="{48B824AD-1B2A-47A8-8D92-6FE6E622A650}" dt="2024-12-16T18:47:02.958" v="212775"/>
          <ac:spMkLst>
            <pc:docMk/>
            <pc:sldMk cId="660051805" sldId="296"/>
            <ac:spMk id="21" creationId="{50FF91BF-11E2-971D-9053-FB6F6CA81F30}"/>
          </ac:spMkLst>
        </pc:spChg>
        <pc:spChg chg="add del mod modVis">
          <ac:chgData name="Oğuz Öztekin" userId="33c0df0f-d5fe-4bda-8f43-141ad7af67e3" providerId="ADAL" clId="{48B824AD-1B2A-47A8-8D92-6FE6E622A650}" dt="2024-12-16T18:47:17.151" v="212895"/>
          <ac:spMkLst>
            <pc:docMk/>
            <pc:sldMk cId="660051805" sldId="296"/>
            <ac:spMk id="23" creationId="{BD7C658B-17B9-E57B-D824-122B439951A7}"/>
          </ac:spMkLst>
        </pc:spChg>
        <pc:spChg chg="add del mod modVis">
          <ac:chgData name="Oğuz Öztekin" userId="33c0df0f-d5fe-4bda-8f43-141ad7af67e3" providerId="ADAL" clId="{48B824AD-1B2A-47A8-8D92-6FE6E622A650}" dt="2024-12-16T18:48:28.564" v="213012"/>
          <ac:spMkLst>
            <pc:docMk/>
            <pc:sldMk cId="660051805" sldId="296"/>
            <ac:spMk id="25" creationId="{5378938F-7D5C-048A-F740-79647DDEF7CE}"/>
          </ac:spMkLst>
        </pc:spChg>
        <pc:spChg chg="add del mod modVis">
          <ac:chgData name="Oğuz Öztekin" userId="33c0df0f-d5fe-4bda-8f43-141ad7af67e3" providerId="ADAL" clId="{48B824AD-1B2A-47A8-8D92-6FE6E622A650}" dt="2024-12-16T18:48:36.563" v="213142"/>
          <ac:spMkLst>
            <pc:docMk/>
            <pc:sldMk cId="660051805" sldId="296"/>
            <ac:spMk id="27" creationId="{4F9D0BE1-4174-EC4B-6F65-BB960732ACB6}"/>
          </ac:spMkLst>
        </pc:spChg>
        <pc:spChg chg="mod">
          <ac:chgData name="Oğuz Öztekin" userId="33c0df0f-d5fe-4bda-8f43-141ad7af67e3" providerId="ADAL" clId="{48B824AD-1B2A-47A8-8D92-6FE6E622A650}" dt="2024-12-16T18:56:25.599" v="217858"/>
          <ac:spMkLst>
            <pc:docMk/>
            <pc:sldMk cId="660051805" sldId="296"/>
            <ac:spMk id="29" creationId="{0691BF75-94F7-DBA9-0483-F51A750212DC}"/>
          </ac:spMkLst>
        </pc:spChg>
        <pc:spChg chg="add del mod modVis">
          <ac:chgData name="Oğuz Öztekin" userId="33c0df0f-d5fe-4bda-8f43-141ad7af67e3" providerId="ADAL" clId="{48B824AD-1B2A-47A8-8D92-6FE6E622A650}" dt="2024-12-16T18:48:40.562" v="213229"/>
          <ac:spMkLst>
            <pc:docMk/>
            <pc:sldMk cId="660051805" sldId="296"/>
            <ac:spMk id="30" creationId="{4BC257A9-144E-F093-CE49-AEABC6361D0B}"/>
          </ac:spMkLst>
        </pc:spChg>
        <pc:spChg chg="add del mod modVis">
          <ac:chgData name="Oğuz Öztekin" userId="33c0df0f-d5fe-4bda-8f43-141ad7af67e3" providerId="ADAL" clId="{48B824AD-1B2A-47A8-8D92-6FE6E622A650}" dt="2024-12-16T18:49:30.906" v="213346"/>
          <ac:spMkLst>
            <pc:docMk/>
            <pc:sldMk cId="660051805" sldId="296"/>
            <ac:spMk id="32" creationId="{7E4D801A-92DE-934E-80E2-B6124A330825}"/>
          </ac:spMkLst>
        </pc:spChg>
        <pc:spChg chg="add del mod modVis">
          <ac:chgData name="Oğuz Öztekin" userId="33c0df0f-d5fe-4bda-8f43-141ad7af67e3" providerId="ADAL" clId="{48B824AD-1B2A-47A8-8D92-6FE6E622A650}" dt="2024-12-16T18:49:53.863" v="213407"/>
          <ac:spMkLst>
            <pc:docMk/>
            <pc:sldMk cId="660051805" sldId="296"/>
            <ac:spMk id="34" creationId="{81B3F492-6A96-3501-39BA-AA19CAFC00E6}"/>
          </ac:spMkLst>
        </pc:spChg>
        <pc:spChg chg="del mod">
          <ac:chgData name="Oğuz Öztekin" userId="33c0df0f-d5fe-4bda-8f43-141ad7af67e3" providerId="ADAL" clId="{48B824AD-1B2A-47A8-8D92-6FE6E622A650}" dt="2024-12-16T18:45:16.720" v="212129"/>
          <ac:spMkLst>
            <pc:docMk/>
            <pc:sldMk cId="660051805" sldId="296"/>
            <ac:spMk id="35" creationId="{E5D6EA34-C0C6-56C2-9C1C-28216EDC4525}"/>
          </ac:spMkLst>
        </pc:spChg>
        <pc:spChg chg="del mod">
          <ac:chgData name="Oğuz Öztekin" userId="33c0df0f-d5fe-4bda-8f43-141ad7af67e3" providerId="ADAL" clId="{48B824AD-1B2A-47A8-8D92-6FE6E622A650}" dt="2024-12-16T18:45:16.720" v="212130"/>
          <ac:spMkLst>
            <pc:docMk/>
            <pc:sldMk cId="660051805" sldId="296"/>
            <ac:spMk id="36" creationId="{650D0EBA-665D-98EA-3BA3-0C9DD591B4D4}"/>
          </ac:spMkLst>
        </pc:spChg>
        <pc:spChg chg="del mod">
          <ac:chgData name="Oğuz Öztekin" userId="33c0df0f-d5fe-4bda-8f43-141ad7af67e3" providerId="ADAL" clId="{48B824AD-1B2A-47A8-8D92-6FE6E622A650}" dt="2024-12-16T18:45:16.720" v="212131"/>
          <ac:spMkLst>
            <pc:docMk/>
            <pc:sldMk cId="660051805" sldId="296"/>
            <ac:spMk id="37" creationId="{845D0B59-40C5-64EB-75E8-623CAF0742C0}"/>
          </ac:spMkLst>
        </pc:spChg>
        <pc:spChg chg="add del mod modVis">
          <ac:chgData name="Oğuz Öztekin" userId="33c0df0f-d5fe-4bda-8f43-141ad7af67e3" providerId="ADAL" clId="{48B824AD-1B2A-47A8-8D92-6FE6E622A650}" dt="2024-12-16T18:50:02.470" v="213468"/>
          <ac:spMkLst>
            <pc:docMk/>
            <pc:sldMk cId="660051805" sldId="296"/>
            <ac:spMk id="39" creationId="{3BF37D4A-EF77-343B-7F82-3B93C77F3304}"/>
          </ac:spMkLst>
        </pc:spChg>
        <pc:spChg chg="add del mod modVis">
          <ac:chgData name="Oğuz Öztekin" userId="33c0df0f-d5fe-4bda-8f43-141ad7af67e3" providerId="ADAL" clId="{48B824AD-1B2A-47A8-8D92-6FE6E622A650}" dt="2024-12-16T18:50:09.144" v="213529"/>
          <ac:spMkLst>
            <pc:docMk/>
            <pc:sldMk cId="660051805" sldId="296"/>
            <ac:spMk id="41" creationId="{F776364D-C481-F841-B66D-017EEA509FF0}"/>
          </ac:spMkLst>
        </pc:spChg>
        <pc:spChg chg="add del mod modVis">
          <ac:chgData name="Oğuz Öztekin" userId="33c0df0f-d5fe-4bda-8f43-141ad7af67e3" providerId="ADAL" clId="{48B824AD-1B2A-47A8-8D92-6FE6E622A650}" dt="2024-12-16T18:50:14.622" v="213590"/>
          <ac:spMkLst>
            <pc:docMk/>
            <pc:sldMk cId="660051805" sldId="296"/>
            <ac:spMk id="43" creationId="{6CEDB8C2-C401-591D-2247-CF95FB1B90D3}"/>
          </ac:spMkLst>
        </pc:spChg>
        <pc:spChg chg="add del mod modVis">
          <ac:chgData name="Oğuz Öztekin" userId="33c0df0f-d5fe-4bda-8f43-141ad7af67e3" providerId="ADAL" clId="{48B824AD-1B2A-47A8-8D92-6FE6E622A650}" dt="2024-12-16T18:50:19.958" v="213651"/>
          <ac:spMkLst>
            <pc:docMk/>
            <pc:sldMk cId="660051805" sldId="296"/>
            <ac:spMk id="45" creationId="{59C9218C-2930-A191-4DFE-8B10F35C0ED8}"/>
          </ac:spMkLst>
        </pc:spChg>
        <pc:spChg chg="add del mod modVis">
          <ac:chgData name="Oğuz Öztekin" userId="33c0df0f-d5fe-4bda-8f43-141ad7af67e3" providerId="ADAL" clId="{48B824AD-1B2A-47A8-8D92-6FE6E622A650}" dt="2024-12-16T18:50:21.802" v="213712"/>
          <ac:spMkLst>
            <pc:docMk/>
            <pc:sldMk cId="660051805" sldId="296"/>
            <ac:spMk id="47" creationId="{A41BE6F6-4791-6828-6238-7EC38958E1F9}"/>
          </ac:spMkLst>
        </pc:spChg>
        <pc:spChg chg="add del mod modVis">
          <ac:chgData name="Oğuz Öztekin" userId="33c0df0f-d5fe-4bda-8f43-141ad7af67e3" providerId="ADAL" clId="{48B824AD-1B2A-47A8-8D92-6FE6E622A650}" dt="2024-12-16T18:50:29.406" v="213773"/>
          <ac:spMkLst>
            <pc:docMk/>
            <pc:sldMk cId="660051805" sldId="296"/>
            <ac:spMk id="49" creationId="{0A27E38F-38B7-A925-CDCF-575D63C2B9C3}"/>
          </ac:spMkLst>
        </pc:spChg>
        <pc:spChg chg="add del mod modVis">
          <ac:chgData name="Oğuz Öztekin" userId="33c0df0f-d5fe-4bda-8f43-141ad7af67e3" providerId="ADAL" clId="{48B824AD-1B2A-47A8-8D92-6FE6E622A650}" dt="2024-12-16T18:50:55.698" v="213834"/>
          <ac:spMkLst>
            <pc:docMk/>
            <pc:sldMk cId="660051805" sldId="296"/>
            <ac:spMk id="51" creationId="{82E0042B-D9B9-14D9-59A1-2D0E1FD6F2B3}"/>
          </ac:spMkLst>
        </pc:spChg>
        <pc:spChg chg="add del mod modVis">
          <ac:chgData name="Oğuz Öztekin" userId="33c0df0f-d5fe-4bda-8f43-141ad7af67e3" providerId="ADAL" clId="{48B824AD-1B2A-47A8-8D92-6FE6E622A650}" dt="2024-12-16T18:52:37.478" v="213915"/>
          <ac:spMkLst>
            <pc:docMk/>
            <pc:sldMk cId="660051805" sldId="296"/>
            <ac:spMk id="53" creationId="{A8CBFED9-BD0C-9FB3-1113-8338C5CBE65E}"/>
          </ac:spMkLst>
        </pc:spChg>
        <pc:spChg chg="add del mod modVis">
          <ac:chgData name="Oğuz Öztekin" userId="33c0df0f-d5fe-4bda-8f43-141ad7af67e3" providerId="ADAL" clId="{48B824AD-1B2A-47A8-8D92-6FE6E622A650}" dt="2024-12-16T18:52:54.401" v="213976"/>
          <ac:spMkLst>
            <pc:docMk/>
            <pc:sldMk cId="660051805" sldId="296"/>
            <ac:spMk id="55" creationId="{D7FD3CDA-F7EE-3AC1-5BFD-AD79BFE8F4F6}"/>
          </ac:spMkLst>
        </pc:spChg>
        <pc:spChg chg="add del mod modVis">
          <ac:chgData name="Oğuz Öztekin" userId="33c0df0f-d5fe-4bda-8f43-141ad7af67e3" providerId="ADAL" clId="{48B824AD-1B2A-47A8-8D92-6FE6E622A650}" dt="2024-12-16T18:53:02.231" v="214037"/>
          <ac:spMkLst>
            <pc:docMk/>
            <pc:sldMk cId="660051805" sldId="296"/>
            <ac:spMk id="57" creationId="{D8A0E40D-3EC1-BAA2-B79D-AC53DAD8CBDB}"/>
          </ac:spMkLst>
        </pc:spChg>
        <pc:spChg chg="add del mod modVis">
          <ac:chgData name="Oğuz Öztekin" userId="33c0df0f-d5fe-4bda-8f43-141ad7af67e3" providerId="ADAL" clId="{48B824AD-1B2A-47A8-8D92-6FE6E622A650}" dt="2024-12-16T18:53:07.281" v="214098"/>
          <ac:spMkLst>
            <pc:docMk/>
            <pc:sldMk cId="660051805" sldId="296"/>
            <ac:spMk id="59" creationId="{A60F8F17-1D39-D4B8-59CA-3B153ADE8E38}"/>
          </ac:spMkLst>
        </pc:spChg>
        <pc:spChg chg="add del mod modVis">
          <ac:chgData name="Oğuz Öztekin" userId="33c0df0f-d5fe-4bda-8f43-141ad7af67e3" providerId="ADAL" clId="{48B824AD-1B2A-47A8-8D92-6FE6E622A650}" dt="2024-12-16T18:53:16.359" v="214159"/>
          <ac:spMkLst>
            <pc:docMk/>
            <pc:sldMk cId="660051805" sldId="296"/>
            <ac:spMk id="61" creationId="{1A000CB4-B34B-0A8A-B88B-E08180B6506A}"/>
          </ac:spMkLst>
        </pc:spChg>
        <pc:spChg chg="add del mod modVis">
          <ac:chgData name="Oğuz Öztekin" userId="33c0df0f-d5fe-4bda-8f43-141ad7af67e3" providerId="ADAL" clId="{48B824AD-1B2A-47A8-8D92-6FE6E622A650}" dt="2024-12-16T18:53:21.544" v="214220"/>
          <ac:spMkLst>
            <pc:docMk/>
            <pc:sldMk cId="660051805" sldId="296"/>
            <ac:spMk id="63" creationId="{04400556-4DAE-DE4E-153F-9D39AE909EF7}"/>
          </ac:spMkLst>
        </pc:spChg>
        <pc:spChg chg="add del mod">
          <ac:chgData name="Oğuz Öztekin" userId="33c0df0f-d5fe-4bda-8f43-141ad7af67e3" providerId="ADAL" clId="{48B824AD-1B2A-47A8-8D92-6FE6E622A650}" dt="2024-12-16T18:54:49.955" v="215816"/>
          <ac:spMkLst>
            <pc:docMk/>
            <pc:sldMk cId="660051805" sldId="296"/>
            <ac:spMk id="64" creationId="{E05C3F34-A685-9479-921B-F6B6C3E5299C}"/>
          </ac:spMkLst>
        </pc:spChg>
        <pc:spChg chg="add del mod modVis">
          <ac:chgData name="Oğuz Öztekin" userId="33c0df0f-d5fe-4bda-8f43-141ad7af67e3" providerId="ADAL" clId="{48B824AD-1B2A-47A8-8D92-6FE6E622A650}" dt="2024-12-16T18:54:01.361" v="214944"/>
          <ac:spMkLst>
            <pc:docMk/>
            <pc:sldMk cId="660051805" sldId="296"/>
            <ac:spMk id="65" creationId="{310B4AC1-1760-C450-4FAE-8430AB2EC451}"/>
          </ac:spMkLst>
        </pc:spChg>
        <pc:spChg chg="add del mod modVis">
          <ac:chgData name="Oğuz Öztekin" userId="33c0df0f-d5fe-4bda-8f43-141ad7af67e3" providerId="ADAL" clId="{48B824AD-1B2A-47A8-8D92-6FE6E622A650}" dt="2024-12-16T18:54:03.257" v="215018"/>
          <ac:spMkLst>
            <pc:docMk/>
            <pc:sldMk cId="660051805" sldId="296"/>
            <ac:spMk id="67" creationId="{DB7D4333-05E9-DCAC-1C2D-3EF5A6F3C9B9}"/>
          </ac:spMkLst>
        </pc:spChg>
        <pc:spChg chg="add del mod modVis">
          <ac:chgData name="Oğuz Öztekin" userId="33c0df0f-d5fe-4bda-8f43-141ad7af67e3" providerId="ADAL" clId="{48B824AD-1B2A-47A8-8D92-6FE6E622A650}" dt="2024-12-16T18:54:13.465" v="215089"/>
          <ac:spMkLst>
            <pc:docMk/>
            <pc:sldMk cId="660051805" sldId="296"/>
            <ac:spMk id="69" creationId="{11112030-FF4F-8DE6-F784-1AEA8F054E22}"/>
          </ac:spMkLst>
        </pc:spChg>
        <pc:spChg chg="add del mod modVis">
          <ac:chgData name="Oğuz Öztekin" userId="33c0df0f-d5fe-4bda-8f43-141ad7af67e3" providerId="ADAL" clId="{48B824AD-1B2A-47A8-8D92-6FE6E622A650}" dt="2024-12-16T18:54:13.830" v="215170"/>
          <ac:spMkLst>
            <pc:docMk/>
            <pc:sldMk cId="660051805" sldId="296"/>
            <ac:spMk id="71" creationId="{7B578A59-76B9-DFFD-336B-098C8FC5DC93}"/>
          </ac:spMkLst>
        </pc:spChg>
        <pc:spChg chg="add del mod modVis">
          <ac:chgData name="Oğuz Öztekin" userId="33c0df0f-d5fe-4bda-8f43-141ad7af67e3" providerId="ADAL" clId="{48B824AD-1B2A-47A8-8D92-6FE6E622A650}" dt="2024-12-16T18:54:21.901" v="215239"/>
          <ac:spMkLst>
            <pc:docMk/>
            <pc:sldMk cId="660051805" sldId="296"/>
            <ac:spMk id="73" creationId="{10D9B3BD-F749-6EC3-7EDC-216DF3D1CDEE}"/>
          </ac:spMkLst>
        </pc:spChg>
        <pc:spChg chg="add mod">
          <ac:chgData name="Oğuz Öztekin" userId="33c0df0f-d5fe-4bda-8f43-141ad7af67e3" providerId="ADAL" clId="{48B824AD-1B2A-47A8-8D92-6FE6E622A650}" dt="2024-12-16T18:56:25.599" v="217861"/>
          <ac:spMkLst>
            <pc:docMk/>
            <pc:sldMk cId="660051805" sldId="296"/>
            <ac:spMk id="75" creationId="{CDDC5BDE-4F49-D3CD-8574-657012A0C2CA}"/>
          </ac:spMkLst>
        </pc:spChg>
        <pc:spChg chg="add del mod modVis">
          <ac:chgData name="Oğuz Öztekin" userId="33c0df0f-d5fe-4bda-8f43-141ad7af67e3" providerId="ADAL" clId="{48B824AD-1B2A-47A8-8D92-6FE6E622A650}" dt="2024-12-16T18:54:32.939" v="215356"/>
          <ac:spMkLst>
            <pc:docMk/>
            <pc:sldMk cId="660051805" sldId="296"/>
            <ac:spMk id="76" creationId="{3AB6215F-EF71-BD23-FE97-3488334CEEBB}"/>
          </ac:spMkLst>
        </pc:spChg>
        <pc:spChg chg="add mod">
          <ac:chgData name="Oğuz Öztekin" userId="33c0df0f-d5fe-4bda-8f43-141ad7af67e3" providerId="ADAL" clId="{48B824AD-1B2A-47A8-8D92-6FE6E622A650}" dt="2024-12-16T18:56:25.599" v="217862"/>
          <ac:spMkLst>
            <pc:docMk/>
            <pc:sldMk cId="660051805" sldId="296"/>
            <ac:spMk id="78" creationId="{CA326A63-44FA-07F6-0D0E-889B68FC46EC}"/>
          </ac:spMkLst>
        </pc:spChg>
        <pc:spChg chg="add del mod modVis">
          <ac:chgData name="Oğuz Öztekin" userId="33c0df0f-d5fe-4bda-8f43-141ad7af67e3" providerId="ADAL" clId="{48B824AD-1B2A-47A8-8D92-6FE6E622A650}" dt="2024-12-16T18:54:41.444" v="215519"/>
          <ac:spMkLst>
            <pc:docMk/>
            <pc:sldMk cId="660051805" sldId="296"/>
            <ac:spMk id="79" creationId="{03745B28-C96A-99F7-AB30-B818096D3FE3}"/>
          </ac:spMkLst>
        </pc:spChg>
        <pc:spChg chg="add mod">
          <ac:chgData name="Oğuz Öztekin" userId="33c0df0f-d5fe-4bda-8f43-141ad7af67e3" providerId="ADAL" clId="{48B824AD-1B2A-47A8-8D92-6FE6E622A650}" dt="2024-12-16T18:56:25.599" v="217863"/>
          <ac:spMkLst>
            <pc:docMk/>
            <pc:sldMk cId="660051805" sldId="296"/>
            <ac:spMk id="84" creationId="{55247868-33D3-5015-7559-51269CD2E3B4}"/>
          </ac:spMkLst>
        </pc:spChg>
        <pc:spChg chg="add del mod modVis">
          <ac:chgData name="Oğuz Öztekin" userId="33c0df0f-d5fe-4bda-8f43-141ad7af67e3" providerId="ADAL" clId="{48B824AD-1B2A-47A8-8D92-6FE6E622A650}" dt="2024-12-16T18:54:44.256" v="215638"/>
          <ac:spMkLst>
            <pc:docMk/>
            <pc:sldMk cId="660051805" sldId="296"/>
            <ac:spMk id="85" creationId="{E99A55F1-9337-B521-DB21-ED7BD31380D8}"/>
          </ac:spMkLst>
        </pc:spChg>
        <pc:spChg chg="del mod">
          <ac:chgData name="Oğuz Öztekin" userId="33c0df0f-d5fe-4bda-8f43-141ad7af67e3" providerId="ADAL" clId="{48B824AD-1B2A-47A8-8D92-6FE6E622A650}" dt="2024-12-16T18:45:16.720" v="212132"/>
          <ac:spMkLst>
            <pc:docMk/>
            <pc:sldMk cId="660051805" sldId="296"/>
            <ac:spMk id="86" creationId="{D9D4A698-2354-26E0-A31A-F5FD5057B3E6}"/>
          </ac:spMkLst>
        </pc:spChg>
        <pc:spChg chg="del mod">
          <ac:chgData name="Oğuz Öztekin" userId="33c0df0f-d5fe-4bda-8f43-141ad7af67e3" providerId="ADAL" clId="{48B824AD-1B2A-47A8-8D92-6FE6E622A650}" dt="2024-12-16T18:45:16.720" v="212133"/>
          <ac:spMkLst>
            <pc:docMk/>
            <pc:sldMk cId="660051805" sldId="296"/>
            <ac:spMk id="87" creationId="{B1922E97-A6FD-313D-A07B-57B6DD98A310}"/>
          </ac:spMkLst>
        </pc:spChg>
        <pc:spChg chg="del mod">
          <ac:chgData name="Oğuz Öztekin" userId="33c0df0f-d5fe-4bda-8f43-141ad7af67e3" providerId="ADAL" clId="{48B824AD-1B2A-47A8-8D92-6FE6E622A650}" dt="2024-12-16T18:45:16.720" v="212134"/>
          <ac:spMkLst>
            <pc:docMk/>
            <pc:sldMk cId="660051805" sldId="296"/>
            <ac:spMk id="88" creationId="{88319619-6DA5-4E55-690E-ECA624127C5F}"/>
          </ac:spMkLst>
        </pc:spChg>
        <pc:spChg chg="del mod">
          <ac:chgData name="Oğuz Öztekin" userId="33c0df0f-d5fe-4bda-8f43-141ad7af67e3" providerId="ADAL" clId="{48B824AD-1B2A-47A8-8D92-6FE6E622A650}" dt="2024-12-16T18:45:16.720" v="212135"/>
          <ac:spMkLst>
            <pc:docMk/>
            <pc:sldMk cId="660051805" sldId="296"/>
            <ac:spMk id="89" creationId="{F3C5F277-7977-FF00-2AED-343542C13846}"/>
          </ac:spMkLst>
        </pc:spChg>
        <pc:spChg chg="del mod">
          <ac:chgData name="Oğuz Öztekin" userId="33c0df0f-d5fe-4bda-8f43-141ad7af67e3" providerId="ADAL" clId="{48B824AD-1B2A-47A8-8D92-6FE6E622A650}" dt="2024-12-16T18:45:16.720" v="212136"/>
          <ac:spMkLst>
            <pc:docMk/>
            <pc:sldMk cId="660051805" sldId="296"/>
            <ac:spMk id="90" creationId="{E70DD661-73C6-DFC7-907E-3165B9EF08D9}"/>
          </ac:spMkLst>
        </pc:spChg>
        <pc:spChg chg="del mod">
          <ac:chgData name="Oğuz Öztekin" userId="33c0df0f-d5fe-4bda-8f43-141ad7af67e3" providerId="ADAL" clId="{48B824AD-1B2A-47A8-8D92-6FE6E622A650}" dt="2024-12-16T18:45:16.720" v="212137"/>
          <ac:spMkLst>
            <pc:docMk/>
            <pc:sldMk cId="660051805" sldId="296"/>
            <ac:spMk id="91" creationId="{48C3A264-C54E-8226-E432-EC960DDDD3D4}"/>
          </ac:spMkLst>
        </pc:spChg>
        <pc:spChg chg="del mod">
          <ac:chgData name="Oğuz Öztekin" userId="33c0df0f-d5fe-4bda-8f43-141ad7af67e3" providerId="ADAL" clId="{48B824AD-1B2A-47A8-8D92-6FE6E622A650}" dt="2024-12-16T18:45:16.724" v="212138"/>
          <ac:spMkLst>
            <pc:docMk/>
            <pc:sldMk cId="660051805" sldId="296"/>
            <ac:spMk id="92" creationId="{01139C40-A5EB-31C3-236C-6A035AB0D5C4}"/>
          </ac:spMkLst>
        </pc:spChg>
        <pc:spChg chg="add mod">
          <ac:chgData name="Oğuz Öztekin" userId="33c0df0f-d5fe-4bda-8f43-141ad7af67e3" providerId="ADAL" clId="{48B824AD-1B2A-47A8-8D92-6FE6E622A650}" dt="2024-12-16T18:56:25.599" v="217864"/>
          <ac:spMkLst>
            <pc:docMk/>
            <pc:sldMk cId="660051805" sldId="296"/>
            <ac:spMk id="94" creationId="{8FFCEC06-A613-5BF7-535A-5CDCAE829711}"/>
          </ac:spMkLst>
        </pc:spChg>
        <pc:spChg chg="add del mod modVis">
          <ac:chgData name="Oğuz Öztekin" userId="33c0df0f-d5fe-4bda-8f43-141ad7af67e3" providerId="ADAL" clId="{48B824AD-1B2A-47A8-8D92-6FE6E622A650}" dt="2024-12-16T18:54:46.383" v="215809"/>
          <ac:spMkLst>
            <pc:docMk/>
            <pc:sldMk cId="660051805" sldId="296"/>
            <ac:spMk id="95" creationId="{EFDF3578-C538-D4C8-9265-305460F22128}"/>
          </ac:spMkLst>
        </pc:spChg>
        <pc:spChg chg="add del mod modVis">
          <ac:chgData name="Oğuz Öztekin" userId="33c0df0f-d5fe-4bda-8f43-141ad7af67e3" providerId="ADAL" clId="{48B824AD-1B2A-47A8-8D92-6FE6E622A650}" dt="2024-12-16T18:53:27.969" v="214281"/>
          <ac:spMkLst>
            <pc:docMk/>
            <pc:sldMk cId="660051805" sldId="296"/>
            <ac:spMk id="289" creationId="{19A84207-AA92-6AF7-53AD-F52BA384E5B3}"/>
          </ac:spMkLst>
        </pc:spChg>
        <pc:spChg chg="add del mod modVis">
          <ac:chgData name="Oğuz Öztekin" userId="33c0df0f-d5fe-4bda-8f43-141ad7af67e3" providerId="ADAL" clId="{48B824AD-1B2A-47A8-8D92-6FE6E622A650}" dt="2024-12-16T18:53:33.302" v="214342"/>
          <ac:spMkLst>
            <pc:docMk/>
            <pc:sldMk cId="660051805" sldId="296"/>
            <ac:spMk id="291" creationId="{DCEB36B6-E3A0-989D-62A7-669B1C517AB7}"/>
          </ac:spMkLst>
        </pc:spChg>
        <pc:spChg chg="del mod">
          <ac:chgData name="Oğuz Öztekin" userId="33c0df0f-d5fe-4bda-8f43-141ad7af67e3" providerId="ADAL" clId="{48B824AD-1B2A-47A8-8D92-6FE6E622A650}" dt="2024-12-16T18:48:36.460" v="213017"/>
          <ac:spMkLst>
            <pc:docMk/>
            <pc:sldMk cId="660051805" sldId="296"/>
            <ac:spMk id="292" creationId="{0AD03547-F7D6-F29F-2C07-3DA9156C0605}"/>
          </ac:spMkLst>
        </pc:spChg>
        <pc:spChg chg="del mod">
          <ac:chgData name="Oğuz Öztekin" userId="33c0df0f-d5fe-4bda-8f43-141ad7af67e3" providerId="ADAL" clId="{48B824AD-1B2A-47A8-8D92-6FE6E622A650}" dt="2024-12-16T18:48:36.462" v="213020"/>
          <ac:spMkLst>
            <pc:docMk/>
            <pc:sldMk cId="660051805" sldId="296"/>
            <ac:spMk id="295" creationId="{A5DE2185-30F7-AA1D-C8C0-F0E6AB5FB71F}"/>
          </ac:spMkLst>
        </pc:spChg>
        <pc:spChg chg="add del mod modVis">
          <ac:chgData name="Oğuz Öztekin" userId="33c0df0f-d5fe-4bda-8f43-141ad7af67e3" providerId="ADAL" clId="{48B824AD-1B2A-47A8-8D92-6FE6E622A650}" dt="2024-12-16T18:53:36.455" v="214403"/>
          <ac:spMkLst>
            <pc:docMk/>
            <pc:sldMk cId="660051805" sldId="296"/>
            <ac:spMk id="296" creationId="{64053A12-465D-6F87-E5AF-55B6588CC9A1}"/>
          </ac:spMkLst>
        </pc:spChg>
        <pc:spChg chg="del mod">
          <ac:chgData name="Oğuz Öztekin" userId="33c0df0f-d5fe-4bda-8f43-141ad7af67e3" providerId="ADAL" clId="{48B824AD-1B2A-47A8-8D92-6FE6E622A650}" dt="2024-12-16T18:48:36.464" v="213026"/>
          <ac:spMkLst>
            <pc:docMk/>
            <pc:sldMk cId="660051805" sldId="296"/>
            <ac:spMk id="298" creationId="{0CE4A418-BCFF-246A-6BC0-C604973D6093}"/>
          </ac:spMkLst>
        </pc:spChg>
        <pc:spChg chg="add del mod modVis">
          <ac:chgData name="Oğuz Öztekin" userId="33c0df0f-d5fe-4bda-8f43-141ad7af67e3" providerId="ADAL" clId="{48B824AD-1B2A-47A8-8D92-6FE6E622A650}" dt="2024-12-16T18:53:50.195" v="214524"/>
          <ac:spMkLst>
            <pc:docMk/>
            <pc:sldMk cId="660051805" sldId="296"/>
            <ac:spMk id="299" creationId="{80F61CEC-C2C2-100F-D386-A003F9092CC1}"/>
          </ac:spMkLst>
        </pc:spChg>
        <pc:spChg chg="add mod">
          <ac:chgData name="Oğuz Öztekin" userId="33c0df0f-d5fe-4bda-8f43-141ad7af67e3" providerId="ADAL" clId="{48B824AD-1B2A-47A8-8D92-6FE6E622A650}" dt="2024-12-16T18:56:25.599" v="217859"/>
          <ac:spMkLst>
            <pc:docMk/>
            <pc:sldMk cId="660051805" sldId="296"/>
            <ac:spMk id="300" creationId="{A0F4E7A1-275A-9C18-6ECB-1B3FD952B781}"/>
          </ac:spMkLst>
        </pc:spChg>
        <pc:spChg chg="del mod">
          <ac:chgData name="Oğuz Öztekin" userId="33c0df0f-d5fe-4bda-8f43-141ad7af67e3" providerId="ADAL" clId="{48B824AD-1B2A-47A8-8D92-6FE6E622A650}" dt="2024-12-16T18:48:36.465" v="213029"/>
          <ac:spMkLst>
            <pc:docMk/>
            <pc:sldMk cId="660051805" sldId="296"/>
            <ac:spMk id="301" creationId="{854D29CE-999D-6B3D-40EE-DD0432C5554F}"/>
          </ac:spMkLst>
        </pc:spChg>
        <pc:spChg chg="add mod">
          <ac:chgData name="Oğuz Öztekin" userId="33c0df0f-d5fe-4bda-8f43-141ad7af67e3" providerId="ADAL" clId="{48B824AD-1B2A-47A8-8D92-6FE6E622A650}" dt="2024-12-16T18:56:25.599" v="217860"/>
          <ac:spMkLst>
            <pc:docMk/>
            <pc:sldMk cId="660051805" sldId="296"/>
            <ac:spMk id="303" creationId="{52E4FCC2-CCC8-F1A5-575A-D2942D415FA5}"/>
          </ac:spMkLst>
        </pc:spChg>
        <pc:spChg chg="del mod">
          <ac:chgData name="Oğuz Öztekin" userId="33c0df0f-d5fe-4bda-8f43-141ad7af67e3" providerId="ADAL" clId="{48B824AD-1B2A-47A8-8D92-6FE6E622A650}" dt="2024-12-16T18:48:36.466" v="213032"/>
          <ac:spMkLst>
            <pc:docMk/>
            <pc:sldMk cId="660051805" sldId="296"/>
            <ac:spMk id="304" creationId="{CCE0E63F-D450-D126-D5C6-5F50D4957155}"/>
          </ac:spMkLst>
        </pc:spChg>
        <pc:spChg chg="add del mod modVis">
          <ac:chgData name="Oğuz Öztekin" userId="33c0df0f-d5fe-4bda-8f43-141ad7af67e3" providerId="ADAL" clId="{48B824AD-1B2A-47A8-8D92-6FE6E622A650}" dt="2024-12-16T18:53:52.838" v="214625"/>
          <ac:spMkLst>
            <pc:docMk/>
            <pc:sldMk cId="660051805" sldId="296"/>
            <ac:spMk id="305" creationId="{D29B4A5A-544E-EA9A-98F4-26D8B66312BB}"/>
          </ac:spMkLst>
        </pc:spChg>
        <pc:spChg chg="del mod">
          <ac:chgData name="Oğuz Öztekin" userId="33c0df0f-d5fe-4bda-8f43-141ad7af67e3" providerId="ADAL" clId="{48B824AD-1B2A-47A8-8D92-6FE6E622A650}" dt="2024-12-16T18:48:36.467" v="213035"/>
          <ac:spMkLst>
            <pc:docMk/>
            <pc:sldMk cId="660051805" sldId="296"/>
            <ac:spMk id="308" creationId="{598E508F-12FD-8364-FA9B-2B861E109709}"/>
          </ac:spMkLst>
        </pc:spChg>
        <pc:spChg chg="add del mod">
          <ac:chgData name="Oğuz Öztekin" userId="33c0df0f-d5fe-4bda-8f43-141ad7af67e3" providerId="ADAL" clId="{48B824AD-1B2A-47A8-8D92-6FE6E622A650}" dt="2024-12-16T18:54:59.619" v="216461"/>
          <ac:spMkLst>
            <pc:docMk/>
            <pc:sldMk cId="660051805" sldId="296"/>
            <ac:spMk id="309" creationId="{A6D15B8C-EB0C-0329-569B-76156554D8AD}"/>
          </ac:spMkLst>
        </pc:spChg>
        <pc:spChg chg="add del mod modVis">
          <ac:chgData name="Oğuz Öztekin" userId="33c0df0f-d5fe-4bda-8f43-141ad7af67e3" providerId="ADAL" clId="{48B824AD-1B2A-47A8-8D92-6FE6E622A650}" dt="2024-12-16T18:53:54.543" v="214728"/>
          <ac:spMkLst>
            <pc:docMk/>
            <pc:sldMk cId="660051805" sldId="296"/>
            <ac:spMk id="310" creationId="{9F4F8645-088E-70C5-6068-BFC291E5C890}"/>
          </ac:spMkLst>
        </pc:spChg>
        <pc:spChg chg="del mod">
          <ac:chgData name="Oğuz Öztekin" userId="33c0df0f-d5fe-4bda-8f43-141ad7af67e3" providerId="ADAL" clId="{48B824AD-1B2A-47A8-8D92-6FE6E622A650}" dt="2024-12-16T18:48:36.467" v="213038"/>
          <ac:spMkLst>
            <pc:docMk/>
            <pc:sldMk cId="660051805" sldId="296"/>
            <ac:spMk id="311" creationId="{5ABB3669-252D-93BE-BF16-11C1353AB85D}"/>
          </ac:spMkLst>
        </pc:spChg>
        <pc:spChg chg="add del mod">
          <ac:chgData name="Oğuz Öztekin" userId="33c0df0f-d5fe-4bda-8f43-141ad7af67e3" providerId="ADAL" clId="{48B824AD-1B2A-47A8-8D92-6FE6E622A650}" dt="2024-12-16T18:54:03.188" v="214947"/>
          <ac:spMkLst>
            <pc:docMk/>
            <pc:sldMk cId="660051805" sldId="296"/>
            <ac:spMk id="314" creationId="{589A0FF3-4F3B-F12E-78D2-96698975ED1F}"/>
          </ac:spMkLst>
        </pc:spChg>
        <pc:spChg chg="del mod">
          <ac:chgData name="Oğuz Öztekin" userId="33c0df0f-d5fe-4bda-8f43-141ad7af67e3" providerId="ADAL" clId="{48B824AD-1B2A-47A8-8D92-6FE6E622A650}" dt="2024-12-16T18:48:36.469" v="213041"/>
          <ac:spMkLst>
            <pc:docMk/>
            <pc:sldMk cId="660051805" sldId="296"/>
            <ac:spMk id="315" creationId="{04110A61-779B-AEF9-0D91-92F250F39D45}"/>
          </ac:spMkLst>
        </pc:spChg>
        <pc:spChg chg="add del mod modVis">
          <ac:chgData name="Oğuz Öztekin" userId="33c0df0f-d5fe-4bda-8f43-141ad7af67e3" providerId="ADAL" clId="{48B824AD-1B2A-47A8-8D92-6FE6E622A650}" dt="2024-12-16T18:53:59.739" v="214837"/>
          <ac:spMkLst>
            <pc:docMk/>
            <pc:sldMk cId="660051805" sldId="296"/>
            <ac:spMk id="316" creationId="{D1A59C1D-72B2-9995-9ED4-A998C96C6D53}"/>
          </ac:spMkLst>
        </pc:spChg>
        <pc:spChg chg="del mod">
          <ac:chgData name="Oğuz Öztekin" userId="33c0df0f-d5fe-4bda-8f43-141ad7af67e3" providerId="ADAL" clId="{48B824AD-1B2A-47A8-8D92-6FE6E622A650}" dt="2024-12-16T18:48:36.470" v="213044"/>
          <ac:spMkLst>
            <pc:docMk/>
            <pc:sldMk cId="660051805" sldId="296"/>
            <ac:spMk id="319" creationId="{432CBDB2-CBDC-B72C-3129-F3812516EB2F}"/>
          </ac:spMkLst>
        </pc:spChg>
        <pc:spChg chg="del mod">
          <ac:chgData name="Oğuz Öztekin" userId="33c0df0f-d5fe-4bda-8f43-141ad7af67e3" providerId="ADAL" clId="{48B824AD-1B2A-47A8-8D92-6FE6E622A650}" dt="2024-12-16T18:48:36.470" v="213045"/>
          <ac:spMkLst>
            <pc:docMk/>
            <pc:sldMk cId="660051805" sldId="296"/>
            <ac:spMk id="323" creationId="{5D4A5DBB-7CF8-5725-993F-BF42DD17257A}"/>
          </ac:spMkLst>
        </pc:spChg>
        <pc:spChg chg="del mod">
          <ac:chgData name="Oğuz Öztekin" userId="33c0df0f-d5fe-4bda-8f43-141ad7af67e3" providerId="ADAL" clId="{48B824AD-1B2A-47A8-8D92-6FE6E622A650}" dt="2024-12-16T18:48:36.470" v="213046"/>
          <ac:spMkLst>
            <pc:docMk/>
            <pc:sldMk cId="660051805" sldId="296"/>
            <ac:spMk id="326" creationId="{D03FA31B-DC01-F703-5AA5-1B25FBE6D9C3}"/>
          </ac:spMkLst>
        </pc:spChg>
        <pc:spChg chg="add del mod modVis">
          <ac:chgData name="Oğuz Öztekin" userId="33c0df0f-d5fe-4bda-8f43-141ad7af67e3" providerId="ADAL" clId="{48B824AD-1B2A-47A8-8D92-6FE6E622A650}" dt="2024-12-16T18:54:50.024" v="215897"/>
          <ac:spMkLst>
            <pc:docMk/>
            <pc:sldMk cId="660051805" sldId="296"/>
            <ac:spMk id="327" creationId="{3B4578BD-4BDC-F2FF-A3EE-DDA12CB589EE}"/>
          </ac:spMkLst>
        </pc:spChg>
        <pc:spChg chg="del mod">
          <ac:chgData name="Oğuz Öztekin" userId="33c0df0f-d5fe-4bda-8f43-141ad7af67e3" providerId="ADAL" clId="{48B824AD-1B2A-47A8-8D92-6FE6E622A650}" dt="2024-12-16T18:48:36.471" v="213049"/>
          <ac:spMkLst>
            <pc:docMk/>
            <pc:sldMk cId="660051805" sldId="296"/>
            <ac:spMk id="329" creationId="{57126B9D-BCAF-9C54-2FCD-1FADC9462C33}"/>
          </ac:spMkLst>
        </pc:spChg>
        <pc:spChg chg="add mod">
          <ac:chgData name="Oğuz Öztekin" userId="33c0df0f-d5fe-4bda-8f43-141ad7af67e3" providerId="ADAL" clId="{48B824AD-1B2A-47A8-8D92-6FE6E622A650}" dt="2024-12-16T18:56:25.599" v="217865"/>
          <ac:spMkLst>
            <pc:docMk/>
            <pc:sldMk cId="660051805" sldId="296"/>
            <ac:spMk id="330" creationId="{CF6BF351-FED1-84DC-F3AE-B8C40A8DEEC3}"/>
          </ac:spMkLst>
        </pc:spChg>
        <pc:spChg chg="add del mod modVis">
          <ac:chgData name="Oğuz Öztekin" userId="33c0df0f-d5fe-4bda-8f43-141ad7af67e3" providerId="ADAL" clId="{48B824AD-1B2A-47A8-8D92-6FE6E622A650}" dt="2024-12-16T18:54:52.164" v="216050"/>
          <ac:spMkLst>
            <pc:docMk/>
            <pc:sldMk cId="660051805" sldId="296"/>
            <ac:spMk id="331" creationId="{298ED3CF-81D1-4143-CD92-ECEEE63532DF}"/>
          </ac:spMkLst>
        </pc:spChg>
        <pc:spChg chg="del mod">
          <ac:chgData name="Oğuz Öztekin" userId="33c0df0f-d5fe-4bda-8f43-141ad7af67e3" providerId="ADAL" clId="{48B824AD-1B2A-47A8-8D92-6FE6E622A650}" dt="2024-12-16T18:48:36.472" v="213052"/>
          <ac:spMkLst>
            <pc:docMk/>
            <pc:sldMk cId="660051805" sldId="296"/>
            <ac:spMk id="332" creationId="{71EB4E0E-534C-4BED-FCFB-401888F67E1F}"/>
          </ac:spMkLst>
        </pc:spChg>
        <pc:spChg chg="del mod">
          <ac:chgData name="Oğuz Öztekin" userId="33c0df0f-d5fe-4bda-8f43-141ad7af67e3" providerId="ADAL" clId="{48B824AD-1B2A-47A8-8D92-6FE6E622A650}" dt="2024-12-16T18:48:36.473" v="213055"/>
          <ac:spMkLst>
            <pc:docMk/>
            <pc:sldMk cId="660051805" sldId="296"/>
            <ac:spMk id="335" creationId="{FE5FC766-71DC-31F8-8299-42B4802D0EF2}"/>
          </ac:spMkLst>
        </pc:spChg>
        <pc:spChg chg="add mod">
          <ac:chgData name="Oğuz Öztekin" userId="33c0df0f-d5fe-4bda-8f43-141ad7af67e3" providerId="ADAL" clId="{48B824AD-1B2A-47A8-8D92-6FE6E622A650}" dt="2024-12-16T18:56:25.599" v="217866"/>
          <ac:spMkLst>
            <pc:docMk/>
            <pc:sldMk cId="660051805" sldId="296"/>
            <ac:spMk id="337" creationId="{BC608E50-B421-FBB4-4A21-5FF76B9BFE8D}"/>
          </ac:spMkLst>
        </pc:spChg>
        <pc:spChg chg="add del mod modVis">
          <ac:chgData name="Oğuz Öztekin" userId="33c0df0f-d5fe-4bda-8f43-141ad7af67e3" providerId="ADAL" clId="{48B824AD-1B2A-47A8-8D92-6FE6E622A650}" dt="2024-12-16T18:54:53.835" v="216253"/>
          <ac:spMkLst>
            <pc:docMk/>
            <pc:sldMk cId="660051805" sldId="296"/>
            <ac:spMk id="338" creationId="{4A061095-FD29-9D10-FFBC-17BA1C345446}"/>
          </ac:spMkLst>
        </pc:spChg>
        <pc:spChg chg="add mod">
          <ac:chgData name="Oğuz Öztekin" userId="33c0df0f-d5fe-4bda-8f43-141ad7af67e3" providerId="ADAL" clId="{48B824AD-1B2A-47A8-8D92-6FE6E622A650}" dt="2024-12-16T18:56:25.599" v="217867"/>
          <ac:spMkLst>
            <pc:docMk/>
            <pc:sldMk cId="660051805" sldId="296"/>
            <ac:spMk id="344" creationId="{7CB78E65-5007-DCCC-F450-0DEAA55AD8AB}"/>
          </ac:spMkLst>
        </pc:spChg>
        <pc:spChg chg="add del mod modVis">
          <ac:chgData name="Oğuz Öztekin" userId="33c0df0f-d5fe-4bda-8f43-141ad7af67e3" providerId="ADAL" clId="{48B824AD-1B2A-47A8-8D92-6FE6E622A650}" dt="2024-12-16T18:54:58.112" v="216454"/>
          <ac:spMkLst>
            <pc:docMk/>
            <pc:sldMk cId="660051805" sldId="296"/>
            <ac:spMk id="345" creationId="{16F157E6-282D-A8DE-DB8E-DD4EF4463F65}"/>
          </ac:spMkLst>
        </pc:spChg>
        <pc:spChg chg="add del mod modVis">
          <ac:chgData name="Oğuz Öztekin" userId="33c0df0f-d5fe-4bda-8f43-141ad7af67e3" providerId="ADAL" clId="{48B824AD-1B2A-47A8-8D92-6FE6E622A650}" dt="2024-12-16T18:54:59.693" v="216574"/>
          <ac:spMkLst>
            <pc:docMk/>
            <pc:sldMk cId="660051805" sldId="296"/>
            <ac:spMk id="350" creationId="{BC42F4C7-2FF3-D04C-C076-17570EB1F07C}"/>
          </ac:spMkLst>
        </pc:spChg>
        <pc:spChg chg="add mod">
          <ac:chgData name="Oğuz Öztekin" userId="33c0df0f-d5fe-4bda-8f43-141ad7af67e3" providerId="ADAL" clId="{48B824AD-1B2A-47A8-8D92-6FE6E622A650}" dt="2024-12-16T18:56:25.599" v="217868"/>
          <ac:spMkLst>
            <pc:docMk/>
            <pc:sldMk cId="660051805" sldId="296"/>
            <ac:spMk id="352" creationId="{0330D388-6261-D326-B358-C503691122AC}"/>
          </ac:spMkLst>
        </pc:spChg>
        <pc:spChg chg="add del mod modVis">
          <ac:chgData name="Oğuz Öztekin" userId="33c0df0f-d5fe-4bda-8f43-141ad7af67e3" providerId="ADAL" clId="{48B824AD-1B2A-47A8-8D92-6FE6E622A650}" dt="2024-12-16T18:55:01.454" v="216773"/>
          <ac:spMkLst>
            <pc:docMk/>
            <pc:sldMk cId="660051805" sldId="296"/>
            <ac:spMk id="353" creationId="{B8801D22-7E18-B119-B9A2-8AA19259AD6D}"/>
          </ac:spMkLst>
        </pc:spChg>
        <pc:spChg chg="add del mod modVis">
          <ac:chgData name="Oğuz Öztekin" userId="33c0df0f-d5fe-4bda-8f43-141ad7af67e3" providerId="ADAL" clId="{48B824AD-1B2A-47A8-8D92-6FE6E622A650}" dt="2024-12-16T18:55:14.393" v="216943"/>
          <ac:spMkLst>
            <pc:docMk/>
            <pc:sldMk cId="660051805" sldId="296"/>
            <ac:spMk id="358" creationId="{EA6774E9-9B12-E479-50F0-B28C1552100F}"/>
          </ac:spMkLst>
        </pc:spChg>
        <pc:spChg chg="add del mod modVis">
          <ac:chgData name="Oğuz Öztekin" userId="33c0df0f-d5fe-4bda-8f43-141ad7af67e3" providerId="ADAL" clId="{48B824AD-1B2A-47A8-8D92-6FE6E622A650}" dt="2024-12-16T18:55:30.607" v="217046"/>
          <ac:spMkLst>
            <pc:docMk/>
            <pc:sldMk cId="660051805" sldId="296"/>
            <ac:spMk id="360" creationId="{88D0F1E2-2819-39AF-E094-9E4151F1810A}"/>
          </ac:spMkLst>
        </pc:spChg>
        <pc:spChg chg="add del mod modVis">
          <ac:chgData name="Oğuz Öztekin" userId="33c0df0f-d5fe-4bda-8f43-141ad7af67e3" providerId="ADAL" clId="{48B824AD-1B2A-47A8-8D92-6FE6E622A650}" dt="2024-12-16T18:55:34.802" v="217149"/>
          <ac:spMkLst>
            <pc:docMk/>
            <pc:sldMk cId="660051805" sldId="296"/>
            <ac:spMk id="362" creationId="{2B993421-2D8E-134B-80AE-1AC85B034FDE}"/>
          </ac:spMkLst>
        </pc:spChg>
        <pc:spChg chg="del mod">
          <ac:chgData name="Oğuz Öztekin" userId="33c0df0f-d5fe-4bda-8f43-141ad7af67e3" providerId="ADAL" clId="{48B824AD-1B2A-47A8-8D92-6FE6E622A650}" dt="2024-12-16T18:48:36.463" v="213023"/>
          <ac:spMkLst>
            <pc:docMk/>
            <pc:sldMk cId="660051805" sldId="296"/>
            <ac:spMk id="363" creationId="{366980DB-ED3F-11EC-6C0F-684E9869B5BC}"/>
          </ac:spMkLst>
        </pc:spChg>
        <pc:spChg chg="add del mod modVis">
          <ac:chgData name="Oğuz Öztekin" userId="33c0df0f-d5fe-4bda-8f43-141ad7af67e3" providerId="ADAL" clId="{48B824AD-1B2A-47A8-8D92-6FE6E622A650}" dt="2024-12-16T18:55:43.925" v="217252"/>
          <ac:spMkLst>
            <pc:docMk/>
            <pc:sldMk cId="660051805" sldId="296"/>
            <ac:spMk id="365" creationId="{2E8E073E-D7FD-47B2-E298-086F4F664EB1}"/>
          </ac:spMkLst>
        </pc:spChg>
        <pc:spChg chg="add del mod modVis">
          <ac:chgData name="Oğuz Öztekin" userId="33c0df0f-d5fe-4bda-8f43-141ad7af67e3" providerId="ADAL" clId="{48B824AD-1B2A-47A8-8D92-6FE6E622A650}" dt="2024-12-16T18:55:50.820" v="217355"/>
          <ac:spMkLst>
            <pc:docMk/>
            <pc:sldMk cId="660051805" sldId="296"/>
            <ac:spMk id="371" creationId="{0B735B61-443E-EDC5-118F-E5D3E5EB84B9}"/>
          </ac:spMkLst>
        </pc:spChg>
        <pc:spChg chg="add del mod modVis">
          <ac:chgData name="Oğuz Öztekin" userId="33c0df0f-d5fe-4bda-8f43-141ad7af67e3" providerId="ADAL" clId="{48B824AD-1B2A-47A8-8D92-6FE6E622A650}" dt="2024-12-16T18:55:56.549" v="217458"/>
          <ac:spMkLst>
            <pc:docMk/>
            <pc:sldMk cId="660051805" sldId="296"/>
            <ac:spMk id="374" creationId="{9338F87D-8CA2-5B41-3712-72550343B7CF}"/>
          </ac:spMkLst>
        </pc:spChg>
        <pc:spChg chg="add del mod modVis">
          <ac:chgData name="Oğuz Öztekin" userId="33c0df0f-d5fe-4bda-8f43-141ad7af67e3" providerId="ADAL" clId="{48B824AD-1B2A-47A8-8D92-6FE6E622A650}" dt="2024-12-16T18:56:01.230" v="217561"/>
          <ac:spMkLst>
            <pc:docMk/>
            <pc:sldMk cId="660051805" sldId="296"/>
            <ac:spMk id="376" creationId="{210B9654-30E0-AA32-D643-93017E10C0B6}"/>
          </ac:spMkLst>
        </pc:spChg>
        <pc:spChg chg="add del mod modVis">
          <ac:chgData name="Oğuz Öztekin" userId="33c0df0f-d5fe-4bda-8f43-141ad7af67e3" providerId="ADAL" clId="{48B824AD-1B2A-47A8-8D92-6FE6E622A650}" dt="2024-12-16T18:56:08.756" v="217664"/>
          <ac:spMkLst>
            <pc:docMk/>
            <pc:sldMk cId="660051805" sldId="296"/>
            <ac:spMk id="378" creationId="{D54E9D0D-5864-1A40-D365-5318B9BA63C0}"/>
          </ac:spMkLst>
        </pc:spChg>
        <pc:spChg chg="add del mod modVis">
          <ac:chgData name="Oğuz Öztekin" userId="33c0df0f-d5fe-4bda-8f43-141ad7af67e3" providerId="ADAL" clId="{48B824AD-1B2A-47A8-8D92-6FE6E622A650}" dt="2024-12-16T18:56:18.656" v="217767"/>
          <ac:spMkLst>
            <pc:docMk/>
            <pc:sldMk cId="660051805" sldId="296"/>
            <ac:spMk id="380" creationId="{9006886D-BC32-225B-9E6C-8337046F5AF7}"/>
          </ac:spMkLst>
        </pc:spChg>
        <pc:spChg chg="add del mod modVis">
          <ac:chgData name="Oğuz Öztekin" userId="33c0df0f-d5fe-4bda-8f43-141ad7af67e3" providerId="ADAL" clId="{48B824AD-1B2A-47A8-8D92-6FE6E622A650}" dt="2024-12-16T18:56:25.599" v="217870"/>
          <ac:spMkLst>
            <pc:docMk/>
            <pc:sldMk cId="660051805" sldId="296"/>
            <ac:spMk id="382" creationId="{6EC112B1-661D-FD94-C406-64035B2B87CB}"/>
          </ac:spMkLst>
        </pc:spChg>
        <pc:graphicFrameChg chg="mod">
          <ac:chgData name="Oğuz Öztekin" userId="33c0df0f-d5fe-4bda-8f43-141ad7af67e3" providerId="ADAL" clId="{48B824AD-1B2A-47A8-8D92-6FE6E622A650}" dt="2024-12-16T18:56:25.599" v="217872"/>
          <ac:graphicFrameMkLst>
            <pc:docMk/>
            <pc:sldMk cId="660051805" sldId="296"/>
            <ac:graphicFrameMk id="3" creationId="{6E30A948-A7C3-789C-8905-7D039E9FA2B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7:02.928" v="212717"/>
          <ac:graphicFrameMkLst>
            <pc:docMk/>
            <pc:sldMk cId="660051805" sldId="296"/>
            <ac:graphicFrameMk id="12" creationId="{64CF534C-4E06-F2BC-B125-E181248E66C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7:17.123" v="212841"/>
          <ac:graphicFrameMkLst>
            <pc:docMk/>
            <pc:sldMk cId="660051805" sldId="296"/>
            <ac:graphicFrameMk id="22" creationId="{4F36EFA7-F7E5-9CAD-89C3-ED4E6BFA91A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8:28.531" v="212958"/>
          <ac:graphicFrameMkLst>
            <pc:docMk/>
            <pc:sldMk cId="660051805" sldId="296"/>
            <ac:graphicFrameMk id="24" creationId="{4A18E69D-6D06-624C-091E-344C3A9C402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8:36.540" v="213129"/>
          <ac:graphicFrameMkLst>
            <pc:docMk/>
            <pc:sldMk cId="660051805" sldId="296"/>
            <ac:graphicFrameMk id="26" creationId="{6E84612F-6345-BDA0-7D56-99B90DC1142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8:40.545" v="213216"/>
          <ac:graphicFrameMkLst>
            <pc:docMk/>
            <pc:sldMk cId="660051805" sldId="296"/>
            <ac:graphicFrameMk id="28" creationId="{54221E41-4BE8-F489-29C9-DDA2AC7E76B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9:30.888" v="213333"/>
          <ac:graphicFrameMkLst>
            <pc:docMk/>
            <pc:sldMk cId="660051805" sldId="296"/>
            <ac:graphicFrameMk id="31" creationId="{0C0372B8-914B-3361-2F07-18CBC4D0524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9:53.842" v="213394"/>
          <ac:graphicFrameMkLst>
            <pc:docMk/>
            <pc:sldMk cId="660051805" sldId="296"/>
            <ac:graphicFrameMk id="33" creationId="{6E2E5D49-5EA5-D64F-A4B9-DBCF86FE74B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0:02.450" v="213455"/>
          <ac:graphicFrameMkLst>
            <pc:docMk/>
            <pc:sldMk cId="660051805" sldId="296"/>
            <ac:graphicFrameMk id="38" creationId="{71205E3D-D0C7-0086-D4E4-E2CBA220D2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0:09.121" v="213516"/>
          <ac:graphicFrameMkLst>
            <pc:docMk/>
            <pc:sldMk cId="660051805" sldId="296"/>
            <ac:graphicFrameMk id="40" creationId="{32A3435D-4002-2C57-97ED-D71604C9F36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0:14.603" v="213577"/>
          <ac:graphicFrameMkLst>
            <pc:docMk/>
            <pc:sldMk cId="660051805" sldId="296"/>
            <ac:graphicFrameMk id="42" creationId="{2AF1544C-AC04-AC15-F22E-ABE957DD3BA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0:19.941" v="213638"/>
          <ac:graphicFrameMkLst>
            <pc:docMk/>
            <pc:sldMk cId="660051805" sldId="296"/>
            <ac:graphicFrameMk id="44" creationId="{103D06A9-958C-EBB4-483B-505394B06DD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0:21.782" v="213699"/>
          <ac:graphicFrameMkLst>
            <pc:docMk/>
            <pc:sldMk cId="660051805" sldId="296"/>
            <ac:graphicFrameMk id="46" creationId="{16B94234-6645-DF23-551B-6B2110669E8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0:29.386" v="213760"/>
          <ac:graphicFrameMkLst>
            <pc:docMk/>
            <pc:sldMk cId="660051805" sldId="296"/>
            <ac:graphicFrameMk id="48" creationId="{30552ECD-7B0D-10B3-8C33-0D54B8CBEB8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0:55.679" v="213821"/>
          <ac:graphicFrameMkLst>
            <pc:docMk/>
            <pc:sldMk cId="660051805" sldId="296"/>
            <ac:graphicFrameMk id="50" creationId="{AB1A99B0-6689-2805-0F26-37531A10526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2:37.455" v="213902"/>
          <ac:graphicFrameMkLst>
            <pc:docMk/>
            <pc:sldMk cId="660051805" sldId="296"/>
            <ac:graphicFrameMk id="52" creationId="{DE60445E-B7BB-17D2-B793-DBE7AAFD83F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2:54.381" v="213963"/>
          <ac:graphicFrameMkLst>
            <pc:docMk/>
            <pc:sldMk cId="660051805" sldId="296"/>
            <ac:graphicFrameMk id="54" creationId="{3883DBB9-B35B-DA08-3809-89321D3346C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02.210" v="214024"/>
          <ac:graphicFrameMkLst>
            <pc:docMk/>
            <pc:sldMk cId="660051805" sldId="296"/>
            <ac:graphicFrameMk id="56" creationId="{37CD33B3-F3D8-0F74-D333-CAE983EECC9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07.260" v="214085"/>
          <ac:graphicFrameMkLst>
            <pc:docMk/>
            <pc:sldMk cId="660051805" sldId="296"/>
            <ac:graphicFrameMk id="58" creationId="{D9DCB6A8-1218-99AD-573F-C6EE6120862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16.339" v="214146"/>
          <ac:graphicFrameMkLst>
            <pc:docMk/>
            <pc:sldMk cId="660051805" sldId="296"/>
            <ac:graphicFrameMk id="60" creationId="{1C34C835-C59A-7081-A073-E4EC0B2E143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21.522" v="214207"/>
          <ac:graphicFrameMkLst>
            <pc:docMk/>
            <pc:sldMk cId="660051805" sldId="296"/>
            <ac:graphicFrameMk id="62" creationId="{52C5BE8F-E494-5685-0676-432AEF240C6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03.238" v="215001"/>
          <ac:graphicFrameMkLst>
            <pc:docMk/>
            <pc:sldMk cId="660051805" sldId="296"/>
            <ac:graphicFrameMk id="66" creationId="{629446F0-4624-DA6F-33F7-02895917A59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13.447" v="215072"/>
          <ac:graphicFrameMkLst>
            <pc:docMk/>
            <pc:sldMk cId="660051805" sldId="296"/>
            <ac:graphicFrameMk id="68" creationId="{BA76DA3A-2DC1-9AC2-D3E1-8407F2C2E0E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13.810" v="215153"/>
          <ac:graphicFrameMkLst>
            <pc:docMk/>
            <pc:sldMk cId="660051805" sldId="296"/>
            <ac:graphicFrameMk id="70" creationId="{ED742ACB-671A-0212-49E4-C24DB71F91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21.884" v="215222"/>
          <ac:graphicFrameMkLst>
            <pc:docMk/>
            <pc:sldMk cId="660051805" sldId="296"/>
            <ac:graphicFrameMk id="72" creationId="{90C9EBC5-FFDF-B965-97C2-75F1ED9B997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32.914" v="215326"/>
          <ac:graphicFrameMkLst>
            <pc:docMk/>
            <pc:sldMk cId="660051805" sldId="296"/>
            <ac:graphicFrameMk id="74" creationId="{21243BD2-E459-E485-798D-A597C9EFFF0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41.414" v="215482"/>
          <ac:graphicFrameMkLst>
            <pc:docMk/>
            <pc:sldMk cId="660051805" sldId="296"/>
            <ac:graphicFrameMk id="77" creationId="{14A0E3DE-41D6-6826-E1EC-CD1BF02020E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44.228" v="215600"/>
          <ac:graphicFrameMkLst>
            <pc:docMk/>
            <pc:sldMk cId="660051805" sldId="296"/>
            <ac:graphicFrameMk id="83" creationId="{3E91762E-F283-9D53-D8AC-999C9DFED02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46.355" v="215764"/>
          <ac:graphicFrameMkLst>
            <pc:docMk/>
            <pc:sldMk cId="660051805" sldId="296"/>
            <ac:graphicFrameMk id="93" creationId="{85831A6E-AF83-9820-9B35-78B595F8E1C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27.948" v="214268"/>
          <ac:graphicFrameMkLst>
            <pc:docMk/>
            <pc:sldMk cId="660051805" sldId="296"/>
            <ac:graphicFrameMk id="288" creationId="{E10B2CC4-B50C-0C3B-F0BD-99A803D6C12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33.283" v="214329"/>
          <ac:graphicFrameMkLst>
            <pc:docMk/>
            <pc:sldMk cId="660051805" sldId="296"/>
            <ac:graphicFrameMk id="290" creationId="{F1FB0A90-AEF0-DFB7-357B-CF4548F758F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36.437" v="214390"/>
          <ac:graphicFrameMkLst>
            <pc:docMk/>
            <pc:sldMk cId="660051805" sldId="296"/>
            <ac:graphicFrameMk id="294" creationId="{CC992320-855A-8345-304A-AFF152B6240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50.173" v="214498"/>
          <ac:graphicFrameMkLst>
            <pc:docMk/>
            <pc:sldMk cId="660051805" sldId="296"/>
            <ac:graphicFrameMk id="297" creationId="{8BB27033-FB31-F6B3-7644-EA8EDBCDF0F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52.812" v="214598"/>
          <ac:graphicFrameMkLst>
            <pc:docMk/>
            <pc:sldMk cId="660051805" sldId="296"/>
            <ac:graphicFrameMk id="302" creationId="{452ED029-E5D6-3233-AE39-FA1D6F9E205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54.517" v="214700"/>
          <ac:graphicFrameMkLst>
            <pc:docMk/>
            <pc:sldMk cId="660051805" sldId="296"/>
            <ac:graphicFrameMk id="307" creationId="{3BA135B9-AB92-4EA8-7D6B-DFD49DEB925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3:59.714" v="214808"/>
          <ac:graphicFrameMkLst>
            <pc:docMk/>
            <pc:sldMk cId="660051805" sldId="296"/>
            <ac:graphicFrameMk id="312" creationId="{BBDB4393-C78A-8011-2349-9E1534469E0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01.335" v="214914"/>
          <ac:graphicFrameMkLst>
            <pc:docMk/>
            <pc:sldMk cId="660051805" sldId="296"/>
            <ac:graphicFrameMk id="318" creationId="{FE836D8C-8206-D815-E0AB-BD984DC06DB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50.003" v="215869"/>
          <ac:graphicFrameMkLst>
            <pc:docMk/>
            <pc:sldMk cId="660051805" sldId="296"/>
            <ac:graphicFrameMk id="325" creationId="{ED837C3D-FDC1-9362-25E5-82589B2C32F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52.136" v="216005"/>
          <ac:graphicFrameMkLst>
            <pc:docMk/>
            <pc:sldMk cId="660051805" sldId="296"/>
            <ac:graphicFrameMk id="328" creationId="{91D46ADF-B21F-34E9-42C9-16C9D07F9AD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53.806" v="216203"/>
          <ac:graphicFrameMkLst>
            <pc:docMk/>
            <pc:sldMk cId="660051805" sldId="296"/>
            <ac:graphicFrameMk id="336" creationId="{6A9AFA89-5BCF-D218-760D-85D33F895E9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58.082" v="216397"/>
          <ac:graphicFrameMkLst>
            <pc:docMk/>
            <pc:sldMk cId="660051805" sldId="296"/>
            <ac:graphicFrameMk id="343" creationId="{A2C30ADC-273D-6651-F3F3-D98C34B0E50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4:59.671" v="216536"/>
          <ac:graphicFrameMkLst>
            <pc:docMk/>
            <pc:sldMk cId="660051805" sldId="296"/>
            <ac:graphicFrameMk id="349" creationId="{EB5B0ACC-82C6-A4EA-2494-9A4F16E10C3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5:01.422" v="216716"/>
          <ac:graphicFrameMkLst>
            <pc:docMk/>
            <pc:sldMk cId="660051805" sldId="296"/>
            <ac:graphicFrameMk id="351" creationId="{CACE5D2C-1CFE-83A9-DF7F-B3685FDE6D3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5:14.371" v="216898"/>
          <ac:graphicFrameMkLst>
            <pc:docMk/>
            <pc:sldMk cId="660051805" sldId="296"/>
            <ac:graphicFrameMk id="357" creationId="{E574A538-EDBA-A74C-795B-3B3D5121543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5:30.584" v="217001"/>
          <ac:graphicFrameMkLst>
            <pc:docMk/>
            <pc:sldMk cId="660051805" sldId="296"/>
            <ac:graphicFrameMk id="359" creationId="{BE8D35F4-0699-2A88-3A3A-43EAB58DD30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5:34.778" v="217104"/>
          <ac:graphicFrameMkLst>
            <pc:docMk/>
            <pc:sldMk cId="660051805" sldId="296"/>
            <ac:graphicFrameMk id="361" creationId="{C3E55994-FF88-8EBC-7ABD-FC1EC8A905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5:43.905" v="217207"/>
          <ac:graphicFrameMkLst>
            <pc:docMk/>
            <pc:sldMk cId="660051805" sldId="296"/>
            <ac:graphicFrameMk id="364" creationId="{513D59FE-2575-D86B-D8E4-69300C5C749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5:50.797" v="217310"/>
          <ac:graphicFrameMkLst>
            <pc:docMk/>
            <pc:sldMk cId="660051805" sldId="296"/>
            <ac:graphicFrameMk id="366" creationId="{A959A7C8-FF73-315C-1C1C-E64A0FD7A99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5:56.520" v="217413"/>
          <ac:graphicFrameMkLst>
            <pc:docMk/>
            <pc:sldMk cId="660051805" sldId="296"/>
            <ac:graphicFrameMk id="372" creationId="{F987B698-8196-EC8E-9D0A-FA85CB5A8BAE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45:16.760" v="212280"/>
          <ac:graphicFrameMkLst>
            <pc:docMk/>
            <pc:sldMk cId="660051805" sldId="296"/>
            <ac:graphicFrameMk id="373" creationId="{36988403-C767-B159-C7E5-02D06B07DC6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6:01.207" v="217516"/>
          <ac:graphicFrameMkLst>
            <pc:docMk/>
            <pc:sldMk cId="660051805" sldId="296"/>
            <ac:graphicFrameMk id="375" creationId="{CE37367A-CEAD-C1DE-7DBA-F69DE979DF1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6:08.731" v="217619"/>
          <ac:graphicFrameMkLst>
            <pc:docMk/>
            <pc:sldMk cId="660051805" sldId="296"/>
            <ac:graphicFrameMk id="377" creationId="{502DC88A-613D-C937-AC25-3FAAB8129A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6:18.630" v="217722"/>
          <ac:graphicFrameMkLst>
            <pc:docMk/>
            <pc:sldMk cId="660051805" sldId="296"/>
            <ac:graphicFrameMk id="379" creationId="{55749BE4-6FDF-0B47-E071-6D92ED7FA20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6:25.579" v="217825"/>
          <ac:graphicFrameMkLst>
            <pc:docMk/>
            <pc:sldMk cId="660051805" sldId="296"/>
            <ac:graphicFrameMk id="381" creationId="{5BE81B2A-8EDA-A940-2926-58E89C82506A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56:25.596" v="217834"/>
          <ac:graphicFrameMkLst>
            <pc:docMk/>
            <pc:sldMk cId="660051805" sldId="296"/>
            <ac:graphicFrameMk id="383" creationId="{D0C339E8-440F-4BD3-B3F4-14307B5CA6A8}"/>
          </ac:graphicFrameMkLst>
        </pc:graphicFrameChg>
        <pc:cxnChg chg="add del mod ord">
          <ac:chgData name="Oğuz Öztekin" userId="33c0df0f-d5fe-4bda-8f43-141ad7af67e3" providerId="ADAL" clId="{48B824AD-1B2A-47A8-8D92-6FE6E622A650}" dt="2024-12-16T18:48:36.460" v="213019"/>
          <ac:cxnSpMkLst>
            <pc:docMk/>
            <pc:sldMk cId="660051805" sldId="296"/>
            <ac:cxnSpMk id="8" creationId="{E3C4CE6B-AC67-B147-D858-C09807E72A97}"/>
          </ac:cxnSpMkLst>
        </pc:cxnChg>
        <pc:cxnChg chg="add del mod ord">
          <ac:chgData name="Oğuz Öztekin" userId="33c0df0f-d5fe-4bda-8f43-141ad7af67e3" providerId="ADAL" clId="{48B824AD-1B2A-47A8-8D92-6FE6E622A650}" dt="2024-12-16T18:48:36.471" v="213048"/>
          <ac:cxnSpMkLst>
            <pc:docMk/>
            <pc:sldMk cId="660051805" sldId="296"/>
            <ac:cxnSpMk id="9" creationId="{06ACB38C-3F29-82B4-099D-019F660941A3}"/>
          </ac:cxnSpMkLst>
        </pc:cxnChg>
        <pc:cxnChg chg="add del mod ord">
          <ac:chgData name="Oğuz Öztekin" userId="33c0df0f-d5fe-4bda-8f43-141ad7af67e3" providerId="ADAL" clId="{48B824AD-1B2A-47A8-8D92-6FE6E622A650}" dt="2024-12-16T18:48:36.472" v="213051"/>
          <ac:cxnSpMkLst>
            <pc:docMk/>
            <pc:sldMk cId="660051805" sldId="296"/>
            <ac:cxnSpMk id="10" creationId="{F5C98B2C-92C9-2883-E8F3-8E0A5927746B}"/>
          </ac:cxnSpMkLst>
        </pc:cxnChg>
        <pc:cxnChg chg="add del mod ord">
          <ac:chgData name="Oğuz Öztekin" userId="33c0df0f-d5fe-4bda-8f43-141ad7af67e3" providerId="ADAL" clId="{48B824AD-1B2A-47A8-8D92-6FE6E622A650}" dt="2024-12-16T18:48:36.472" v="213054"/>
          <ac:cxnSpMkLst>
            <pc:docMk/>
            <pc:sldMk cId="660051805" sldId="296"/>
            <ac:cxnSpMk id="11" creationId="{6A842DE3-5201-D2AD-9D7B-C89BF946A952}"/>
          </ac:cxnSpMkLst>
        </pc:cxnChg>
        <pc:cxnChg chg="add mod ord">
          <ac:chgData name="Oğuz Öztekin" userId="33c0df0f-d5fe-4bda-8f43-141ad7af67e3" providerId="ADAL" clId="{48B824AD-1B2A-47A8-8D92-6FE6E622A650}" dt="2024-12-16T18:56:25.596" v="217836"/>
          <ac:cxnSpMkLst>
            <pc:docMk/>
            <pc:sldMk cId="660051805" sldId="296"/>
            <ac:cxnSpMk id="80" creationId="{EA83C40B-E057-6F70-EDAF-1AEDCE2F1A06}"/>
          </ac:cxnSpMkLst>
        </pc:cxnChg>
        <pc:cxnChg chg="add del mod ord">
          <ac:chgData name="Oğuz Öztekin" userId="33c0df0f-d5fe-4bda-8f43-141ad7af67e3" providerId="ADAL" clId="{48B824AD-1B2A-47A8-8D92-6FE6E622A650}" dt="2024-12-16T18:54:53.804" v="216201"/>
          <ac:cxnSpMkLst>
            <pc:docMk/>
            <pc:sldMk cId="660051805" sldId="296"/>
            <ac:cxnSpMk id="81" creationId="{2D04809E-7100-84B3-A461-1059EC75EDE4}"/>
          </ac:cxnSpMkLst>
        </pc:cxnChg>
        <pc:cxnChg chg="add del mod ord">
          <ac:chgData name="Oğuz Öztekin" userId="33c0df0f-d5fe-4bda-8f43-141ad7af67e3" providerId="ADAL" clId="{48B824AD-1B2A-47A8-8D92-6FE6E622A650}" dt="2024-12-16T18:54:53.804" v="216199"/>
          <ac:cxnSpMkLst>
            <pc:docMk/>
            <pc:sldMk cId="660051805" sldId="296"/>
            <ac:cxnSpMk id="82" creationId="{A15F4B62-DA6C-776D-A72A-347A9964D581}"/>
          </ac:cxnSpMkLst>
        </pc:cxnChg>
        <pc:cxnChg chg="del mod ord">
          <ac:chgData name="Oğuz Öztekin" userId="33c0df0f-d5fe-4bda-8f43-141ad7af67e3" providerId="ADAL" clId="{48B824AD-1B2A-47A8-8D92-6FE6E622A650}" dt="2024-12-16T18:48:36.458" v="213016"/>
          <ac:cxnSpMkLst>
            <pc:docMk/>
            <pc:sldMk cId="660051805" sldId="296"/>
            <ac:cxnSpMk id="293" creationId="{3ADBCDAF-9852-092E-8AB2-FFEA55692B44}"/>
          </ac:cxnSpMkLst>
        </pc:cxnChg>
        <pc:cxnChg chg="del mod ord">
          <ac:chgData name="Oğuz Öztekin" userId="33c0df0f-d5fe-4bda-8f43-141ad7af67e3" providerId="ADAL" clId="{48B824AD-1B2A-47A8-8D92-6FE6E622A650}" dt="2024-12-16T18:48:36.465" v="213031"/>
          <ac:cxnSpMkLst>
            <pc:docMk/>
            <pc:sldMk cId="660051805" sldId="296"/>
            <ac:cxnSpMk id="306" creationId="{01D7323C-1A1A-3505-2AA6-1D6E439CDFDB}"/>
          </ac:cxnSpMkLst>
        </pc:cxnChg>
        <pc:cxnChg chg="del mod ord">
          <ac:chgData name="Oğuz Öztekin" userId="33c0df0f-d5fe-4bda-8f43-141ad7af67e3" providerId="ADAL" clId="{48B824AD-1B2A-47A8-8D92-6FE6E622A650}" dt="2024-12-16T18:48:36.467" v="213037"/>
          <ac:cxnSpMkLst>
            <pc:docMk/>
            <pc:sldMk cId="660051805" sldId="296"/>
            <ac:cxnSpMk id="313" creationId="{66D9C864-3A8D-1F38-DC31-99D9FA525276}"/>
          </ac:cxnSpMkLst>
        </pc:cxnChg>
        <pc:cxnChg chg="del mod ord">
          <ac:chgData name="Oğuz Öztekin" userId="33c0df0f-d5fe-4bda-8f43-141ad7af67e3" providerId="ADAL" clId="{48B824AD-1B2A-47A8-8D92-6FE6E622A650}" dt="2024-12-16T18:48:36.469" v="213040"/>
          <ac:cxnSpMkLst>
            <pc:docMk/>
            <pc:sldMk cId="660051805" sldId="296"/>
            <ac:cxnSpMk id="317" creationId="{BE06C5F1-189D-C4E4-6827-064B2C10FDE9}"/>
          </ac:cxnSpMkLst>
        </pc:cxnChg>
        <pc:cxnChg chg="add mod ord">
          <ac:chgData name="Oğuz Öztekin" userId="33c0df0f-d5fe-4bda-8f43-141ad7af67e3" providerId="ADAL" clId="{48B824AD-1B2A-47A8-8D92-6FE6E622A650}" dt="2024-12-16T18:56:25.596" v="217838"/>
          <ac:cxnSpMkLst>
            <pc:docMk/>
            <pc:sldMk cId="660051805" sldId="296"/>
            <ac:cxnSpMk id="320" creationId="{9CAE1CFA-9C1D-4C41-4D0B-CB74A1CFABF8}"/>
          </ac:cxnSpMkLst>
        </pc:cxnChg>
        <pc:cxnChg chg="del mod ord">
          <ac:chgData name="Oğuz Öztekin" userId="33c0df0f-d5fe-4bda-8f43-141ad7af67e3" providerId="ADAL" clId="{48B824AD-1B2A-47A8-8D92-6FE6E622A650}" dt="2024-12-16T18:48:36.469" v="213043"/>
          <ac:cxnSpMkLst>
            <pc:docMk/>
            <pc:sldMk cId="660051805" sldId="296"/>
            <ac:cxnSpMk id="321" creationId="{36E14B61-2B75-F17C-D2B5-F86AA11D85F3}"/>
          </ac:cxnSpMkLst>
        </pc:cxnChg>
        <pc:cxnChg chg="add del mod ord">
          <ac:chgData name="Oğuz Öztekin" userId="33c0df0f-d5fe-4bda-8f43-141ad7af67e3" providerId="ADAL" clId="{48B824AD-1B2A-47A8-8D92-6FE6E622A650}" dt="2024-12-16T18:54:49.955" v="215815"/>
          <ac:cxnSpMkLst>
            <pc:docMk/>
            <pc:sldMk cId="660051805" sldId="296"/>
            <ac:cxnSpMk id="322" creationId="{DB61D8BD-C02E-E0B4-3350-49F8DBA90B28}"/>
          </ac:cxnSpMkLst>
        </pc:cxnChg>
        <pc:cxnChg chg="add del mod ord">
          <ac:chgData name="Oğuz Öztekin" userId="33c0df0f-d5fe-4bda-8f43-141ad7af67e3" providerId="ADAL" clId="{48B824AD-1B2A-47A8-8D92-6FE6E622A650}" dt="2024-12-16T18:54:49.955" v="215813"/>
          <ac:cxnSpMkLst>
            <pc:docMk/>
            <pc:sldMk cId="660051805" sldId="296"/>
            <ac:cxnSpMk id="324" creationId="{7C088B85-9DC3-E1DE-F8B6-B79CDB30FA8D}"/>
          </ac:cxnSpMkLst>
        </pc:cxnChg>
        <pc:cxnChg chg="add mod ord">
          <ac:chgData name="Oğuz Öztekin" userId="33c0df0f-d5fe-4bda-8f43-141ad7af67e3" providerId="ADAL" clId="{48B824AD-1B2A-47A8-8D92-6FE6E622A650}" dt="2024-12-16T18:56:25.596" v="217840"/>
          <ac:cxnSpMkLst>
            <pc:docMk/>
            <pc:sldMk cId="660051805" sldId="296"/>
            <ac:cxnSpMk id="333" creationId="{DE50FF29-D2FA-13DF-FDA3-50613F417B76}"/>
          </ac:cxnSpMkLst>
        </pc:cxnChg>
        <pc:cxnChg chg="add mod ord">
          <ac:chgData name="Oğuz Öztekin" userId="33c0df0f-d5fe-4bda-8f43-141ad7af67e3" providerId="ADAL" clId="{48B824AD-1B2A-47A8-8D92-6FE6E622A650}" dt="2024-12-16T18:56:25.596" v="217842"/>
          <ac:cxnSpMkLst>
            <pc:docMk/>
            <pc:sldMk cId="660051805" sldId="296"/>
            <ac:cxnSpMk id="334" creationId="{69C3CA3E-A278-4851-69C2-474CF7B2C2E1}"/>
          </ac:cxnSpMkLst>
        </pc:cxnChg>
        <pc:cxnChg chg="add mod ord">
          <ac:chgData name="Oğuz Öztekin" userId="33c0df0f-d5fe-4bda-8f43-141ad7af67e3" providerId="ADAL" clId="{48B824AD-1B2A-47A8-8D92-6FE6E622A650}" dt="2024-12-16T18:56:25.596" v="217844"/>
          <ac:cxnSpMkLst>
            <pc:docMk/>
            <pc:sldMk cId="660051805" sldId="296"/>
            <ac:cxnSpMk id="339" creationId="{71FC12C8-876A-6004-7DF1-BF29703FA58A}"/>
          </ac:cxnSpMkLst>
        </pc:cxnChg>
        <pc:cxnChg chg="add mod ord">
          <ac:chgData name="Oğuz Öztekin" userId="33c0df0f-d5fe-4bda-8f43-141ad7af67e3" providerId="ADAL" clId="{48B824AD-1B2A-47A8-8D92-6FE6E622A650}" dt="2024-12-16T18:56:25.596" v="217846"/>
          <ac:cxnSpMkLst>
            <pc:docMk/>
            <pc:sldMk cId="660051805" sldId="296"/>
            <ac:cxnSpMk id="340" creationId="{17F0DA1F-C41C-C00B-AB85-006C7015A661}"/>
          </ac:cxnSpMkLst>
        </pc:cxnChg>
        <pc:cxnChg chg="add mod ord">
          <ac:chgData name="Oğuz Öztekin" userId="33c0df0f-d5fe-4bda-8f43-141ad7af67e3" providerId="ADAL" clId="{48B824AD-1B2A-47A8-8D92-6FE6E622A650}" dt="2024-12-16T18:56:25.596" v="217848"/>
          <ac:cxnSpMkLst>
            <pc:docMk/>
            <pc:sldMk cId="660051805" sldId="296"/>
            <ac:cxnSpMk id="341" creationId="{ED168E8C-EDF2-A441-B244-8D717612906A}"/>
          </ac:cxnSpMkLst>
        </pc:cxnChg>
        <pc:cxnChg chg="add mod ord">
          <ac:chgData name="Oğuz Öztekin" userId="33c0df0f-d5fe-4bda-8f43-141ad7af67e3" providerId="ADAL" clId="{48B824AD-1B2A-47A8-8D92-6FE6E622A650}" dt="2024-12-16T18:56:25.599" v="217850"/>
          <ac:cxnSpMkLst>
            <pc:docMk/>
            <pc:sldMk cId="660051805" sldId="296"/>
            <ac:cxnSpMk id="342" creationId="{CFE5E9D5-7E7A-9AEC-6B9E-88228537449A}"/>
          </ac:cxnSpMkLst>
        </pc:cxnChg>
        <pc:cxnChg chg="add del mod ord">
          <ac:chgData name="Oğuz Öztekin" userId="33c0df0f-d5fe-4bda-8f43-141ad7af67e3" providerId="ADAL" clId="{48B824AD-1B2A-47A8-8D92-6FE6E622A650}" dt="2024-12-16T18:54:59.668" v="216524"/>
          <ac:cxnSpMkLst>
            <pc:docMk/>
            <pc:sldMk cId="660051805" sldId="296"/>
            <ac:cxnSpMk id="346" creationId="{14CDDCBE-FB1C-4D3C-F4A7-595504B17054}"/>
          </ac:cxnSpMkLst>
        </pc:cxnChg>
        <pc:cxnChg chg="add del mod ord">
          <ac:chgData name="Oğuz Öztekin" userId="33c0df0f-d5fe-4bda-8f43-141ad7af67e3" providerId="ADAL" clId="{48B824AD-1B2A-47A8-8D92-6FE6E622A650}" dt="2024-12-16T18:54:59.618" v="216460"/>
          <ac:cxnSpMkLst>
            <pc:docMk/>
            <pc:sldMk cId="660051805" sldId="296"/>
            <ac:cxnSpMk id="347" creationId="{4EBF8BE1-2E7C-D84E-C3D4-07E61F987E2C}"/>
          </ac:cxnSpMkLst>
        </pc:cxnChg>
        <pc:cxnChg chg="add del mod ord">
          <ac:chgData name="Oğuz Öztekin" userId="33c0df0f-d5fe-4bda-8f43-141ad7af67e3" providerId="ADAL" clId="{48B824AD-1B2A-47A8-8D92-6FE6E622A650}" dt="2024-12-16T18:54:59.617" v="216458"/>
          <ac:cxnSpMkLst>
            <pc:docMk/>
            <pc:sldMk cId="660051805" sldId="296"/>
            <ac:cxnSpMk id="348" creationId="{EDBF6DA7-CD41-214C-5A7B-E6841DCAEB13}"/>
          </ac:cxnSpMkLst>
        </pc:cxnChg>
        <pc:cxnChg chg="add mod ord">
          <ac:chgData name="Oğuz Öztekin" userId="33c0df0f-d5fe-4bda-8f43-141ad7af67e3" providerId="ADAL" clId="{48B824AD-1B2A-47A8-8D92-6FE6E622A650}" dt="2024-12-16T18:56:25.599" v="217852"/>
          <ac:cxnSpMkLst>
            <pc:docMk/>
            <pc:sldMk cId="660051805" sldId="296"/>
            <ac:cxnSpMk id="354" creationId="{AF937503-5811-0E5A-8149-E248E87D2CBC}"/>
          </ac:cxnSpMkLst>
        </pc:cxnChg>
        <pc:cxnChg chg="add mod ord">
          <ac:chgData name="Oğuz Öztekin" userId="33c0df0f-d5fe-4bda-8f43-141ad7af67e3" providerId="ADAL" clId="{48B824AD-1B2A-47A8-8D92-6FE6E622A650}" dt="2024-12-16T18:56:25.599" v="217854"/>
          <ac:cxnSpMkLst>
            <pc:docMk/>
            <pc:sldMk cId="660051805" sldId="296"/>
            <ac:cxnSpMk id="355" creationId="{A95EA05B-CAD0-F329-36AB-3706958A4012}"/>
          </ac:cxnSpMkLst>
        </pc:cxnChg>
        <pc:cxnChg chg="add mod ord">
          <ac:chgData name="Oğuz Öztekin" userId="33c0df0f-d5fe-4bda-8f43-141ad7af67e3" providerId="ADAL" clId="{48B824AD-1B2A-47A8-8D92-6FE6E622A650}" dt="2024-12-16T18:56:25.599" v="217856"/>
          <ac:cxnSpMkLst>
            <pc:docMk/>
            <pc:sldMk cId="660051805" sldId="296"/>
            <ac:cxnSpMk id="356" creationId="{069344CA-BDAC-F6FF-9850-7F53095FA1D4}"/>
          </ac:cxnSpMkLst>
        </pc:cxnChg>
        <pc:cxnChg chg="del mod ord">
          <ac:chgData name="Oğuz Öztekin" userId="33c0df0f-d5fe-4bda-8f43-141ad7af67e3" providerId="ADAL" clId="{48B824AD-1B2A-47A8-8D92-6FE6E622A650}" dt="2024-12-16T18:48:36.462" v="213022"/>
          <ac:cxnSpMkLst>
            <pc:docMk/>
            <pc:sldMk cId="660051805" sldId="296"/>
            <ac:cxnSpMk id="367" creationId="{A986BC32-BAD3-42B8-3B1F-F8D1DC316B28}"/>
          </ac:cxnSpMkLst>
        </pc:cxnChg>
        <pc:cxnChg chg="del mod ord">
          <ac:chgData name="Oğuz Öztekin" userId="33c0df0f-d5fe-4bda-8f43-141ad7af67e3" providerId="ADAL" clId="{48B824AD-1B2A-47A8-8D92-6FE6E622A650}" dt="2024-12-16T18:48:36.464" v="213025"/>
          <ac:cxnSpMkLst>
            <pc:docMk/>
            <pc:sldMk cId="660051805" sldId="296"/>
            <ac:cxnSpMk id="368" creationId="{031A17C5-3932-BB06-2E57-265BEB639DA5}"/>
          </ac:cxnSpMkLst>
        </pc:cxnChg>
        <pc:cxnChg chg="del mod ord">
          <ac:chgData name="Oğuz Öztekin" userId="33c0df0f-d5fe-4bda-8f43-141ad7af67e3" providerId="ADAL" clId="{48B824AD-1B2A-47A8-8D92-6FE6E622A650}" dt="2024-12-16T18:48:36.465" v="213028"/>
          <ac:cxnSpMkLst>
            <pc:docMk/>
            <pc:sldMk cId="660051805" sldId="296"/>
            <ac:cxnSpMk id="369" creationId="{0E8BBED4-7F97-2725-D29D-5CF442C03D6D}"/>
          </ac:cxnSpMkLst>
        </pc:cxnChg>
        <pc:cxnChg chg="del mod ord">
          <ac:chgData name="Oğuz Öztekin" userId="33c0df0f-d5fe-4bda-8f43-141ad7af67e3" providerId="ADAL" clId="{48B824AD-1B2A-47A8-8D92-6FE6E622A650}" dt="2024-12-16T18:48:36.466" v="213034"/>
          <ac:cxnSpMkLst>
            <pc:docMk/>
            <pc:sldMk cId="660051805" sldId="296"/>
            <ac:cxnSpMk id="370" creationId="{CC48CAE8-DC9F-1C8C-D009-57863BAD65D2}"/>
          </ac:cxnSpMkLst>
        </pc:cxnChg>
      </pc:sldChg>
      <pc:sldChg chg="add del">
        <pc:chgData name="Oğuz Öztekin" userId="33c0df0f-d5fe-4bda-8f43-141ad7af67e3" providerId="ADAL" clId="{48B824AD-1B2A-47A8-8D92-6FE6E622A650}" dt="2024-12-16T18:33:15.805" v="203086" actId="2696"/>
        <pc:sldMkLst>
          <pc:docMk/>
          <pc:sldMk cId="1596264068" sldId="296"/>
        </pc:sldMkLst>
      </pc:sldChg>
      <pc:sldChg chg="addSp delSp modSp add mod">
        <pc:chgData name="Oğuz Öztekin" userId="33c0df0f-d5fe-4bda-8f43-141ad7af67e3" providerId="ADAL" clId="{48B824AD-1B2A-47A8-8D92-6FE6E622A650}" dt="2024-12-16T18:44:32.115" v="211856"/>
        <pc:sldMkLst>
          <pc:docMk/>
          <pc:sldMk cId="1765966936" sldId="297"/>
        </pc:sldMkLst>
        <pc:spChg chg="mod ord">
          <ac:chgData name="Oğuz Öztekin" userId="33c0df0f-d5fe-4bda-8f43-141ad7af67e3" providerId="ADAL" clId="{48B824AD-1B2A-47A8-8D92-6FE6E622A650}" dt="2024-12-16T18:44:32.112" v="211844"/>
          <ac:spMkLst>
            <pc:docMk/>
            <pc:sldMk cId="1765966936" sldId="297"/>
            <ac:spMk id="2" creationId="{07753F0A-A985-CA66-EF90-BFFB54886086}"/>
          </ac:spMkLst>
        </pc:spChg>
        <pc:spChg chg="add del mod modVis">
          <ac:chgData name="Oğuz Öztekin" userId="33c0df0f-d5fe-4bda-8f43-141ad7af67e3" providerId="ADAL" clId="{48B824AD-1B2A-47A8-8D92-6FE6E622A650}" dt="2024-12-16T18:38:35.767" v="203151"/>
          <ac:spMkLst>
            <pc:docMk/>
            <pc:sldMk cId="1765966936" sldId="297"/>
            <ac:spMk id="4" creationId="{91CA8FFF-5737-C1D2-CF62-41B065798ADD}"/>
          </ac:spMkLst>
        </pc:spChg>
        <pc:spChg chg="add del mod modVis">
          <ac:chgData name="Oğuz Öztekin" userId="33c0df0f-d5fe-4bda-8f43-141ad7af67e3" providerId="ADAL" clId="{48B824AD-1B2A-47A8-8D92-6FE6E622A650}" dt="2024-12-16T18:38:36.793" v="203177"/>
          <ac:spMkLst>
            <pc:docMk/>
            <pc:sldMk cId="1765966936" sldId="297"/>
            <ac:spMk id="5" creationId="{1382C2C1-6CDF-B664-D584-55323CCC9851}"/>
          </ac:spMkLst>
        </pc:spChg>
        <pc:spChg chg="add del mod modVis">
          <ac:chgData name="Oğuz Öztekin" userId="33c0df0f-d5fe-4bda-8f43-141ad7af67e3" providerId="ADAL" clId="{48B824AD-1B2A-47A8-8D92-6FE6E622A650}" dt="2024-12-16T18:38:37.564" v="203203"/>
          <ac:spMkLst>
            <pc:docMk/>
            <pc:sldMk cId="1765966936" sldId="297"/>
            <ac:spMk id="6" creationId="{05A233DC-C60D-140D-3029-9943B654B8F9}"/>
          </ac:spMkLst>
        </pc:spChg>
        <pc:spChg chg="add del mod modVis">
          <ac:chgData name="Oğuz Öztekin" userId="33c0df0f-d5fe-4bda-8f43-141ad7af67e3" providerId="ADAL" clId="{48B824AD-1B2A-47A8-8D92-6FE6E622A650}" dt="2024-12-16T18:38:45.435" v="203275"/>
          <ac:spMkLst>
            <pc:docMk/>
            <pc:sldMk cId="1765966936" sldId="297"/>
            <ac:spMk id="7" creationId="{91298EAC-BEBB-0910-0BB2-CE38169A5F64}"/>
          </ac:spMkLst>
        </pc:spChg>
        <pc:spChg chg="add del mod modVis">
          <ac:chgData name="Oğuz Öztekin" userId="33c0df0f-d5fe-4bda-8f43-141ad7af67e3" providerId="ADAL" clId="{48B824AD-1B2A-47A8-8D92-6FE6E622A650}" dt="2024-12-16T18:38:46.330" v="203303"/>
          <ac:spMkLst>
            <pc:docMk/>
            <pc:sldMk cId="1765966936" sldId="297"/>
            <ac:spMk id="8" creationId="{210B015B-54C5-BED2-E173-E7A96D271998}"/>
          </ac:spMkLst>
        </pc:spChg>
        <pc:spChg chg="add del mod modVis">
          <ac:chgData name="Oğuz Öztekin" userId="33c0df0f-d5fe-4bda-8f43-141ad7af67e3" providerId="ADAL" clId="{48B824AD-1B2A-47A8-8D92-6FE6E622A650}" dt="2024-12-16T18:38:47.563" v="203331"/>
          <ac:spMkLst>
            <pc:docMk/>
            <pc:sldMk cId="1765966936" sldId="297"/>
            <ac:spMk id="9" creationId="{2BC75F31-53B1-0EF2-9B60-C39DCB99A5CB}"/>
          </ac:spMkLst>
        </pc:spChg>
        <pc:spChg chg="add del mod modVis">
          <ac:chgData name="Oğuz Öztekin" userId="33c0df0f-d5fe-4bda-8f43-141ad7af67e3" providerId="ADAL" clId="{48B824AD-1B2A-47A8-8D92-6FE6E622A650}" dt="2024-12-16T18:38:51.552" v="203363"/>
          <ac:spMkLst>
            <pc:docMk/>
            <pc:sldMk cId="1765966936" sldId="297"/>
            <ac:spMk id="10" creationId="{64BCC750-7783-C7D0-FD31-3EDE0B7169D2}"/>
          </ac:spMkLst>
        </pc:spChg>
        <pc:spChg chg="add del mod modVis">
          <ac:chgData name="Oğuz Öztekin" userId="33c0df0f-d5fe-4bda-8f43-141ad7af67e3" providerId="ADAL" clId="{48B824AD-1B2A-47A8-8D92-6FE6E622A650}" dt="2024-12-16T18:38:54.874" v="203397"/>
          <ac:spMkLst>
            <pc:docMk/>
            <pc:sldMk cId="1765966936" sldId="297"/>
            <ac:spMk id="11" creationId="{1616EB29-0BA0-BC1D-DE76-30400C248C3B}"/>
          </ac:spMkLst>
        </pc:spChg>
        <pc:spChg chg="add del mod modVis">
          <ac:chgData name="Oğuz Öztekin" userId="33c0df0f-d5fe-4bda-8f43-141ad7af67e3" providerId="ADAL" clId="{48B824AD-1B2A-47A8-8D92-6FE6E622A650}" dt="2024-12-16T18:38:57.749" v="203430"/>
          <ac:spMkLst>
            <pc:docMk/>
            <pc:sldMk cId="1765966936" sldId="297"/>
            <ac:spMk id="12" creationId="{438F32D8-4AC0-FBA7-166F-5BE5024DBE85}"/>
          </ac:spMkLst>
        </pc:spChg>
        <pc:spChg chg="add del mod modVis">
          <ac:chgData name="Oğuz Öztekin" userId="33c0df0f-d5fe-4bda-8f43-141ad7af67e3" providerId="ADAL" clId="{48B824AD-1B2A-47A8-8D92-6FE6E622A650}" dt="2024-12-16T18:38:58.466" v="203456"/>
          <ac:spMkLst>
            <pc:docMk/>
            <pc:sldMk cId="1765966936" sldId="297"/>
            <ac:spMk id="13" creationId="{B5372C68-9A7F-7F16-5774-9D88F586963D}"/>
          </ac:spMkLst>
        </pc:spChg>
        <pc:spChg chg="add del mod modVis">
          <ac:chgData name="Oğuz Öztekin" userId="33c0df0f-d5fe-4bda-8f43-141ad7af67e3" providerId="ADAL" clId="{48B824AD-1B2A-47A8-8D92-6FE6E622A650}" dt="2024-12-16T18:38:59.228" v="203483"/>
          <ac:spMkLst>
            <pc:docMk/>
            <pc:sldMk cId="1765966936" sldId="297"/>
            <ac:spMk id="14" creationId="{98A2B909-A751-BFAE-F8AB-C304886621CA}"/>
          </ac:spMkLst>
        </pc:spChg>
        <pc:spChg chg="add del mod modVis">
          <ac:chgData name="Oğuz Öztekin" userId="33c0df0f-d5fe-4bda-8f43-141ad7af67e3" providerId="ADAL" clId="{48B824AD-1B2A-47A8-8D92-6FE6E622A650}" dt="2024-12-16T18:39:02.011" v="203511"/>
          <ac:spMkLst>
            <pc:docMk/>
            <pc:sldMk cId="1765966936" sldId="297"/>
            <ac:spMk id="15" creationId="{9AA7B0A0-72A3-9B94-3001-369BCDAFBCDC}"/>
          </ac:spMkLst>
        </pc:spChg>
        <pc:spChg chg="add del mod modVis">
          <ac:chgData name="Oğuz Öztekin" userId="33c0df0f-d5fe-4bda-8f43-141ad7af67e3" providerId="ADAL" clId="{48B824AD-1B2A-47A8-8D92-6FE6E622A650}" dt="2024-12-16T18:39:06.343" v="203544"/>
          <ac:spMkLst>
            <pc:docMk/>
            <pc:sldMk cId="1765966936" sldId="297"/>
            <ac:spMk id="16" creationId="{22C12557-71FC-9683-FFFA-02CD1DD7E34A}"/>
          </ac:spMkLst>
        </pc:spChg>
        <pc:spChg chg="add del mod modVis">
          <ac:chgData name="Oğuz Öztekin" userId="33c0df0f-d5fe-4bda-8f43-141ad7af67e3" providerId="ADAL" clId="{48B824AD-1B2A-47A8-8D92-6FE6E622A650}" dt="2024-12-16T18:39:07.530" v="203572"/>
          <ac:spMkLst>
            <pc:docMk/>
            <pc:sldMk cId="1765966936" sldId="297"/>
            <ac:spMk id="17" creationId="{E3F20024-AAE4-9C6E-B261-5021903FF27E}"/>
          </ac:spMkLst>
        </pc:spChg>
        <pc:spChg chg="add del mod modVis">
          <ac:chgData name="Oğuz Öztekin" userId="33c0df0f-d5fe-4bda-8f43-141ad7af67e3" providerId="ADAL" clId="{48B824AD-1B2A-47A8-8D92-6FE6E622A650}" dt="2024-12-16T18:39:11.953" v="203611"/>
          <ac:spMkLst>
            <pc:docMk/>
            <pc:sldMk cId="1765966936" sldId="297"/>
            <ac:spMk id="18" creationId="{AED4499B-8332-7BF1-B880-E0D511211235}"/>
          </ac:spMkLst>
        </pc:spChg>
        <pc:spChg chg="add del mod modVis">
          <ac:chgData name="Oğuz Öztekin" userId="33c0df0f-d5fe-4bda-8f43-141ad7af67e3" providerId="ADAL" clId="{48B824AD-1B2A-47A8-8D92-6FE6E622A650}" dt="2024-12-16T18:39:26.037" v="203840"/>
          <ac:spMkLst>
            <pc:docMk/>
            <pc:sldMk cId="1765966936" sldId="297"/>
            <ac:spMk id="19" creationId="{C5375481-0838-850E-F11B-B735D36CC9B4}"/>
          </ac:spMkLst>
        </pc:spChg>
        <pc:spChg chg="mod">
          <ac:chgData name="Oğuz Öztekin" userId="33c0df0f-d5fe-4bda-8f43-141ad7af67e3" providerId="ADAL" clId="{48B824AD-1B2A-47A8-8D92-6FE6E622A650}" dt="2024-12-16T18:44:32.113" v="211850"/>
          <ac:spMkLst>
            <pc:docMk/>
            <pc:sldMk cId="1765966936" sldId="297"/>
            <ac:spMk id="20" creationId="{86B944E8-FC56-59FC-4B5A-F4D2C497013A}"/>
          </ac:spMkLst>
        </pc:spChg>
        <pc:spChg chg="add del mod modVis">
          <ac:chgData name="Oğuz Öztekin" userId="33c0df0f-d5fe-4bda-8f43-141ad7af67e3" providerId="ADAL" clId="{48B824AD-1B2A-47A8-8D92-6FE6E622A650}" dt="2024-12-16T18:39:32.149" v="203995"/>
          <ac:spMkLst>
            <pc:docMk/>
            <pc:sldMk cId="1765966936" sldId="297"/>
            <ac:spMk id="22" creationId="{6AD131F3-ADA5-B253-526D-30D9067E0198}"/>
          </ac:spMkLst>
        </pc:spChg>
        <pc:spChg chg="add del mod modVis">
          <ac:chgData name="Oğuz Öztekin" userId="33c0df0f-d5fe-4bda-8f43-141ad7af67e3" providerId="ADAL" clId="{48B824AD-1B2A-47A8-8D92-6FE6E622A650}" dt="2024-12-16T18:39:37.890" v="204142"/>
          <ac:spMkLst>
            <pc:docMk/>
            <pc:sldMk cId="1765966936" sldId="297"/>
            <ac:spMk id="24" creationId="{E8C3093D-5A2B-98CA-7983-1D4DD1AFD6D5}"/>
          </ac:spMkLst>
        </pc:spChg>
        <pc:spChg chg="add del mod">
          <ac:chgData name="Oğuz Öztekin" userId="33c0df0f-d5fe-4bda-8f43-141ad7af67e3" providerId="ADAL" clId="{48B824AD-1B2A-47A8-8D92-6FE6E622A650}" dt="2024-12-16T18:40:37.187" v="205038"/>
          <ac:spMkLst>
            <pc:docMk/>
            <pc:sldMk cId="1765966936" sldId="297"/>
            <ac:spMk id="26" creationId="{AB635495-EAB5-8DC0-2389-321A7749DEDD}"/>
          </ac:spMkLst>
        </pc:spChg>
        <pc:spChg chg="add del mod">
          <ac:chgData name="Oğuz Öztekin" userId="33c0df0f-d5fe-4bda-8f43-141ad7af67e3" providerId="ADAL" clId="{48B824AD-1B2A-47A8-8D92-6FE6E622A650}" dt="2024-12-16T18:40:37.188" v="205041"/>
          <ac:spMkLst>
            <pc:docMk/>
            <pc:sldMk cId="1765966936" sldId="297"/>
            <ac:spMk id="27" creationId="{4F73E42C-D77D-6234-D58B-4D25A290B0F3}"/>
          </ac:spMkLst>
        </pc:spChg>
        <pc:spChg chg="add del mod">
          <ac:chgData name="Oğuz Öztekin" userId="33c0df0f-d5fe-4bda-8f43-141ad7af67e3" providerId="ADAL" clId="{48B824AD-1B2A-47A8-8D92-6FE6E622A650}" dt="2024-12-16T18:40:37.189" v="205044"/>
          <ac:spMkLst>
            <pc:docMk/>
            <pc:sldMk cId="1765966936" sldId="297"/>
            <ac:spMk id="28" creationId="{105AA442-A92B-DCDC-6435-58B316EBEA9A}"/>
          </ac:spMkLst>
        </pc:spChg>
        <pc:spChg chg="mod">
          <ac:chgData name="Oğuz Öztekin" userId="33c0df0f-d5fe-4bda-8f43-141ad7af67e3" providerId="ADAL" clId="{48B824AD-1B2A-47A8-8D92-6FE6E622A650}" dt="2024-12-16T18:44:32.113" v="211851"/>
          <ac:spMkLst>
            <pc:docMk/>
            <pc:sldMk cId="1765966936" sldId="297"/>
            <ac:spMk id="29" creationId="{14F560F5-98D0-2796-CE17-32F9269CCC4F}"/>
          </ac:spMkLst>
        </pc:spChg>
        <pc:spChg chg="add del mod">
          <ac:chgData name="Oğuz Öztekin" userId="33c0df0f-d5fe-4bda-8f43-141ad7af67e3" providerId="ADAL" clId="{48B824AD-1B2A-47A8-8D92-6FE6E622A650}" dt="2024-12-16T18:40:37.190" v="205047"/>
          <ac:spMkLst>
            <pc:docMk/>
            <pc:sldMk cId="1765966936" sldId="297"/>
            <ac:spMk id="30" creationId="{C6FBA92E-470C-802B-ACAA-D40C8EF171DE}"/>
          </ac:spMkLst>
        </pc:spChg>
        <pc:spChg chg="add del mod">
          <ac:chgData name="Oğuz Öztekin" userId="33c0df0f-d5fe-4bda-8f43-141ad7af67e3" providerId="ADAL" clId="{48B824AD-1B2A-47A8-8D92-6FE6E622A650}" dt="2024-12-16T18:40:37.191" v="205050"/>
          <ac:spMkLst>
            <pc:docMk/>
            <pc:sldMk cId="1765966936" sldId="297"/>
            <ac:spMk id="31" creationId="{C7928CFE-8869-177C-FAA6-834F3A8677BB}"/>
          </ac:spMkLst>
        </pc:spChg>
        <pc:spChg chg="add del mod">
          <ac:chgData name="Oğuz Öztekin" userId="33c0df0f-d5fe-4bda-8f43-141ad7af67e3" providerId="ADAL" clId="{48B824AD-1B2A-47A8-8D92-6FE6E622A650}" dt="2024-12-16T18:40:37.192" v="205053"/>
          <ac:spMkLst>
            <pc:docMk/>
            <pc:sldMk cId="1765966936" sldId="297"/>
            <ac:spMk id="32" creationId="{A19C1D58-64B5-1473-0B76-D7F6FFFCD639}"/>
          </ac:spMkLst>
        </pc:spChg>
        <pc:spChg chg="add del mod">
          <ac:chgData name="Oğuz Öztekin" userId="33c0df0f-d5fe-4bda-8f43-141ad7af67e3" providerId="ADAL" clId="{48B824AD-1B2A-47A8-8D92-6FE6E622A650}" dt="2024-12-16T18:40:37.193" v="205056"/>
          <ac:spMkLst>
            <pc:docMk/>
            <pc:sldMk cId="1765966936" sldId="297"/>
            <ac:spMk id="33" creationId="{38ABB722-AA88-B95B-E9A9-52E3E3A786EC}"/>
          </ac:spMkLst>
        </pc:spChg>
        <pc:spChg chg="add del mod">
          <ac:chgData name="Oğuz Öztekin" userId="33c0df0f-d5fe-4bda-8f43-141ad7af67e3" providerId="ADAL" clId="{48B824AD-1B2A-47A8-8D92-6FE6E622A650}" dt="2024-12-16T18:40:37.194" v="205059"/>
          <ac:spMkLst>
            <pc:docMk/>
            <pc:sldMk cId="1765966936" sldId="297"/>
            <ac:spMk id="34" creationId="{55690F5F-3835-77BB-FDD0-D19E68744D35}"/>
          </ac:spMkLst>
        </pc:spChg>
        <pc:spChg chg="del mod">
          <ac:chgData name="Oğuz Öztekin" userId="33c0df0f-d5fe-4bda-8f43-141ad7af67e3" providerId="ADAL" clId="{48B824AD-1B2A-47A8-8D92-6FE6E622A650}" dt="2024-12-16T18:40:43.354" v="205266"/>
          <ac:spMkLst>
            <pc:docMk/>
            <pc:sldMk cId="1765966936" sldId="297"/>
            <ac:spMk id="35" creationId="{3B0F2543-A463-DA06-AE1C-023AD8A9CC50}"/>
          </ac:spMkLst>
        </pc:spChg>
        <pc:spChg chg="del mod">
          <ac:chgData name="Oğuz Öztekin" userId="33c0df0f-d5fe-4bda-8f43-141ad7af67e3" providerId="ADAL" clId="{48B824AD-1B2A-47A8-8D92-6FE6E622A650}" dt="2024-12-16T18:40:43.354" v="205267"/>
          <ac:spMkLst>
            <pc:docMk/>
            <pc:sldMk cId="1765966936" sldId="297"/>
            <ac:spMk id="36" creationId="{CFEADFEE-5F38-3161-B3AB-B6A49ECF369F}"/>
          </ac:spMkLst>
        </pc:spChg>
        <pc:spChg chg="del mod">
          <ac:chgData name="Oğuz Öztekin" userId="33c0df0f-d5fe-4bda-8f43-141ad7af67e3" providerId="ADAL" clId="{48B824AD-1B2A-47A8-8D92-6FE6E622A650}" dt="2024-12-16T18:40:43.354" v="205268"/>
          <ac:spMkLst>
            <pc:docMk/>
            <pc:sldMk cId="1765966936" sldId="297"/>
            <ac:spMk id="37" creationId="{9739A560-87B1-93F7-718A-B54F68A06980}"/>
          </ac:spMkLst>
        </pc:spChg>
        <pc:spChg chg="add del mod">
          <ac:chgData name="Oğuz Öztekin" userId="33c0df0f-d5fe-4bda-8f43-141ad7af67e3" providerId="ADAL" clId="{48B824AD-1B2A-47A8-8D92-6FE6E622A650}" dt="2024-12-16T18:40:37.194" v="205062"/>
          <ac:spMkLst>
            <pc:docMk/>
            <pc:sldMk cId="1765966936" sldId="297"/>
            <ac:spMk id="38" creationId="{5E6253A1-64F6-4D0A-3D64-5C17257DC349}"/>
          </ac:spMkLst>
        </pc:spChg>
        <pc:spChg chg="add del mod modVis">
          <ac:chgData name="Oğuz Öztekin" userId="33c0df0f-d5fe-4bda-8f43-141ad7af67e3" providerId="ADAL" clId="{48B824AD-1B2A-47A8-8D92-6FE6E622A650}" dt="2024-12-16T18:39:41.835" v="204643"/>
          <ac:spMkLst>
            <pc:docMk/>
            <pc:sldMk cId="1765966936" sldId="297"/>
            <ac:spMk id="39" creationId="{3459584B-C7ED-0FD2-6B44-E9190E002485}"/>
          </ac:spMkLst>
        </pc:spChg>
        <pc:spChg chg="add del mod modVis">
          <ac:chgData name="Oğuz Öztekin" userId="33c0df0f-d5fe-4bda-8f43-141ad7af67e3" providerId="ADAL" clId="{48B824AD-1B2A-47A8-8D92-6FE6E622A650}" dt="2024-12-16T18:39:46.266" v="204770"/>
          <ac:spMkLst>
            <pc:docMk/>
            <pc:sldMk cId="1765966936" sldId="297"/>
            <ac:spMk id="51" creationId="{EB72060B-1428-86BF-098E-E44274E548E7}"/>
          </ac:spMkLst>
        </pc:spChg>
        <pc:spChg chg="add del mod modVis">
          <ac:chgData name="Oğuz Öztekin" userId="33c0df0f-d5fe-4bda-8f43-141ad7af67e3" providerId="ADAL" clId="{48B824AD-1B2A-47A8-8D92-6FE6E622A650}" dt="2024-12-16T18:39:55.214" v="204911"/>
          <ac:spMkLst>
            <pc:docMk/>
            <pc:sldMk cId="1765966936" sldId="297"/>
            <ac:spMk id="53" creationId="{26CD9F3F-62BD-3A05-CD08-7B72CADCBF90}"/>
          </ac:spMkLst>
        </pc:spChg>
        <pc:spChg chg="add del mod modVis">
          <ac:chgData name="Oğuz Öztekin" userId="33c0df0f-d5fe-4bda-8f43-141ad7af67e3" providerId="ADAL" clId="{48B824AD-1B2A-47A8-8D92-6FE6E622A650}" dt="2024-12-16T18:40:25.228" v="205030"/>
          <ac:spMkLst>
            <pc:docMk/>
            <pc:sldMk cId="1765966936" sldId="297"/>
            <ac:spMk id="55" creationId="{77B9931C-CA5C-52DD-AC3A-44D96BF102AB}"/>
          </ac:spMkLst>
        </pc:spChg>
        <pc:spChg chg="add del mod modVis">
          <ac:chgData name="Oğuz Öztekin" userId="33c0df0f-d5fe-4bda-8f43-141ad7af67e3" providerId="ADAL" clId="{48B824AD-1B2A-47A8-8D92-6FE6E622A650}" dt="2024-12-16T18:40:37.296" v="205187"/>
          <ac:spMkLst>
            <pc:docMk/>
            <pc:sldMk cId="1765966936" sldId="297"/>
            <ac:spMk id="57" creationId="{E9190352-D056-ABA1-7B9E-FAAE1BCA1D87}"/>
          </ac:spMkLst>
        </pc:spChg>
        <pc:spChg chg="add del mod modVis">
          <ac:chgData name="Oğuz Öztekin" userId="33c0df0f-d5fe-4bda-8f43-141ad7af67e3" providerId="ADAL" clId="{48B824AD-1B2A-47A8-8D92-6FE6E622A650}" dt="2024-12-16T18:40:43.374" v="205290"/>
          <ac:spMkLst>
            <pc:docMk/>
            <pc:sldMk cId="1765966936" sldId="297"/>
            <ac:spMk id="59" creationId="{E7B213D1-678F-E4A0-7F9C-A7DB7DA65684}"/>
          </ac:spMkLst>
        </pc:spChg>
        <pc:spChg chg="add del mod modVis">
          <ac:chgData name="Oğuz Öztekin" userId="33c0df0f-d5fe-4bda-8f43-141ad7af67e3" providerId="ADAL" clId="{48B824AD-1B2A-47A8-8D92-6FE6E622A650}" dt="2024-12-16T18:40:46.599" v="205354"/>
          <ac:spMkLst>
            <pc:docMk/>
            <pc:sldMk cId="1765966936" sldId="297"/>
            <ac:spMk id="61" creationId="{C3F9679A-9BF5-0CC7-FC3E-ABFE7723CEBC}"/>
          </ac:spMkLst>
        </pc:spChg>
        <pc:spChg chg="add del mod modVis">
          <ac:chgData name="Oğuz Öztekin" userId="33c0df0f-d5fe-4bda-8f43-141ad7af67e3" providerId="ADAL" clId="{48B824AD-1B2A-47A8-8D92-6FE6E622A650}" dt="2024-12-16T18:40:52.748" v="205389"/>
          <ac:spMkLst>
            <pc:docMk/>
            <pc:sldMk cId="1765966936" sldId="297"/>
            <ac:spMk id="63" creationId="{4E5F875D-48BA-13BD-FB7D-584283485BD1}"/>
          </ac:spMkLst>
        </pc:spChg>
        <pc:spChg chg="add del mod modVis">
          <ac:chgData name="Oğuz Öztekin" userId="33c0df0f-d5fe-4bda-8f43-141ad7af67e3" providerId="ADAL" clId="{48B824AD-1B2A-47A8-8D92-6FE6E622A650}" dt="2024-12-16T18:41:59.186" v="206375"/>
          <ac:spMkLst>
            <pc:docMk/>
            <pc:sldMk cId="1765966936" sldId="297"/>
            <ac:spMk id="65" creationId="{33471A8F-5A07-1988-1A99-DD491B82D99D}"/>
          </ac:spMkLst>
        </pc:spChg>
        <pc:spChg chg="add del mod modVis">
          <ac:chgData name="Oğuz Öztekin" userId="33c0df0f-d5fe-4bda-8f43-141ad7af67e3" providerId="ADAL" clId="{48B824AD-1B2A-47A8-8D92-6FE6E622A650}" dt="2024-12-16T18:41:59.186" v="206375"/>
          <ac:spMkLst>
            <pc:docMk/>
            <pc:sldMk cId="1765966936" sldId="297"/>
            <ac:spMk id="67" creationId="{621E0118-596A-2BD6-2048-07C6B1C663F2}"/>
          </ac:spMkLst>
        </pc:spChg>
        <pc:spChg chg="add del mod modVis">
          <ac:chgData name="Oğuz Öztekin" userId="33c0df0f-d5fe-4bda-8f43-141ad7af67e3" providerId="ADAL" clId="{48B824AD-1B2A-47A8-8D92-6FE6E622A650}" dt="2024-12-16T18:42:05.282" v="206509"/>
          <ac:spMkLst>
            <pc:docMk/>
            <pc:sldMk cId="1765966936" sldId="297"/>
            <ac:spMk id="69" creationId="{F31A8563-F4F6-4FF5-5E4F-E072FADFE0A5}"/>
          </ac:spMkLst>
        </pc:spChg>
        <pc:spChg chg="add del mod modVis">
          <ac:chgData name="Oğuz Öztekin" userId="33c0df0f-d5fe-4bda-8f43-141ad7af67e3" providerId="ADAL" clId="{48B824AD-1B2A-47A8-8D92-6FE6E622A650}" dt="2024-12-16T18:44:03.128" v="211506"/>
          <ac:spMkLst>
            <pc:docMk/>
            <pc:sldMk cId="1765966936" sldId="297"/>
            <ac:spMk id="71" creationId="{FD9609A7-F17B-2B3E-2143-AAD022927D41}"/>
          </ac:spMkLst>
        </pc:spChg>
        <pc:spChg chg="add mod">
          <ac:chgData name="Oğuz Öztekin" userId="33c0df0f-d5fe-4bda-8f43-141ad7af67e3" providerId="ADAL" clId="{48B824AD-1B2A-47A8-8D92-6FE6E622A650}" dt="2024-12-16T18:44:32.113" v="211852"/>
          <ac:spMkLst>
            <pc:docMk/>
            <pc:sldMk cId="1765966936" sldId="297"/>
            <ac:spMk id="72" creationId="{0DA229A7-A920-45EE-157E-FADDE3A0DF9F}"/>
          </ac:spMkLst>
        </pc:spChg>
        <pc:spChg chg="add mod">
          <ac:chgData name="Oğuz Öztekin" userId="33c0df0f-d5fe-4bda-8f43-141ad7af67e3" providerId="ADAL" clId="{48B824AD-1B2A-47A8-8D92-6FE6E622A650}" dt="2024-12-16T18:44:32.113" v="211847"/>
          <ac:spMkLst>
            <pc:docMk/>
            <pc:sldMk cId="1765966936" sldId="297"/>
            <ac:spMk id="73" creationId="{7FD9CFA5-CA98-291D-CF0B-93131508C217}"/>
          </ac:spMkLst>
        </pc:spChg>
        <pc:spChg chg="add del mod modVis">
          <ac:chgData name="Oğuz Öztekin" userId="33c0df0f-d5fe-4bda-8f43-141ad7af67e3" providerId="ADAL" clId="{48B824AD-1B2A-47A8-8D92-6FE6E622A650}" dt="2024-12-16T18:44:06.075" v="211582"/>
          <ac:spMkLst>
            <pc:docMk/>
            <pc:sldMk cId="1765966936" sldId="297"/>
            <ac:spMk id="76" creationId="{1EE9B6B6-5A54-0D92-1BF2-649B584B0CE3}"/>
          </ac:spMkLst>
        </pc:spChg>
        <pc:spChg chg="add del mod modVis">
          <ac:chgData name="Oğuz Öztekin" userId="33c0df0f-d5fe-4bda-8f43-141ad7af67e3" providerId="ADAL" clId="{48B824AD-1B2A-47A8-8D92-6FE6E622A650}" dt="2024-12-16T18:44:11.371" v="211682"/>
          <ac:spMkLst>
            <pc:docMk/>
            <pc:sldMk cId="1765966936" sldId="297"/>
            <ac:spMk id="78" creationId="{5A1FF075-D58C-374B-9DF0-D4CC1A56B4FC}"/>
          </ac:spMkLst>
        </pc:spChg>
        <pc:spChg chg="add del mod modVis">
          <ac:chgData name="Oğuz Öztekin" userId="33c0df0f-d5fe-4bda-8f43-141ad7af67e3" providerId="ADAL" clId="{48B824AD-1B2A-47A8-8D92-6FE6E622A650}" dt="2024-12-16T18:44:17.747" v="211772"/>
          <ac:spMkLst>
            <pc:docMk/>
            <pc:sldMk cId="1765966936" sldId="297"/>
            <ac:spMk id="80" creationId="{55104222-A063-84BB-C72C-B97EF02F50C1}"/>
          </ac:spMkLst>
        </pc:spChg>
        <pc:spChg chg="add del mod modVis">
          <ac:chgData name="Oğuz Öztekin" userId="33c0df0f-d5fe-4bda-8f43-141ad7af67e3" providerId="ADAL" clId="{48B824AD-1B2A-47A8-8D92-6FE6E622A650}" dt="2024-12-16T18:44:32.115" v="211854"/>
          <ac:spMkLst>
            <pc:docMk/>
            <pc:sldMk cId="1765966936" sldId="297"/>
            <ac:spMk id="82" creationId="{88E208F4-2949-C3AA-EB0C-BC8283AF826E}"/>
          </ac:spMkLst>
        </pc:spChg>
        <pc:spChg chg="del mod">
          <ac:chgData name="Oğuz Öztekin" userId="33c0df0f-d5fe-4bda-8f43-141ad7af67e3" providerId="ADAL" clId="{48B824AD-1B2A-47A8-8D92-6FE6E622A650}" dt="2024-12-16T18:40:43.354" v="205269"/>
          <ac:spMkLst>
            <pc:docMk/>
            <pc:sldMk cId="1765966936" sldId="297"/>
            <ac:spMk id="86" creationId="{BCAC5178-3401-1112-7393-EB1AE3F9CE81}"/>
          </ac:spMkLst>
        </pc:spChg>
        <pc:spChg chg="del mod">
          <ac:chgData name="Oğuz Öztekin" userId="33c0df0f-d5fe-4bda-8f43-141ad7af67e3" providerId="ADAL" clId="{48B824AD-1B2A-47A8-8D92-6FE6E622A650}" dt="2024-12-16T18:40:43.354" v="205270"/>
          <ac:spMkLst>
            <pc:docMk/>
            <pc:sldMk cId="1765966936" sldId="297"/>
            <ac:spMk id="87" creationId="{1C5AC416-69F8-B2E9-8BB3-0834F7DA21C4}"/>
          </ac:spMkLst>
        </pc:spChg>
        <pc:spChg chg="del mod">
          <ac:chgData name="Oğuz Öztekin" userId="33c0df0f-d5fe-4bda-8f43-141ad7af67e3" providerId="ADAL" clId="{48B824AD-1B2A-47A8-8D92-6FE6E622A650}" dt="2024-12-16T18:40:43.356" v="205271"/>
          <ac:spMkLst>
            <pc:docMk/>
            <pc:sldMk cId="1765966936" sldId="297"/>
            <ac:spMk id="88" creationId="{7E0AD49E-8480-BABB-904F-5941672334F0}"/>
          </ac:spMkLst>
        </pc:spChg>
        <pc:spChg chg="del mod">
          <ac:chgData name="Oğuz Öztekin" userId="33c0df0f-d5fe-4bda-8f43-141ad7af67e3" providerId="ADAL" clId="{48B824AD-1B2A-47A8-8D92-6FE6E622A650}" dt="2024-12-16T18:40:43.356" v="205272"/>
          <ac:spMkLst>
            <pc:docMk/>
            <pc:sldMk cId="1765966936" sldId="297"/>
            <ac:spMk id="89" creationId="{62F0B6BC-0E48-D37B-5862-987FC70DB36E}"/>
          </ac:spMkLst>
        </pc:spChg>
        <pc:spChg chg="del mod">
          <ac:chgData name="Oğuz Öztekin" userId="33c0df0f-d5fe-4bda-8f43-141ad7af67e3" providerId="ADAL" clId="{48B824AD-1B2A-47A8-8D92-6FE6E622A650}" dt="2024-12-16T18:40:43.356" v="205273"/>
          <ac:spMkLst>
            <pc:docMk/>
            <pc:sldMk cId="1765966936" sldId="297"/>
            <ac:spMk id="90" creationId="{1EF31806-DA04-02F5-8077-39AE99E275D4}"/>
          </ac:spMkLst>
        </pc:spChg>
        <pc:spChg chg="del mod">
          <ac:chgData name="Oğuz Öztekin" userId="33c0df0f-d5fe-4bda-8f43-141ad7af67e3" providerId="ADAL" clId="{48B824AD-1B2A-47A8-8D92-6FE6E622A650}" dt="2024-12-16T18:40:43.356" v="205274"/>
          <ac:spMkLst>
            <pc:docMk/>
            <pc:sldMk cId="1765966936" sldId="297"/>
            <ac:spMk id="91" creationId="{1A550BD9-6602-979E-7E03-D0CCAE6052B2}"/>
          </ac:spMkLst>
        </pc:spChg>
        <pc:spChg chg="del mod">
          <ac:chgData name="Oğuz Öztekin" userId="33c0df0f-d5fe-4bda-8f43-141ad7af67e3" providerId="ADAL" clId="{48B824AD-1B2A-47A8-8D92-6FE6E622A650}" dt="2024-12-16T18:40:43.356" v="205275"/>
          <ac:spMkLst>
            <pc:docMk/>
            <pc:sldMk cId="1765966936" sldId="297"/>
            <ac:spMk id="92" creationId="{F6334452-D977-56C2-5FF2-088D06AC7FB7}"/>
          </ac:spMkLst>
        </pc:spChg>
        <pc:spChg chg="add del mod modVis">
          <ac:chgData name="Oğuz Öztekin" userId="33c0df0f-d5fe-4bda-8f43-141ad7af67e3" providerId="ADAL" clId="{48B824AD-1B2A-47A8-8D92-6FE6E622A650}" dt="2024-12-16T18:40:57.286" v="205453"/>
          <ac:spMkLst>
            <pc:docMk/>
            <pc:sldMk cId="1765966936" sldId="297"/>
            <ac:spMk id="288" creationId="{FCB4E4C5-9D91-11F4-C185-8432D94DDA94}"/>
          </ac:spMkLst>
        </pc:spChg>
        <pc:spChg chg="add mod">
          <ac:chgData name="Oğuz Öztekin" userId="33c0df0f-d5fe-4bda-8f43-141ad7af67e3" providerId="ADAL" clId="{48B824AD-1B2A-47A8-8D92-6FE6E622A650}" dt="2024-12-16T18:41:13.483" v="205667"/>
          <ac:spMkLst>
            <pc:docMk/>
            <pc:sldMk cId="1765966936" sldId="297"/>
            <ac:spMk id="290" creationId="{23D7A55F-A30D-B2F0-4732-B16AB2F1C3FD}"/>
          </ac:spMkLst>
        </pc:spChg>
        <pc:spChg chg="add del mod modVis">
          <ac:chgData name="Oğuz Öztekin" userId="33c0df0f-d5fe-4bda-8f43-141ad7af67e3" providerId="ADAL" clId="{48B824AD-1B2A-47A8-8D92-6FE6E622A650}" dt="2024-12-16T18:41:13.483" v="205667"/>
          <ac:spMkLst>
            <pc:docMk/>
            <pc:sldMk cId="1765966936" sldId="297"/>
            <ac:spMk id="291" creationId="{5F4C5266-38CB-EF74-6A5C-2CB376FC1214}"/>
          </ac:spMkLst>
        </pc:spChg>
        <pc:spChg chg="del mod">
          <ac:chgData name="Oğuz Öztekin" userId="33c0df0f-d5fe-4bda-8f43-141ad7af67e3" providerId="ADAL" clId="{48B824AD-1B2A-47A8-8D92-6FE6E622A650}" dt="2024-12-16T18:40:37.186" v="205035"/>
          <ac:spMkLst>
            <pc:docMk/>
            <pc:sldMk cId="1765966936" sldId="297"/>
            <ac:spMk id="292" creationId="{B19414B9-7E15-DFA9-4D54-578802DBE57D}"/>
          </ac:spMkLst>
        </pc:spChg>
        <pc:spChg chg="del mod">
          <ac:chgData name="Oğuz Öztekin" userId="33c0df0f-d5fe-4bda-8f43-141ad7af67e3" providerId="ADAL" clId="{48B824AD-1B2A-47A8-8D92-6FE6E622A650}" dt="2024-12-16T18:39:37.788" v="203998"/>
          <ac:spMkLst>
            <pc:docMk/>
            <pc:sldMk cId="1765966936" sldId="297"/>
            <ac:spMk id="295" creationId="{DADBE144-1062-B1CF-F6A2-1F286D2BA1B5}"/>
          </ac:spMkLst>
        </pc:spChg>
        <pc:spChg chg="add del mod modVis">
          <ac:chgData name="Oğuz Öztekin" userId="33c0df0f-d5fe-4bda-8f43-141ad7af67e3" providerId="ADAL" clId="{48B824AD-1B2A-47A8-8D92-6FE6E622A650}" dt="2024-12-16T18:41:19.394" v="205798"/>
          <ac:spMkLst>
            <pc:docMk/>
            <pc:sldMk cId="1765966936" sldId="297"/>
            <ac:spMk id="297" creationId="{C7B3C63A-B71C-B6E0-7696-3126518A1F4B}"/>
          </ac:spMkLst>
        </pc:spChg>
        <pc:spChg chg="del mod">
          <ac:chgData name="Oğuz Öztekin" userId="33c0df0f-d5fe-4bda-8f43-141ad7af67e3" providerId="ADAL" clId="{48B824AD-1B2A-47A8-8D92-6FE6E622A650}" dt="2024-12-16T18:39:37.791" v="204004"/>
          <ac:spMkLst>
            <pc:docMk/>
            <pc:sldMk cId="1765966936" sldId="297"/>
            <ac:spMk id="298" creationId="{B3A76D9D-85A3-C592-0EAD-8D7ACD331187}"/>
          </ac:spMkLst>
        </pc:spChg>
        <pc:spChg chg="add del mod modVis">
          <ac:chgData name="Oğuz Öztekin" userId="33c0df0f-d5fe-4bda-8f43-141ad7af67e3" providerId="ADAL" clId="{48B824AD-1B2A-47A8-8D92-6FE6E622A650}" dt="2024-12-16T18:41:23.941" v="205859"/>
          <ac:spMkLst>
            <pc:docMk/>
            <pc:sldMk cId="1765966936" sldId="297"/>
            <ac:spMk id="300" creationId="{4D8875C1-A839-C352-7BF6-2D9C87F5E84B}"/>
          </ac:spMkLst>
        </pc:spChg>
        <pc:spChg chg="del mod">
          <ac:chgData name="Oğuz Öztekin" userId="33c0df0f-d5fe-4bda-8f43-141ad7af67e3" providerId="ADAL" clId="{48B824AD-1B2A-47A8-8D92-6FE6E622A650}" dt="2024-12-16T18:39:37.792" v="204007"/>
          <ac:spMkLst>
            <pc:docMk/>
            <pc:sldMk cId="1765966936" sldId="297"/>
            <ac:spMk id="301" creationId="{3A5A75B6-07AA-69C6-FB0B-91973E7D68A6}"/>
          </ac:spMkLst>
        </pc:spChg>
        <pc:spChg chg="add del mod modVis">
          <ac:chgData name="Oğuz Öztekin" userId="33c0df0f-d5fe-4bda-8f43-141ad7af67e3" providerId="ADAL" clId="{48B824AD-1B2A-47A8-8D92-6FE6E622A650}" dt="2024-12-16T18:41:27.101" v="205920"/>
          <ac:spMkLst>
            <pc:docMk/>
            <pc:sldMk cId="1765966936" sldId="297"/>
            <ac:spMk id="303" creationId="{8F6E261C-1C04-E19A-8B1F-EF173A92FDBF}"/>
          </ac:spMkLst>
        </pc:spChg>
        <pc:spChg chg="del mod">
          <ac:chgData name="Oğuz Öztekin" userId="33c0df0f-d5fe-4bda-8f43-141ad7af67e3" providerId="ADAL" clId="{48B824AD-1B2A-47A8-8D92-6FE6E622A650}" dt="2024-12-16T18:39:37.793" v="204010"/>
          <ac:spMkLst>
            <pc:docMk/>
            <pc:sldMk cId="1765966936" sldId="297"/>
            <ac:spMk id="304" creationId="{7D129909-6814-1990-5085-62DEC5A7BCE6}"/>
          </ac:spMkLst>
        </pc:spChg>
        <pc:spChg chg="add del mod modVis">
          <ac:chgData name="Oğuz Öztekin" userId="33c0df0f-d5fe-4bda-8f43-141ad7af67e3" providerId="ADAL" clId="{48B824AD-1B2A-47A8-8D92-6FE6E622A650}" dt="2024-12-16T18:41:35.304" v="205981"/>
          <ac:spMkLst>
            <pc:docMk/>
            <pc:sldMk cId="1765966936" sldId="297"/>
            <ac:spMk id="307" creationId="{77D5E1CB-DBDE-B47B-C1B8-D193425BB568}"/>
          </ac:spMkLst>
        </pc:spChg>
        <pc:spChg chg="del mod">
          <ac:chgData name="Oğuz Öztekin" userId="33c0df0f-d5fe-4bda-8f43-141ad7af67e3" providerId="ADAL" clId="{48B824AD-1B2A-47A8-8D92-6FE6E622A650}" dt="2024-12-16T18:39:37.794" v="204013"/>
          <ac:spMkLst>
            <pc:docMk/>
            <pc:sldMk cId="1765966936" sldId="297"/>
            <ac:spMk id="308" creationId="{8DB81619-5935-C8CD-76F9-4CEA190015BF}"/>
          </ac:spMkLst>
        </pc:spChg>
        <pc:spChg chg="add del mod modVis">
          <ac:chgData name="Oğuz Öztekin" userId="33c0df0f-d5fe-4bda-8f43-141ad7af67e3" providerId="ADAL" clId="{48B824AD-1B2A-47A8-8D92-6FE6E622A650}" dt="2024-12-16T18:41:42.606" v="206042"/>
          <ac:spMkLst>
            <pc:docMk/>
            <pc:sldMk cId="1765966936" sldId="297"/>
            <ac:spMk id="310" creationId="{B0119032-0E02-223B-4E7C-5B859A61A873}"/>
          </ac:spMkLst>
        </pc:spChg>
        <pc:spChg chg="del mod">
          <ac:chgData name="Oğuz Öztekin" userId="33c0df0f-d5fe-4bda-8f43-141ad7af67e3" providerId="ADAL" clId="{48B824AD-1B2A-47A8-8D92-6FE6E622A650}" dt="2024-12-16T18:39:37.795" v="204016"/>
          <ac:spMkLst>
            <pc:docMk/>
            <pc:sldMk cId="1765966936" sldId="297"/>
            <ac:spMk id="311" creationId="{0EB6E261-26C2-0B30-1DCC-0D4888F87778}"/>
          </ac:spMkLst>
        </pc:spChg>
        <pc:spChg chg="add del mod modVis">
          <ac:chgData name="Oğuz Öztekin" userId="33c0df0f-d5fe-4bda-8f43-141ad7af67e3" providerId="ADAL" clId="{48B824AD-1B2A-47A8-8D92-6FE6E622A650}" dt="2024-12-16T18:41:45.243" v="206103"/>
          <ac:spMkLst>
            <pc:docMk/>
            <pc:sldMk cId="1765966936" sldId="297"/>
            <ac:spMk id="314" creationId="{911915C4-ACF9-EE9F-AC69-656906310DFB}"/>
          </ac:spMkLst>
        </pc:spChg>
        <pc:spChg chg="del mod">
          <ac:chgData name="Oğuz Öztekin" userId="33c0df0f-d5fe-4bda-8f43-141ad7af67e3" providerId="ADAL" clId="{48B824AD-1B2A-47A8-8D92-6FE6E622A650}" dt="2024-12-16T18:39:37.795" v="204019"/>
          <ac:spMkLst>
            <pc:docMk/>
            <pc:sldMk cId="1765966936" sldId="297"/>
            <ac:spMk id="315" creationId="{6476F0C4-49CF-63D7-32F1-F2AE5746D03C}"/>
          </ac:spMkLst>
        </pc:spChg>
        <pc:spChg chg="add del mod modVis">
          <ac:chgData name="Oğuz Öztekin" userId="33c0df0f-d5fe-4bda-8f43-141ad7af67e3" providerId="ADAL" clId="{48B824AD-1B2A-47A8-8D92-6FE6E622A650}" dt="2024-12-16T18:41:49.599" v="206167"/>
          <ac:spMkLst>
            <pc:docMk/>
            <pc:sldMk cId="1765966936" sldId="297"/>
            <ac:spMk id="318" creationId="{67AD2134-2004-1463-68D1-2FE594DFCE4D}"/>
          </ac:spMkLst>
        </pc:spChg>
        <pc:spChg chg="del mod">
          <ac:chgData name="Oğuz Öztekin" userId="33c0df0f-d5fe-4bda-8f43-141ad7af67e3" providerId="ADAL" clId="{48B824AD-1B2A-47A8-8D92-6FE6E622A650}" dt="2024-12-16T18:39:37.797" v="204022"/>
          <ac:spMkLst>
            <pc:docMk/>
            <pc:sldMk cId="1765966936" sldId="297"/>
            <ac:spMk id="319" creationId="{3AA4AB29-FB82-F5E5-E6FA-09F9BA33BDF6}"/>
          </ac:spMkLst>
        </pc:spChg>
        <pc:spChg chg="del mod">
          <ac:chgData name="Oğuz Öztekin" userId="33c0df0f-d5fe-4bda-8f43-141ad7af67e3" providerId="ADAL" clId="{48B824AD-1B2A-47A8-8D92-6FE6E622A650}" dt="2024-12-16T18:39:37.797" v="204023"/>
          <ac:spMkLst>
            <pc:docMk/>
            <pc:sldMk cId="1765966936" sldId="297"/>
            <ac:spMk id="323" creationId="{FBEB7E30-1870-67B0-7989-53D2D49810B9}"/>
          </ac:spMkLst>
        </pc:spChg>
        <pc:spChg chg="del mod">
          <ac:chgData name="Oğuz Öztekin" userId="33c0df0f-d5fe-4bda-8f43-141ad7af67e3" providerId="ADAL" clId="{48B824AD-1B2A-47A8-8D92-6FE6E622A650}" dt="2024-12-16T18:39:37.798" v="204024"/>
          <ac:spMkLst>
            <pc:docMk/>
            <pc:sldMk cId="1765966936" sldId="297"/>
            <ac:spMk id="326" creationId="{5339F2AB-DEB8-BE49-4539-B530AE911F60}"/>
          </ac:spMkLst>
        </pc:spChg>
        <pc:spChg chg="del mod">
          <ac:chgData name="Oğuz Öztekin" userId="33c0df0f-d5fe-4bda-8f43-141ad7af67e3" providerId="ADAL" clId="{48B824AD-1B2A-47A8-8D92-6FE6E622A650}" dt="2024-12-16T18:39:37.798" v="204025"/>
          <ac:spMkLst>
            <pc:docMk/>
            <pc:sldMk cId="1765966936" sldId="297"/>
            <ac:spMk id="329" creationId="{22619B39-92A5-66F5-A6C3-F6BC58E8413B}"/>
          </ac:spMkLst>
        </pc:spChg>
        <pc:spChg chg="del mod">
          <ac:chgData name="Oğuz Öztekin" userId="33c0df0f-d5fe-4bda-8f43-141ad7af67e3" providerId="ADAL" clId="{48B824AD-1B2A-47A8-8D92-6FE6E622A650}" dt="2024-12-16T18:39:37.798" v="204026"/>
          <ac:spMkLst>
            <pc:docMk/>
            <pc:sldMk cId="1765966936" sldId="297"/>
            <ac:spMk id="332" creationId="{CFE42F76-9B03-CE8A-010C-102619C9E673}"/>
          </ac:spMkLst>
        </pc:spChg>
        <pc:spChg chg="del mod">
          <ac:chgData name="Oğuz Öztekin" userId="33c0df0f-d5fe-4bda-8f43-141ad7af67e3" providerId="ADAL" clId="{48B824AD-1B2A-47A8-8D92-6FE6E622A650}" dt="2024-12-16T18:39:37.798" v="204027"/>
          <ac:spMkLst>
            <pc:docMk/>
            <pc:sldMk cId="1765966936" sldId="297"/>
            <ac:spMk id="335" creationId="{710E90BD-167A-64EA-635B-F40954451CF4}"/>
          </ac:spMkLst>
        </pc:spChg>
        <pc:spChg chg="del mod">
          <ac:chgData name="Oğuz Öztekin" userId="33c0df0f-d5fe-4bda-8f43-141ad7af67e3" providerId="ADAL" clId="{48B824AD-1B2A-47A8-8D92-6FE6E622A650}" dt="2024-12-16T18:39:37.788" v="204001"/>
          <ac:spMkLst>
            <pc:docMk/>
            <pc:sldMk cId="1765966936" sldId="297"/>
            <ac:spMk id="363" creationId="{90300553-3D13-D701-24CB-48ECFFC19E28}"/>
          </ac:spMkLst>
        </pc:spChg>
        <pc:graphicFrameChg chg="mod">
          <ac:chgData name="Oğuz Öztekin" userId="33c0df0f-d5fe-4bda-8f43-141ad7af67e3" providerId="ADAL" clId="{48B824AD-1B2A-47A8-8D92-6FE6E622A650}" dt="2024-12-16T18:44:32.115" v="211856"/>
          <ac:graphicFrameMkLst>
            <pc:docMk/>
            <pc:sldMk cId="1765966936" sldId="297"/>
            <ac:graphicFrameMk id="3" creationId="{1C553AD8-AA4E-6DB2-2243-C3D5363577D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39:32.116" v="203931"/>
          <ac:graphicFrameMkLst>
            <pc:docMk/>
            <pc:sldMk cId="1765966936" sldId="297"/>
            <ac:graphicFrameMk id="21" creationId="{37D6BA3E-29A5-DC71-B8F8-89EFD8743EE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39:37.868" v="204118"/>
          <ac:graphicFrameMkLst>
            <pc:docMk/>
            <pc:sldMk cId="1765966936" sldId="297"/>
            <ac:graphicFrameMk id="23" creationId="{8E9ABE66-BB93-0F45-EC83-AD3BFA2E26A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39:41.803" v="204582"/>
          <ac:graphicFrameMkLst>
            <pc:docMk/>
            <pc:sldMk cId="1765966936" sldId="297"/>
            <ac:graphicFrameMk id="25" creationId="{6135338C-CC6A-B9F5-D8E7-5B44AE74B5B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39:46.238" v="204717"/>
          <ac:graphicFrameMkLst>
            <pc:docMk/>
            <pc:sldMk cId="1765966936" sldId="297"/>
            <ac:graphicFrameMk id="50" creationId="{E994E730-E0D3-57B8-B4CE-8C3ECDFC260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39:55.182" v="204858"/>
          <ac:graphicFrameMkLst>
            <pc:docMk/>
            <pc:sldMk cId="1765966936" sldId="297"/>
            <ac:graphicFrameMk id="52" creationId="{F2DADFFC-F8A5-5080-7410-0A1AFF0DEAC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0:25.201" v="204977"/>
          <ac:graphicFrameMkLst>
            <pc:docMk/>
            <pc:sldMk cId="1765966936" sldId="297"/>
            <ac:graphicFrameMk id="54" creationId="{62914340-E6C5-2081-FB64-737E4585821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0:37.276" v="205164"/>
          <ac:graphicFrameMkLst>
            <pc:docMk/>
            <pc:sldMk cId="1765966936" sldId="297"/>
            <ac:graphicFrameMk id="56" creationId="{CAD85B17-76C0-B1C1-7A51-B5C1A6364A6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0:43.356" v="205277"/>
          <ac:graphicFrameMkLst>
            <pc:docMk/>
            <pc:sldMk cId="1765966936" sldId="297"/>
            <ac:graphicFrameMk id="58" creationId="{F78D4E17-A31B-47CF-7D91-86F8A3EA7B0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0:46.582" v="205341"/>
          <ac:graphicFrameMkLst>
            <pc:docMk/>
            <pc:sldMk cId="1765966936" sldId="297"/>
            <ac:graphicFrameMk id="60" creationId="{CCD530C8-CCC0-1F39-418A-9AE7A0850B9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0:57.272" v="205440"/>
          <ac:graphicFrameMkLst>
            <pc:docMk/>
            <pc:sldMk cId="1765966936" sldId="297"/>
            <ac:graphicFrameMk id="62" creationId="{9A4CE826-9C87-E4C4-528F-02A3CD96123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2:05.263" v="206496"/>
          <ac:graphicFrameMkLst>
            <pc:docMk/>
            <pc:sldMk cId="1765966936" sldId="297"/>
            <ac:graphicFrameMk id="64" creationId="{7488C1D6-0281-90B0-5DC0-EC75E158C63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1:59.186" v="206375"/>
          <ac:graphicFrameMkLst>
            <pc:docMk/>
            <pc:sldMk cId="1765966936" sldId="297"/>
            <ac:graphicFrameMk id="66" creationId="{3465E6D9-24CF-4615-4DEB-783F7712A82F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41:59.186" v="206375"/>
          <ac:graphicFrameMkLst>
            <pc:docMk/>
            <pc:sldMk cId="1765966936" sldId="297"/>
            <ac:graphicFrameMk id="68" creationId="{C162D402-120A-CA38-D15E-9EDA83CA9AE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4:03.101" v="211475"/>
          <ac:graphicFrameMkLst>
            <pc:docMk/>
            <pc:sldMk cId="1765966936" sldId="297"/>
            <ac:graphicFrameMk id="70" creationId="{B484D3BB-6F8D-E05C-3A94-5A77056B618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4:06.058" v="211565"/>
          <ac:graphicFrameMkLst>
            <pc:docMk/>
            <pc:sldMk cId="1765966936" sldId="297"/>
            <ac:graphicFrameMk id="75" creationId="{C37795BC-B5C1-A941-E4E6-3F771168625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4:11.344" v="211651"/>
          <ac:graphicFrameMkLst>
            <pc:docMk/>
            <pc:sldMk cId="1765966936" sldId="297"/>
            <ac:graphicFrameMk id="77" creationId="{9BA31F7B-2DB1-0477-CE7C-B809101BB31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4:17.722" v="211741"/>
          <ac:graphicFrameMkLst>
            <pc:docMk/>
            <pc:sldMk cId="1765966936" sldId="297"/>
            <ac:graphicFrameMk id="79" creationId="{EBCF8494-C0CE-8006-1D9C-42F2E66441B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4:32.098" v="211837"/>
          <ac:graphicFrameMkLst>
            <pc:docMk/>
            <pc:sldMk cId="1765966936" sldId="297"/>
            <ac:graphicFrameMk id="81" creationId="{82899BFD-8C46-B549-816A-3F412635978E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44:32.113" v="211846"/>
          <ac:graphicFrameMkLst>
            <pc:docMk/>
            <pc:sldMk cId="1765966936" sldId="297"/>
            <ac:graphicFrameMk id="83" creationId="{EFB55B86-550C-BC86-3E3B-BBE7E87D6A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1:19.358" v="205785"/>
          <ac:graphicFrameMkLst>
            <pc:docMk/>
            <pc:sldMk cId="1765966936" sldId="297"/>
            <ac:graphicFrameMk id="289" creationId="{BDC9D5EE-BB63-4FE8-2287-661A7F2ACC8D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41:13.483" v="205667"/>
          <ac:graphicFrameMkLst>
            <pc:docMk/>
            <pc:sldMk cId="1765966936" sldId="297"/>
            <ac:graphicFrameMk id="294" creationId="{37238872-6955-A4E2-6CAE-EB9E2DB26CD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1:23.922" v="205846"/>
          <ac:graphicFrameMkLst>
            <pc:docMk/>
            <pc:sldMk cId="1765966936" sldId="297"/>
            <ac:graphicFrameMk id="299" creationId="{BFCE4578-323C-D087-72E7-A2BB2C04405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1:27.085" v="205907"/>
          <ac:graphicFrameMkLst>
            <pc:docMk/>
            <pc:sldMk cId="1765966936" sldId="297"/>
            <ac:graphicFrameMk id="302" creationId="{A1C43783-64E5-8B9A-DE05-CCB1B836D34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1:35.289" v="205968"/>
          <ac:graphicFrameMkLst>
            <pc:docMk/>
            <pc:sldMk cId="1765966936" sldId="297"/>
            <ac:graphicFrameMk id="305" creationId="{150FEF3C-E466-5923-BE0E-6AFE92B881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1:42.591" v="206029"/>
          <ac:graphicFrameMkLst>
            <pc:docMk/>
            <pc:sldMk cId="1765966936" sldId="297"/>
            <ac:graphicFrameMk id="309" creationId="{5A1F1B80-AE7E-70C1-DECD-33FF2666EE8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1:45.227" v="206090"/>
          <ac:graphicFrameMkLst>
            <pc:docMk/>
            <pc:sldMk cId="1765966936" sldId="297"/>
            <ac:graphicFrameMk id="312" creationId="{71B966F8-8C1D-D8D5-E7E0-EB97CF78D0F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1:49.582" v="206154"/>
          <ac:graphicFrameMkLst>
            <pc:docMk/>
            <pc:sldMk cId="1765966936" sldId="297"/>
            <ac:graphicFrameMk id="316" creationId="{518C2A93-A246-B7B0-E847-671B2D376515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39:26.002" v="203782"/>
          <ac:graphicFrameMkLst>
            <pc:docMk/>
            <pc:sldMk cId="1765966936" sldId="297"/>
            <ac:graphicFrameMk id="373" creationId="{5AEBEA96-3FFD-1159-FEA8-D4988D3E2D3C}"/>
          </ac:graphicFrameMkLst>
        </pc:graphicFrameChg>
        <pc:cxnChg chg="add del mod ord">
          <ac:chgData name="Oğuz Öztekin" userId="33c0df0f-d5fe-4bda-8f43-141ad7af67e3" providerId="ADAL" clId="{48B824AD-1B2A-47A8-8D92-6FE6E622A650}" dt="2024-12-16T18:40:37.185" v="205034"/>
          <ac:cxnSpMkLst>
            <pc:docMk/>
            <pc:sldMk cId="1765966936" sldId="297"/>
            <ac:cxnSpMk id="40" creationId="{BB034781-9F96-0835-40A6-06EB499A7EE5}"/>
          </ac:cxnSpMkLst>
        </pc:cxnChg>
        <pc:cxnChg chg="add del mod ord">
          <ac:chgData name="Oğuz Öztekin" userId="33c0df0f-d5fe-4bda-8f43-141ad7af67e3" providerId="ADAL" clId="{48B824AD-1B2A-47A8-8D92-6FE6E622A650}" dt="2024-12-16T18:40:37.187" v="205037"/>
          <ac:cxnSpMkLst>
            <pc:docMk/>
            <pc:sldMk cId="1765966936" sldId="297"/>
            <ac:cxnSpMk id="41" creationId="{5F8E6A38-0621-4E43-95D6-6FDFFEA5FACC}"/>
          </ac:cxnSpMkLst>
        </pc:cxnChg>
        <pc:cxnChg chg="add del mod ord">
          <ac:chgData name="Oğuz Öztekin" userId="33c0df0f-d5fe-4bda-8f43-141ad7af67e3" providerId="ADAL" clId="{48B824AD-1B2A-47A8-8D92-6FE6E622A650}" dt="2024-12-16T18:40:37.188" v="205040"/>
          <ac:cxnSpMkLst>
            <pc:docMk/>
            <pc:sldMk cId="1765966936" sldId="297"/>
            <ac:cxnSpMk id="42" creationId="{9777EA0E-EBDB-C744-E1EC-1B5F2E9AA9D3}"/>
          </ac:cxnSpMkLst>
        </pc:cxnChg>
        <pc:cxnChg chg="add del mod ord">
          <ac:chgData name="Oğuz Öztekin" userId="33c0df0f-d5fe-4bda-8f43-141ad7af67e3" providerId="ADAL" clId="{48B824AD-1B2A-47A8-8D92-6FE6E622A650}" dt="2024-12-16T18:40:37.189" v="205043"/>
          <ac:cxnSpMkLst>
            <pc:docMk/>
            <pc:sldMk cId="1765966936" sldId="297"/>
            <ac:cxnSpMk id="43" creationId="{EBBF8409-1220-7E12-B88D-80C93BAC1C10}"/>
          </ac:cxnSpMkLst>
        </pc:cxnChg>
        <pc:cxnChg chg="add del mod ord">
          <ac:chgData name="Oğuz Öztekin" userId="33c0df0f-d5fe-4bda-8f43-141ad7af67e3" providerId="ADAL" clId="{48B824AD-1B2A-47A8-8D92-6FE6E622A650}" dt="2024-12-16T18:40:37.190" v="205046"/>
          <ac:cxnSpMkLst>
            <pc:docMk/>
            <pc:sldMk cId="1765966936" sldId="297"/>
            <ac:cxnSpMk id="44" creationId="{452D01C9-F9B9-780B-64B3-0EE7E7037FB3}"/>
          </ac:cxnSpMkLst>
        </pc:cxnChg>
        <pc:cxnChg chg="add del mod ord">
          <ac:chgData name="Oğuz Öztekin" userId="33c0df0f-d5fe-4bda-8f43-141ad7af67e3" providerId="ADAL" clId="{48B824AD-1B2A-47A8-8D92-6FE6E622A650}" dt="2024-12-16T18:40:37.191" v="205049"/>
          <ac:cxnSpMkLst>
            <pc:docMk/>
            <pc:sldMk cId="1765966936" sldId="297"/>
            <ac:cxnSpMk id="45" creationId="{6CDD3B21-FCF4-1198-FE04-5F22195454E3}"/>
          </ac:cxnSpMkLst>
        </pc:cxnChg>
        <pc:cxnChg chg="add del mod ord">
          <ac:chgData name="Oğuz Öztekin" userId="33c0df0f-d5fe-4bda-8f43-141ad7af67e3" providerId="ADAL" clId="{48B824AD-1B2A-47A8-8D92-6FE6E622A650}" dt="2024-12-16T18:40:37.191" v="205052"/>
          <ac:cxnSpMkLst>
            <pc:docMk/>
            <pc:sldMk cId="1765966936" sldId="297"/>
            <ac:cxnSpMk id="46" creationId="{02C87BBC-F598-B17A-94E3-A524A21DD23F}"/>
          </ac:cxnSpMkLst>
        </pc:cxnChg>
        <pc:cxnChg chg="add del mod ord">
          <ac:chgData name="Oğuz Öztekin" userId="33c0df0f-d5fe-4bda-8f43-141ad7af67e3" providerId="ADAL" clId="{48B824AD-1B2A-47A8-8D92-6FE6E622A650}" dt="2024-12-16T18:40:37.192" v="205055"/>
          <ac:cxnSpMkLst>
            <pc:docMk/>
            <pc:sldMk cId="1765966936" sldId="297"/>
            <ac:cxnSpMk id="47" creationId="{8C81948E-91C8-4C89-C595-0E1B1753C784}"/>
          </ac:cxnSpMkLst>
        </pc:cxnChg>
        <pc:cxnChg chg="add del mod ord">
          <ac:chgData name="Oğuz Öztekin" userId="33c0df0f-d5fe-4bda-8f43-141ad7af67e3" providerId="ADAL" clId="{48B824AD-1B2A-47A8-8D92-6FE6E622A650}" dt="2024-12-16T18:40:37.193" v="205058"/>
          <ac:cxnSpMkLst>
            <pc:docMk/>
            <pc:sldMk cId="1765966936" sldId="297"/>
            <ac:cxnSpMk id="48" creationId="{EADD1045-438A-29CE-F0CA-9FB9BD0ED596}"/>
          </ac:cxnSpMkLst>
        </pc:cxnChg>
        <pc:cxnChg chg="add del mod ord">
          <ac:chgData name="Oğuz Öztekin" userId="33c0df0f-d5fe-4bda-8f43-141ad7af67e3" providerId="ADAL" clId="{48B824AD-1B2A-47A8-8D92-6FE6E622A650}" dt="2024-12-16T18:40:37.194" v="205061"/>
          <ac:cxnSpMkLst>
            <pc:docMk/>
            <pc:sldMk cId="1765966936" sldId="297"/>
            <ac:cxnSpMk id="49" creationId="{5957A22B-52D8-FAD1-2FD1-2170C07349AA}"/>
          </ac:cxnSpMkLst>
        </pc:cxnChg>
        <pc:cxnChg chg="add mod ord">
          <ac:chgData name="Oğuz Öztekin" userId="33c0df0f-d5fe-4bda-8f43-141ad7af67e3" providerId="ADAL" clId="{48B824AD-1B2A-47A8-8D92-6FE6E622A650}" dt="2024-12-16T18:44:32.113" v="211849"/>
          <ac:cxnSpMkLst>
            <pc:docMk/>
            <pc:sldMk cId="1765966936" sldId="297"/>
            <ac:cxnSpMk id="74" creationId="{795D682C-293E-CB18-048A-D9D302DDC665}"/>
          </ac:cxnSpMkLst>
        </pc:cxnChg>
        <pc:cxnChg chg="del mod ord">
          <ac:chgData name="Oğuz Öztekin" userId="33c0df0f-d5fe-4bda-8f43-141ad7af67e3" providerId="ADAL" clId="{48B824AD-1B2A-47A8-8D92-6FE6E622A650}" dt="2024-12-16T18:39:37.868" v="204116"/>
          <ac:cxnSpMkLst>
            <pc:docMk/>
            <pc:sldMk cId="1765966936" sldId="297"/>
            <ac:cxnSpMk id="293" creationId="{A8E654EF-6496-75B1-06F8-15ED3D08C11B}"/>
          </ac:cxnSpMkLst>
        </pc:cxnChg>
        <pc:cxnChg chg="add mod ord">
          <ac:chgData name="Oğuz Öztekin" userId="33c0df0f-d5fe-4bda-8f43-141ad7af67e3" providerId="ADAL" clId="{48B824AD-1B2A-47A8-8D92-6FE6E622A650}" dt="2024-12-16T18:41:13.483" v="205667"/>
          <ac:cxnSpMkLst>
            <pc:docMk/>
            <pc:sldMk cId="1765966936" sldId="297"/>
            <ac:cxnSpMk id="296" creationId="{BD1E181F-E438-5E14-2AD3-0D89EBE0CF4F}"/>
          </ac:cxnSpMkLst>
        </pc:cxnChg>
        <pc:cxnChg chg="del mod ord">
          <ac:chgData name="Oğuz Öztekin" userId="33c0df0f-d5fe-4bda-8f43-141ad7af67e3" providerId="ADAL" clId="{48B824AD-1B2A-47A8-8D92-6FE6E622A650}" dt="2024-12-16T18:39:37.792" v="204009"/>
          <ac:cxnSpMkLst>
            <pc:docMk/>
            <pc:sldMk cId="1765966936" sldId="297"/>
            <ac:cxnSpMk id="306" creationId="{C4DC7B7D-013E-79C4-B058-B942416C9939}"/>
          </ac:cxnSpMkLst>
        </pc:cxnChg>
        <pc:cxnChg chg="del mod ord">
          <ac:chgData name="Oğuz Öztekin" userId="33c0df0f-d5fe-4bda-8f43-141ad7af67e3" providerId="ADAL" clId="{48B824AD-1B2A-47A8-8D92-6FE6E622A650}" dt="2024-12-16T18:39:37.795" v="204015"/>
          <ac:cxnSpMkLst>
            <pc:docMk/>
            <pc:sldMk cId="1765966936" sldId="297"/>
            <ac:cxnSpMk id="313" creationId="{5A78338F-DF3C-CBC2-15E2-8DDE0FE99D47}"/>
          </ac:cxnSpMkLst>
        </pc:cxnChg>
        <pc:cxnChg chg="del mod ord">
          <ac:chgData name="Oğuz Öztekin" userId="33c0df0f-d5fe-4bda-8f43-141ad7af67e3" providerId="ADAL" clId="{48B824AD-1B2A-47A8-8D92-6FE6E622A650}" dt="2024-12-16T18:39:37.795" v="204018"/>
          <ac:cxnSpMkLst>
            <pc:docMk/>
            <pc:sldMk cId="1765966936" sldId="297"/>
            <ac:cxnSpMk id="317" creationId="{1D70DB5E-A191-AA69-A3BA-BCE1D26060EC}"/>
          </ac:cxnSpMkLst>
        </pc:cxnChg>
        <pc:cxnChg chg="del mod ord">
          <ac:chgData name="Oğuz Öztekin" userId="33c0df0f-d5fe-4bda-8f43-141ad7af67e3" providerId="ADAL" clId="{48B824AD-1B2A-47A8-8D92-6FE6E622A650}" dt="2024-12-16T18:39:37.797" v="204021"/>
          <ac:cxnSpMkLst>
            <pc:docMk/>
            <pc:sldMk cId="1765966936" sldId="297"/>
            <ac:cxnSpMk id="321" creationId="{5390E085-9141-820F-6499-780C7F00C8BC}"/>
          </ac:cxnSpMkLst>
        </pc:cxnChg>
        <pc:cxnChg chg="del mod ord">
          <ac:chgData name="Oğuz Öztekin" userId="33c0df0f-d5fe-4bda-8f43-141ad7af67e3" providerId="ADAL" clId="{48B824AD-1B2A-47A8-8D92-6FE6E622A650}" dt="2024-12-16T18:39:37.788" v="204000"/>
          <ac:cxnSpMkLst>
            <pc:docMk/>
            <pc:sldMk cId="1765966936" sldId="297"/>
            <ac:cxnSpMk id="367" creationId="{A39A57E4-6F77-FF59-D685-870B8E2DF6FD}"/>
          </ac:cxnSpMkLst>
        </pc:cxnChg>
        <pc:cxnChg chg="del mod ord">
          <ac:chgData name="Oğuz Öztekin" userId="33c0df0f-d5fe-4bda-8f43-141ad7af67e3" providerId="ADAL" clId="{48B824AD-1B2A-47A8-8D92-6FE6E622A650}" dt="2024-12-16T18:39:37.791" v="204003"/>
          <ac:cxnSpMkLst>
            <pc:docMk/>
            <pc:sldMk cId="1765966936" sldId="297"/>
            <ac:cxnSpMk id="368" creationId="{64E00152-66D4-1F4F-F162-5A70059FE141}"/>
          </ac:cxnSpMkLst>
        </pc:cxnChg>
        <pc:cxnChg chg="del mod ord">
          <ac:chgData name="Oğuz Öztekin" userId="33c0df0f-d5fe-4bda-8f43-141ad7af67e3" providerId="ADAL" clId="{48B824AD-1B2A-47A8-8D92-6FE6E622A650}" dt="2024-12-16T18:39:37.791" v="204006"/>
          <ac:cxnSpMkLst>
            <pc:docMk/>
            <pc:sldMk cId="1765966936" sldId="297"/>
            <ac:cxnSpMk id="369" creationId="{69EF3E63-9D47-66F3-6278-FDCF87BE02C7}"/>
          </ac:cxnSpMkLst>
        </pc:cxnChg>
        <pc:cxnChg chg="del mod ord">
          <ac:chgData name="Oğuz Öztekin" userId="33c0df0f-d5fe-4bda-8f43-141ad7af67e3" providerId="ADAL" clId="{48B824AD-1B2A-47A8-8D92-6FE6E622A650}" dt="2024-12-16T18:39:37.794" v="204012"/>
          <ac:cxnSpMkLst>
            <pc:docMk/>
            <pc:sldMk cId="1765966936" sldId="297"/>
            <ac:cxnSpMk id="370" creationId="{79C43FCC-EEEA-6DEC-7E3A-1CE11E0573A5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18:43:55.255" v="211342"/>
        <pc:sldMkLst>
          <pc:docMk/>
          <pc:sldMk cId="2587603194" sldId="298"/>
        </pc:sldMkLst>
        <pc:spChg chg="mod ord">
          <ac:chgData name="Oğuz Öztekin" userId="33c0df0f-d5fe-4bda-8f43-141ad7af67e3" providerId="ADAL" clId="{48B824AD-1B2A-47A8-8D92-6FE6E622A650}" dt="2024-12-16T18:43:55.253" v="211330"/>
          <ac:spMkLst>
            <pc:docMk/>
            <pc:sldMk cId="2587603194" sldId="298"/>
            <ac:spMk id="2" creationId="{0BF1D637-2ABB-0040-03DF-4E4182CD938C}"/>
          </ac:spMkLst>
        </pc:spChg>
        <pc:spChg chg="add del mod modVis">
          <ac:chgData name="Oğuz Öztekin" userId="33c0df0f-d5fe-4bda-8f43-141ad7af67e3" providerId="ADAL" clId="{48B824AD-1B2A-47A8-8D92-6FE6E622A650}" dt="2024-12-16T18:42:27.122" v="206537"/>
          <ac:spMkLst>
            <pc:docMk/>
            <pc:sldMk cId="2587603194" sldId="298"/>
            <ac:spMk id="4" creationId="{B977FF60-F17E-BC15-E923-19C6115EE929}"/>
          </ac:spMkLst>
        </pc:spChg>
        <pc:spChg chg="add del mod modVis">
          <ac:chgData name="Oğuz Öztekin" userId="33c0df0f-d5fe-4bda-8f43-141ad7af67e3" providerId="ADAL" clId="{48B824AD-1B2A-47A8-8D92-6FE6E622A650}" dt="2024-12-16T18:42:30.240" v="206575"/>
          <ac:spMkLst>
            <pc:docMk/>
            <pc:sldMk cId="2587603194" sldId="298"/>
            <ac:spMk id="5" creationId="{95D325B3-2598-6888-F87F-5733EB333015}"/>
          </ac:spMkLst>
        </pc:spChg>
        <pc:spChg chg="add del mod modVis">
          <ac:chgData name="Oğuz Öztekin" userId="33c0df0f-d5fe-4bda-8f43-141ad7af67e3" providerId="ADAL" clId="{48B824AD-1B2A-47A8-8D92-6FE6E622A650}" dt="2024-12-16T18:42:37.138" v="206711"/>
          <ac:spMkLst>
            <pc:docMk/>
            <pc:sldMk cId="2587603194" sldId="298"/>
            <ac:spMk id="6" creationId="{83D8BE4A-1E6A-5D68-2E89-16B1ED6DEDEE}"/>
          </ac:spMkLst>
        </pc:spChg>
        <pc:spChg chg="add del mod modVis">
          <ac:chgData name="Oğuz Öztekin" userId="33c0df0f-d5fe-4bda-8f43-141ad7af67e3" providerId="ADAL" clId="{48B824AD-1B2A-47A8-8D92-6FE6E622A650}" dt="2024-12-16T18:42:50.028" v="206772"/>
          <ac:spMkLst>
            <pc:docMk/>
            <pc:sldMk cId="2587603194" sldId="298"/>
            <ac:spMk id="8" creationId="{028B1429-946D-2187-65D4-194857BE0600}"/>
          </ac:spMkLst>
        </pc:spChg>
        <pc:spChg chg="add del mod modVis">
          <ac:chgData name="Oğuz Öztekin" userId="33c0df0f-d5fe-4bda-8f43-141ad7af67e3" providerId="ADAL" clId="{48B824AD-1B2A-47A8-8D92-6FE6E622A650}" dt="2024-12-16T18:42:54.688" v="206833"/>
          <ac:spMkLst>
            <pc:docMk/>
            <pc:sldMk cId="2587603194" sldId="298"/>
            <ac:spMk id="10" creationId="{D5B81234-A8C5-FDB0-A926-BEF27EAA90E2}"/>
          </ac:spMkLst>
        </pc:spChg>
        <pc:spChg chg="add del mod modVis">
          <ac:chgData name="Oğuz Öztekin" userId="33c0df0f-d5fe-4bda-8f43-141ad7af67e3" providerId="ADAL" clId="{48B824AD-1B2A-47A8-8D92-6FE6E622A650}" dt="2024-12-16T18:43:02.242" v="206902"/>
          <ac:spMkLst>
            <pc:docMk/>
            <pc:sldMk cId="2587603194" sldId="298"/>
            <ac:spMk id="12" creationId="{F2535CD6-0D61-B7A7-1391-1F431BACBE29}"/>
          </ac:spMkLst>
        </pc:spChg>
        <pc:spChg chg="add del mod modVis">
          <ac:chgData name="Oğuz Öztekin" userId="33c0df0f-d5fe-4bda-8f43-141ad7af67e3" providerId="ADAL" clId="{48B824AD-1B2A-47A8-8D92-6FE6E622A650}" dt="2024-12-16T18:43:08.385" v="206963"/>
          <ac:spMkLst>
            <pc:docMk/>
            <pc:sldMk cId="2587603194" sldId="298"/>
            <ac:spMk id="14" creationId="{03BC6353-F5FF-A881-22BA-29BCF78A01A1}"/>
          </ac:spMkLst>
        </pc:spChg>
        <pc:spChg chg="add del mod modVis">
          <ac:chgData name="Oğuz Öztekin" userId="33c0df0f-d5fe-4bda-8f43-141ad7af67e3" providerId="ADAL" clId="{48B824AD-1B2A-47A8-8D92-6FE6E622A650}" dt="2024-12-16T18:43:15.142" v="207024"/>
          <ac:spMkLst>
            <pc:docMk/>
            <pc:sldMk cId="2587603194" sldId="298"/>
            <ac:spMk id="16" creationId="{EC848C49-27FA-F0E6-2F6E-35C50240A83F}"/>
          </ac:spMkLst>
        </pc:spChg>
        <pc:spChg chg="add del mod modVis">
          <ac:chgData name="Oğuz Öztekin" userId="33c0df0f-d5fe-4bda-8f43-141ad7af67e3" providerId="ADAL" clId="{48B824AD-1B2A-47A8-8D92-6FE6E622A650}" dt="2024-12-16T18:43:21.708" v="208321"/>
          <ac:spMkLst>
            <pc:docMk/>
            <pc:sldMk cId="2587603194" sldId="298"/>
            <ac:spMk id="18" creationId="{FCD3C47E-756C-37BA-A68F-15CE0BF090E5}"/>
          </ac:spMkLst>
        </pc:spChg>
        <pc:spChg chg="add del mod">
          <ac:chgData name="Oğuz Öztekin" userId="33c0df0f-d5fe-4bda-8f43-141ad7af67e3" providerId="ADAL" clId="{48B824AD-1B2A-47A8-8D92-6FE6E622A650}" dt="2024-12-16T18:43:22.995" v="208394"/>
          <ac:spMkLst>
            <pc:docMk/>
            <pc:sldMk cId="2587603194" sldId="298"/>
            <ac:spMk id="19" creationId="{91641A76-7CDB-DAAB-95B5-D75E351CA796}"/>
          </ac:spMkLst>
        </pc:spChg>
        <pc:spChg chg="mod">
          <ac:chgData name="Oğuz Öztekin" userId="33c0df0f-d5fe-4bda-8f43-141ad7af67e3" providerId="ADAL" clId="{48B824AD-1B2A-47A8-8D92-6FE6E622A650}" dt="2024-12-16T18:43:55.254" v="211336"/>
          <ac:spMkLst>
            <pc:docMk/>
            <pc:sldMk cId="2587603194" sldId="298"/>
            <ac:spMk id="20" creationId="{79B77DBC-9674-3DAA-50D6-276332B2DF3B}"/>
          </ac:spMkLst>
        </pc:spChg>
        <pc:spChg chg="add del mod">
          <ac:chgData name="Oğuz Öztekin" userId="33c0df0f-d5fe-4bda-8f43-141ad7af67e3" providerId="ADAL" clId="{48B824AD-1B2A-47A8-8D92-6FE6E622A650}" dt="2024-12-16T18:43:22.998" v="208395"/>
          <ac:spMkLst>
            <pc:docMk/>
            <pc:sldMk cId="2587603194" sldId="298"/>
            <ac:spMk id="21" creationId="{AEA56DFF-0F03-2B48-A773-433FAD97FBA5}"/>
          </ac:spMkLst>
        </pc:spChg>
        <pc:spChg chg="add del mod">
          <ac:chgData name="Oğuz Öztekin" userId="33c0df0f-d5fe-4bda-8f43-141ad7af67e3" providerId="ADAL" clId="{48B824AD-1B2A-47A8-8D92-6FE6E622A650}" dt="2024-12-16T18:43:22.999" v="208396"/>
          <ac:spMkLst>
            <pc:docMk/>
            <pc:sldMk cId="2587603194" sldId="298"/>
            <ac:spMk id="22" creationId="{5796A6F5-728F-EB69-146B-02B032CC0EF6}"/>
          </ac:spMkLst>
        </pc:spChg>
        <pc:spChg chg="add del mod">
          <ac:chgData name="Oğuz Öztekin" userId="33c0df0f-d5fe-4bda-8f43-141ad7af67e3" providerId="ADAL" clId="{48B824AD-1B2A-47A8-8D92-6FE6E622A650}" dt="2024-12-16T18:43:22.999" v="208397"/>
          <ac:spMkLst>
            <pc:docMk/>
            <pc:sldMk cId="2587603194" sldId="298"/>
            <ac:spMk id="23" creationId="{9ECB2DB5-FDE1-CDD3-5BCF-1E27237D6F8B}"/>
          </ac:spMkLst>
        </pc:spChg>
        <pc:spChg chg="add del mod">
          <ac:chgData name="Oğuz Öztekin" userId="33c0df0f-d5fe-4bda-8f43-141ad7af67e3" providerId="ADAL" clId="{48B824AD-1B2A-47A8-8D92-6FE6E622A650}" dt="2024-12-16T18:43:23" v="208398"/>
          <ac:spMkLst>
            <pc:docMk/>
            <pc:sldMk cId="2587603194" sldId="298"/>
            <ac:spMk id="24" creationId="{0267806C-1A46-5109-4257-8677703BD990}"/>
          </ac:spMkLst>
        </pc:spChg>
        <pc:spChg chg="add del mod">
          <ac:chgData name="Oğuz Öztekin" userId="33c0df0f-d5fe-4bda-8f43-141ad7af67e3" providerId="ADAL" clId="{48B824AD-1B2A-47A8-8D92-6FE6E622A650}" dt="2024-12-16T18:43:23.001" v="208399"/>
          <ac:spMkLst>
            <pc:docMk/>
            <pc:sldMk cId="2587603194" sldId="298"/>
            <ac:spMk id="25" creationId="{9A8E1593-EB0D-DF8B-FA19-7DB0F40B674C}"/>
          </ac:spMkLst>
        </pc:spChg>
        <pc:spChg chg="add del mod">
          <ac:chgData name="Oğuz Öztekin" userId="33c0df0f-d5fe-4bda-8f43-141ad7af67e3" providerId="ADAL" clId="{48B824AD-1B2A-47A8-8D92-6FE6E622A650}" dt="2024-12-16T18:43:23.001" v="208400"/>
          <ac:spMkLst>
            <pc:docMk/>
            <pc:sldMk cId="2587603194" sldId="298"/>
            <ac:spMk id="26" creationId="{7E65D02E-9135-AD19-B74B-C85B1C2B7342}"/>
          </ac:spMkLst>
        </pc:spChg>
        <pc:spChg chg="add del mod">
          <ac:chgData name="Oğuz Öztekin" userId="33c0df0f-d5fe-4bda-8f43-141ad7af67e3" providerId="ADAL" clId="{48B824AD-1B2A-47A8-8D92-6FE6E622A650}" dt="2024-12-16T18:43:23.002" v="208401"/>
          <ac:spMkLst>
            <pc:docMk/>
            <pc:sldMk cId="2587603194" sldId="298"/>
            <ac:spMk id="27" creationId="{62A847EC-53AA-4127-1A19-CAD188EC55B5}"/>
          </ac:spMkLst>
        </pc:spChg>
        <pc:spChg chg="add del mod">
          <ac:chgData name="Oğuz Öztekin" userId="33c0df0f-d5fe-4bda-8f43-141ad7af67e3" providerId="ADAL" clId="{48B824AD-1B2A-47A8-8D92-6FE6E622A650}" dt="2024-12-16T18:43:23.002" v="208402"/>
          <ac:spMkLst>
            <pc:docMk/>
            <pc:sldMk cId="2587603194" sldId="298"/>
            <ac:spMk id="28" creationId="{9F4828DB-EDA0-969E-207C-665535C0B8D8}"/>
          </ac:spMkLst>
        </pc:spChg>
        <pc:spChg chg="mod">
          <ac:chgData name="Oğuz Öztekin" userId="33c0df0f-d5fe-4bda-8f43-141ad7af67e3" providerId="ADAL" clId="{48B824AD-1B2A-47A8-8D92-6FE6E622A650}" dt="2024-12-16T18:43:55.254" v="211337"/>
          <ac:spMkLst>
            <pc:docMk/>
            <pc:sldMk cId="2587603194" sldId="298"/>
            <ac:spMk id="29" creationId="{2CB2AE1D-8B61-CF8F-A42E-E55025CAB5E7}"/>
          </ac:spMkLst>
        </pc:spChg>
        <pc:spChg chg="add del mod">
          <ac:chgData name="Oğuz Öztekin" userId="33c0df0f-d5fe-4bda-8f43-141ad7af67e3" providerId="ADAL" clId="{48B824AD-1B2A-47A8-8D92-6FE6E622A650}" dt="2024-12-16T18:43:23.004" v="208403"/>
          <ac:spMkLst>
            <pc:docMk/>
            <pc:sldMk cId="2587603194" sldId="298"/>
            <ac:spMk id="30" creationId="{FCED27A7-4F01-9091-3C65-4EA8F5391A7A}"/>
          </ac:spMkLst>
        </pc:spChg>
        <pc:spChg chg="add del mod">
          <ac:chgData name="Oğuz Öztekin" userId="33c0df0f-d5fe-4bda-8f43-141ad7af67e3" providerId="ADAL" clId="{48B824AD-1B2A-47A8-8D92-6FE6E622A650}" dt="2024-12-16T18:43:23.004" v="208404"/>
          <ac:spMkLst>
            <pc:docMk/>
            <pc:sldMk cId="2587603194" sldId="298"/>
            <ac:spMk id="31" creationId="{703286D9-62D3-B643-6158-669009297E53}"/>
          </ac:spMkLst>
        </pc:spChg>
        <pc:spChg chg="add del mod">
          <ac:chgData name="Oğuz Öztekin" userId="33c0df0f-d5fe-4bda-8f43-141ad7af67e3" providerId="ADAL" clId="{48B824AD-1B2A-47A8-8D92-6FE6E622A650}" dt="2024-12-16T18:43:23.005" v="208405"/>
          <ac:spMkLst>
            <pc:docMk/>
            <pc:sldMk cId="2587603194" sldId="298"/>
            <ac:spMk id="64" creationId="{649CF792-AE38-9649-BF01-8D2B5A2F3CA0}"/>
          </ac:spMkLst>
        </pc:spChg>
        <pc:spChg chg="add del mod">
          <ac:chgData name="Oğuz Öztekin" userId="33c0df0f-d5fe-4bda-8f43-141ad7af67e3" providerId="ADAL" clId="{48B824AD-1B2A-47A8-8D92-6FE6E622A650}" dt="2024-12-16T18:43:23.006" v="208406"/>
          <ac:spMkLst>
            <pc:docMk/>
            <pc:sldMk cId="2587603194" sldId="298"/>
            <ac:spMk id="65" creationId="{BF5881EB-9D5A-0FCC-EF7B-DA2082657168}"/>
          </ac:spMkLst>
        </pc:spChg>
        <pc:spChg chg="add del mod">
          <ac:chgData name="Oğuz Öztekin" userId="33c0df0f-d5fe-4bda-8f43-141ad7af67e3" providerId="ADAL" clId="{48B824AD-1B2A-47A8-8D92-6FE6E622A650}" dt="2024-12-16T18:43:23.007" v="208407"/>
          <ac:spMkLst>
            <pc:docMk/>
            <pc:sldMk cId="2587603194" sldId="298"/>
            <ac:spMk id="66" creationId="{0E636312-1D3D-B378-2C58-C85108919061}"/>
          </ac:spMkLst>
        </pc:spChg>
        <pc:spChg chg="add del mod">
          <ac:chgData name="Oğuz Öztekin" userId="33c0df0f-d5fe-4bda-8f43-141ad7af67e3" providerId="ADAL" clId="{48B824AD-1B2A-47A8-8D92-6FE6E622A650}" dt="2024-12-16T18:43:23.008" v="208408"/>
          <ac:spMkLst>
            <pc:docMk/>
            <pc:sldMk cId="2587603194" sldId="298"/>
            <ac:spMk id="67" creationId="{8EF58B79-3D30-2E25-AF24-39DFD3A1BA46}"/>
          </ac:spMkLst>
        </pc:spChg>
        <pc:spChg chg="add del mod">
          <ac:chgData name="Oğuz Öztekin" userId="33c0df0f-d5fe-4bda-8f43-141ad7af67e3" providerId="ADAL" clId="{48B824AD-1B2A-47A8-8D92-6FE6E622A650}" dt="2024-12-16T18:43:23.009" v="208409"/>
          <ac:spMkLst>
            <pc:docMk/>
            <pc:sldMk cId="2587603194" sldId="298"/>
            <ac:spMk id="68" creationId="{382B25A4-5825-8932-4C02-A56D75C71F1F}"/>
          </ac:spMkLst>
        </pc:spChg>
        <pc:spChg chg="add del mod">
          <ac:chgData name="Oğuz Öztekin" userId="33c0df0f-d5fe-4bda-8f43-141ad7af67e3" providerId="ADAL" clId="{48B824AD-1B2A-47A8-8D92-6FE6E622A650}" dt="2024-12-16T18:43:23.010" v="208410"/>
          <ac:spMkLst>
            <pc:docMk/>
            <pc:sldMk cId="2587603194" sldId="298"/>
            <ac:spMk id="69" creationId="{4B7306E4-D1C2-2D95-1989-BAEA4CF8030D}"/>
          </ac:spMkLst>
        </pc:spChg>
        <pc:spChg chg="add del mod">
          <ac:chgData name="Oğuz Öztekin" userId="33c0df0f-d5fe-4bda-8f43-141ad7af67e3" providerId="ADAL" clId="{48B824AD-1B2A-47A8-8D92-6FE6E622A650}" dt="2024-12-16T18:43:23.011" v="208411"/>
          <ac:spMkLst>
            <pc:docMk/>
            <pc:sldMk cId="2587603194" sldId="298"/>
            <ac:spMk id="71" creationId="{874D235F-4B83-9418-E5D2-38F25384246F}"/>
          </ac:spMkLst>
        </pc:spChg>
        <pc:spChg chg="add del mod">
          <ac:chgData name="Oğuz Öztekin" userId="33c0df0f-d5fe-4bda-8f43-141ad7af67e3" providerId="ADAL" clId="{48B824AD-1B2A-47A8-8D92-6FE6E622A650}" dt="2024-12-16T18:43:23.013" v="208412"/>
          <ac:spMkLst>
            <pc:docMk/>
            <pc:sldMk cId="2587603194" sldId="298"/>
            <ac:spMk id="72" creationId="{D8FAFDB4-2E77-1F5B-DE41-54A63256E8F3}"/>
          </ac:spMkLst>
        </pc:spChg>
        <pc:spChg chg="add del mod">
          <ac:chgData name="Oğuz Öztekin" userId="33c0df0f-d5fe-4bda-8f43-141ad7af67e3" providerId="ADAL" clId="{48B824AD-1B2A-47A8-8D92-6FE6E622A650}" dt="2024-12-16T18:43:23.013" v="208413"/>
          <ac:spMkLst>
            <pc:docMk/>
            <pc:sldMk cId="2587603194" sldId="298"/>
            <ac:spMk id="73" creationId="{2BAFE7FE-1CE8-D8A4-4856-48A613E3E405}"/>
          </ac:spMkLst>
        </pc:spChg>
        <pc:spChg chg="add del mod">
          <ac:chgData name="Oğuz Öztekin" userId="33c0df0f-d5fe-4bda-8f43-141ad7af67e3" providerId="ADAL" clId="{48B824AD-1B2A-47A8-8D92-6FE6E622A650}" dt="2024-12-16T18:43:23.015" v="208414"/>
          <ac:spMkLst>
            <pc:docMk/>
            <pc:sldMk cId="2587603194" sldId="298"/>
            <ac:spMk id="74" creationId="{BF4DA396-2574-BC0B-54EC-67A3A0BDB812}"/>
          </ac:spMkLst>
        </pc:spChg>
        <pc:spChg chg="add del mod">
          <ac:chgData name="Oğuz Öztekin" userId="33c0df0f-d5fe-4bda-8f43-141ad7af67e3" providerId="ADAL" clId="{48B824AD-1B2A-47A8-8D92-6FE6E622A650}" dt="2024-12-16T18:43:23.016" v="208415"/>
          <ac:spMkLst>
            <pc:docMk/>
            <pc:sldMk cId="2587603194" sldId="298"/>
            <ac:spMk id="75" creationId="{20699CE5-9120-C709-7D66-9BA5BEB33089}"/>
          </ac:spMkLst>
        </pc:spChg>
        <pc:spChg chg="add del mod">
          <ac:chgData name="Oğuz Öztekin" userId="33c0df0f-d5fe-4bda-8f43-141ad7af67e3" providerId="ADAL" clId="{48B824AD-1B2A-47A8-8D92-6FE6E622A650}" dt="2024-12-16T18:43:23.017" v="208416"/>
          <ac:spMkLst>
            <pc:docMk/>
            <pc:sldMk cId="2587603194" sldId="298"/>
            <ac:spMk id="76" creationId="{3576795C-FD0D-9B17-CD58-360EBFD09F38}"/>
          </ac:spMkLst>
        </pc:spChg>
        <pc:spChg chg="add del mod">
          <ac:chgData name="Oğuz Öztekin" userId="33c0df0f-d5fe-4bda-8f43-141ad7af67e3" providerId="ADAL" clId="{48B824AD-1B2A-47A8-8D92-6FE6E622A650}" dt="2024-12-16T18:43:23.019" v="208417"/>
          <ac:spMkLst>
            <pc:docMk/>
            <pc:sldMk cId="2587603194" sldId="298"/>
            <ac:spMk id="77" creationId="{B0F40E48-AA64-01F6-2401-0165022D49BC}"/>
          </ac:spMkLst>
        </pc:spChg>
        <pc:spChg chg="add del mod">
          <ac:chgData name="Oğuz Öztekin" userId="33c0df0f-d5fe-4bda-8f43-141ad7af67e3" providerId="ADAL" clId="{48B824AD-1B2A-47A8-8D92-6FE6E622A650}" dt="2024-12-16T18:43:23.020" v="208418"/>
          <ac:spMkLst>
            <pc:docMk/>
            <pc:sldMk cId="2587603194" sldId="298"/>
            <ac:spMk id="78" creationId="{865CB4AD-27CC-2976-C1E4-764204061E87}"/>
          </ac:spMkLst>
        </pc:spChg>
        <pc:spChg chg="add del mod">
          <ac:chgData name="Oğuz Öztekin" userId="33c0df0f-d5fe-4bda-8f43-141ad7af67e3" providerId="ADAL" clId="{48B824AD-1B2A-47A8-8D92-6FE6E622A650}" dt="2024-12-16T18:43:23.021" v="208419"/>
          <ac:spMkLst>
            <pc:docMk/>
            <pc:sldMk cId="2587603194" sldId="298"/>
            <ac:spMk id="79" creationId="{6E646E52-A3B6-28DB-2AA9-4E4F4577C12F}"/>
          </ac:spMkLst>
        </pc:spChg>
        <pc:spChg chg="add del mod modVis">
          <ac:chgData name="Oğuz Öztekin" userId="33c0df0f-d5fe-4bda-8f43-141ad7af67e3" providerId="ADAL" clId="{48B824AD-1B2A-47A8-8D92-6FE6E622A650}" dt="2024-12-16T18:43:23.055" v="208434"/>
          <ac:spMkLst>
            <pc:docMk/>
            <pc:sldMk cId="2587603194" sldId="298"/>
            <ac:spMk id="81" creationId="{AB7BC669-55C0-974D-4311-CF2F208690EE}"/>
          </ac:spMkLst>
        </pc:spChg>
        <pc:spChg chg="add del mod modVis">
          <ac:chgData name="Oğuz Öztekin" userId="33c0df0f-d5fe-4bda-8f43-141ad7af67e3" providerId="ADAL" clId="{48B824AD-1B2A-47A8-8D92-6FE6E622A650}" dt="2024-12-16T18:43:28.142" v="208600"/>
          <ac:spMkLst>
            <pc:docMk/>
            <pc:sldMk cId="2587603194" sldId="298"/>
            <ac:spMk id="83" creationId="{14FF05AA-CAE7-2BFC-6AFA-8E5D2EFB896D}"/>
          </ac:spMkLst>
        </pc:spChg>
        <pc:spChg chg="add mod">
          <ac:chgData name="Oğuz Öztekin" userId="33c0df0f-d5fe-4bda-8f43-141ad7af67e3" providerId="ADAL" clId="{48B824AD-1B2A-47A8-8D92-6FE6E622A650}" dt="2024-12-16T18:43:55.254" v="211338"/>
          <ac:spMkLst>
            <pc:docMk/>
            <pc:sldMk cId="2587603194" sldId="298"/>
            <ac:spMk id="84" creationId="{45806A5C-F324-1FD1-1938-FD3A11B02E22}"/>
          </ac:spMkLst>
        </pc:spChg>
        <pc:spChg chg="add mod">
          <ac:chgData name="Oğuz Öztekin" userId="33c0df0f-d5fe-4bda-8f43-141ad7af67e3" providerId="ADAL" clId="{48B824AD-1B2A-47A8-8D92-6FE6E622A650}" dt="2024-12-16T18:43:55.253" v="211333"/>
          <ac:spMkLst>
            <pc:docMk/>
            <pc:sldMk cId="2587603194" sldId="298"/>
            <ac:spMk id="85" creationId="{901F747F-15ED-DC45-6D3E-CFAE97CF05D0}"/>
          </ac:spMkLst>
        </pc:spChg>
        <pc:spChg chg="add del mod modVis">
          <ac:chgData name="Oğuz Öztekin" userId="33c0df0f-d5fe-4bda-8f43-141ad7af67e3" providerId="ADAL" clId="{48B824AD-1B2A-47A8-8D92-6FE6E622A650}" dt="2024-12-16T18:43:31.548" v="208676"/>
          <ac:spMkLst>
            <pc:docMk/>
            <pc:sldMk cId="2587603194" sldId="298"/>
            <ac:spMk id="88" creationId="{B2B535DF-2A52-EA5E-E5A6-D7DF62EBDA41}"/>
          </ac:spMkLst>
        </pc:spChg>
        <pc:spChg chg="add del mod modVis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0" creationId="{AE89CEE7-91B7-BD9B-8FD4-BFCCE355FE8D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1" creationId="{261FB84A-5E2B-CD1C-8A9D-BFEC3E478561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2" creationId="{E58E998C-74F8-1AB8-47E1-497F281B186F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3" creationId="{CBF80EF1-D8F0-C049-C6C2-E201025ECCA1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4" creationId="{CAAEC158-BAFF-9956-D039-AFA90C4846A5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5" creationId="{0B3F58F2-F003-16F4-2DE3-59E48CF96A94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6" creationId="{57B25766-E354-AB23-E139-8C31724218A3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7" creationId="{F53F47DF-5736-7D0D-7E68-77CC8A119EEF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8" creationId="{FDD680AF-1237-4A07-C325-01E4C580AA82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99" creationId="{AEE87DC1-CE8F-5B47-12AB-8439D571C033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0" creationId="{B724EE37-4CCC-33E4-61D2-893123A63D9F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1" creationId="{9176C5CC-C239-08EE-A905-99AFB858CA0A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2" creationId="{A4877876-C7E4-CC0B-2819-FCEA77B3EFFD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3" creationId="{9373E5BE-15A7-228A-767A-5B2129AA02B6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4" creationId="{79E7648D-2C4F-E141-9488-1ACEB5C62431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5" creationId="{D0AB3156-7BB9-979D-0824-F47BB364257A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6" creationId="{0F93C484-5C89-CE38-7522-6C4D056462B7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7" creationId="{5E8A14AF-5448-D9DF-C6A5-A37EAEC8796A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8" creationId="{9F0AB6F4-F76B-859F-27D2-CF308DF079C9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09" creationId="{C4EB478A-D68B-ED8F-33FB-7C9B30DBDE56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10" creationId="{92601BB8-29FA-1FFA-68DA-7F420C635F8F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11" creationId="{C2ABA3D6-5077-ABB6-99C9-171BCF45EB72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12" creationId="{CE170D45-BE4C-A0AE-3ED4-E2559A3EFB8B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13" creationId="{68CDFAC3-3F44-A7B8-98D5-F2F7B2B64616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14" creationId="{21911249-ECC9-95FA-3AE9-F99AF75A9BE4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15" creationId="{5D9D22C5-558D-0D9F-E11C-8BE7E0BCF0AC}"/>
          </ac:spMkLst>
        </pc:spChg>
        <pc:spChg chg="add mod">
          <ac:chgData name="Oğuz Öztekin" userId="33c0df0f-d5fe-4bda-8f43-141ad7af67e3" providerId="ADAL" clId="{48B824AD-1B2A-47A8-8D92-6FE6E622A650}" dt="2024-12-16T18:43:45.153" v="210984"/>
          <ac:spMkLst>
            <pc:docMk/>
            <pc:sldMk cId="2587603194" sldId="298"/>
            <ac:spMk id="116" creationId="{23A35AE3-108C-AFC6-C170-36DBA154D0D6}"/>
          </ac:spMkLst>
        </pc:spChg>
        <pc:spChg chg="add del mod modVis">
          <ac:chgData name="Oğuz Öztekin" userId="33c0df0f-d5fe-4bda-8f43-141ad7af67e3" providerId="ADAL" clId="{48B824AD-1B2A-47A8-8D92-6FE6E622A650}" dt="2024-12-16T18:43:43.577" v="210251"/>
          <ac:spMkLst>
            <pc:docMk/>
            <pc:sldMk cId="2587603194" sldId="298"/>
            <ac:spMk id="118" creationId="{E26A58BE-C504-06B5-D6DB-013F731970DE}"/>
          </ac:spMkLst>
        </pc:spChg>
        <pc:spChg chg="add del mod modVis">
          <ac:chgData name="Oğuz Öztekin" userId="33c0df0f-d5fe-4bda-8f43-141ad7af67e3" providerId="ADAL" clId="{48B824AD-1B2A-47A8-8D92-6FE6E622A650}" dt="2024-12-16T18:43:48.318" v="211151"/>
          <ac:spMkLst>
            <pc:docMk/>
            <pc:sldMk cId="2587603194" sldId="298"/>
            <ac:spMk id="120" creationId="{FAC034F9-0FA8-1422-293E-4C59830A8964}"/>
          </ac:spMkLst>
        </pc:spChg>
        <pc:spChg chg="add del mod modVis">
          <ac:chgData name="Oğuz Öztekin" userId="33c0df0f-d5fe-4bda-8f43-141ad7af67e3" providerId="ADAL" clId="{48B824AD-1B2A-47A8-8D92-6FE6E622A650}" dt="2024-12-16T18:43:48.921" v="211240"/>
          <ac:spMkLst>
            <pc:docMk/>
            <pc:sldMk cId="2587603194" sldId="298"/>
            <ac:spMk id="122" creationId="{609850DB-28A2-50E9-4314-63635234C1A9}"/>
          </ac:spMkLst>
        </pc:spChg>
        <pc:spChg chg="add del mod modVis">
          <ac:chgData name="Oğuz Öztekin" userId="33c0df0f-d5fe-4bda-8f43-141ad7af67e3" providerId="ADAL" clId="{48B824AD-1B2A-47A8-8D92-6FE6E622A650}" dt="2024-12-16T18:43:55.255" v="211340"/>
          <ac:spMkLst>
            <pc:docMk/>
            <pc:sldMk cId="2587603194" sldId="298"/>
            <ac:spMk id="124" creationId="{6B895EFC-118C-2BD8-6430-17303B19AE73}"/>
          </ac:spMkLst>
        </pc:spChg>
        <pc:graphicFrameChg chg="mod">
          <ac:chgData name="Oğuz Öztekin" userId="33c0df0f-d5fe-4bda-8f43-141ad7af67e3" providerId="ADAL" clId="{48B824AD-1B2A-47A8-8D92-6FE6E622A650}" dt="2024-12-16T18:43:55.255" v="211342"/>
          <ac:graphicFrameMkLst>
            <pc:docMk/>
            <pc:sldMk cId="2587603194" sldId="298"/>
            <ac:graphicFrameMk id="3" creationId="{5D152C22-FAB8-BF64-EC79-37920DE203C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2:50.011" v="206759"/>
          <ac:graphicFrameMkLst>
            <pc:docMk/>
            <pc:sldMk cId="2587603194" sldId="298"/>
            <ac:graphicFrameMk id="7" creationId="{99885E74-0F78-44A3-E365-80557540B28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2:54.667" v="206820"/>
          <ac:graphicFrameMkLst>
            <pc:docMk/>
            <pc:sldMk cId="2587603194" sldId="298"/>
            <ac:graphicFrameMk id="9" creationId="{48153A75-459E-1A4D-D7B4-86E7925FAE8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02.222" v="206889"/>
          <ac:graphicFrameMkLst>
            <pc:docMk/>
            <pc:sldMk cId="2587603194" sldId="298"/>
            <ac:graphicFrameMk id="11" creationId="{05D013E7-BD40-04A7-D95B-3B678428734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08.367" v="206950"/>
          <ac:graphicFrameMkLst>
            <pc:docMk/>
            <pc:sldMk cId="2587603194" sldId="298"/>
            <ac:graphicFrameMk id="13" creationId="{1AC450A8-9646-086F-57FD-0BF53505674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15.125" v="207011"/>
          <ac:graphicFrameMkLst>
            <pc:docMk/>
            <pc:sldMk cId="2587603194" sldId="298"/>
            <ac:graphicFrameMk id="15" creationId="{E11764D5-454C-7325-5125-694EC1D270C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21.677" v="208272"/>
          <ac:graphicFrameMkLst>
            <pc:docMk/>
            <pc:sldMk cId="2587603194" sldId="298"/>
            <ac:graphicFrameMk id="17" creationId="{00EA538E-E1C5-A6C7-F019-566648474E16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42:37.122" v="206698"/>
          <ac:graphicFrameMkLst>
            <pc:docMk/>
            <pc:sldMk cId="2587603194" sldId="298"/>
            <ac:graphicFrameMk id="70" creationId="{30E96F2B-AAF0-3C47-C421-1CA642AEDD7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23.027" v="208421"/>
          <ac:graphicFrameMkLst>
            <pc:docMk/>
            <pc:sldMk cId="2587603194" sldId="298"/>
            <ac:graphicFrameMk id="80" creationId="{0A3F7BB3-9183-5611-7EB3-DD2C2E75CAD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28.116" v="208569"/>
          <ac:graphicFrameMkLst>
            <pc:docMk/>
            <pc:sldMk cId="2587603194" sldId="298"/>
            <ac:graphicFrameMk id="82" creationId="{C1F56FD3-0890-A48A-26B4-1DCCE83DE41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31.529" v="208659"/>
          <ac:graphicFrameMkLst>
            <pc:docMk/>
            <pc:sldMk cId="2587603194" sldId="298"/>
            <ac:graphicFrameMk id="87" creationId="{E189169D-D48F-664B-4D6B-42EA47A7580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48.295" v="211124"/>
          <ac:graphicFrameMkLst>
            <pc:docMk/>
            <pc:sldMk cId="2587603194" sldId="298"/>
            <ac:graphicFrameMk id="89" creationId="{EC06F1C1-707A-41E7-AF47-B7CEBDEDADA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45.153" v="210984"/>
          <ac:graphicFrameMkLst>
            <pc:docMk/>
            <pc:sldMk cId="2587603194" sldId="298"/>
            <ac:graphicFrameMk id="117" creationId="{997869C2-823A-A7EB-8D78-A934B2B91677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43:43.577" v="210251"/>
          <ac:graphicFrameMkLst>
            <pc:docMk/>
            <pc:sldMk cId="2587603194" sldId="298"/>
            <ac:graphicFrameMk id="119" creationId="{6C0BA382-5707-5CCD-1138-A18EEE3A037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48.897" v="211209"/>
          <ac:graphicFrameMkLst>
            <pc:docMk/>
            <pc:sldMk cId="2587603194" sldId="298"/>
            <ac:graphicFrameMk id="121" creationId="{7C0A2DD4-036B-14E1-A68C-0DB2BFC6546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43:55.229" v="211309"/>
          <ac:graphicFrameMkLst>
            <pc:docMk/>
            <pc:sldMk cId="2587603194" sldId="298"/>
            <ac:graphicFrameMk id="123" creationId="{C746BE39-5356-83FB-9C66-E1ABC7199ABC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43:55.253" v="211332"/>
          <ac:graphicFrameMkLst>
            <pc:docMk/>
            <pc:sldMk cId="2587603194" sldId="298"/>
            <ac:graphicFrameMk id="125" creationId="{8C66D6D9-5143-2E7F-FBFA-EB559DD4E6C6}"/>
          </ac:graphicFrameMkLst>
        </pc:graphicFrameChg>
        <pc:cxnChg chg="add mod ord">
          <ac:chgData name="Oğuz Öztekin" userId="33c0df0f-d5fe-4bda-8f43-141ad7af67e3" providerId="ADAL" clId="{48B824AD-1B2A-47A8-8D92-6FE6E622A650}" dt="2024-12-16T18:43:55.254" v="211335"/>
          <ac:cxnSpMkLst>
            <pc:docMk/>
            <pc:sldMk cId="2587603194" sldId="298"/>
            <ac:cxnSpMk id="86" creationId="{95BC2F51-5254-7BFC-1B28-55A208463C76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18:58:52.037" v="225591"/>
        <pc:sldMkLst>
          <pc:docMk/>
          <pc:sldMk cId="769219996" sldId="299"/>
        </pc:sldMkLst>
        <pc:spChg chg="mod ord">
          <ac:chgData name="Oğuz Öztekin" userId="33c0df0f-d5fe-4bda-8f43-141ad7af67e3" providerId="ADAL" clId="{48B824AD-1B2A-47A8-8D92-6FE6E622A650}" dt="2024-12-16T18:58:52.027" v="225551"/>
          <ac:spMkLst>
            <pc:docMk/>
            <pc:sldMk cId="769219996" sldId="299"/>
            <ac:spMk id="2" creationId="{F799E8DA-E5D4-E13F-BE12-797E60032E3D}"/>
          </ac:spMkLst>
        </pc:spChg>
        <pc:spChg chg="add del mod modVis">
          <ac:chgData name="Oğuz Öztekin" userId="33c0df0f-d5fe-4bda-8f43-141ad7af67e3" providerId="ADAL" clId="{48B824AD-1B2A-47A8-8D92-6FE6E622A650}" dt="2024-12-16T18:56:39.398" v="217903"/>
          <ac:spMkLst>
            <pc:docMk/>
            <pc:sldMk cId="769219996" sldId="299"/>
            <ac:spMk id="4" creationId="{39421011-7FEF-701F-9521-892476974BCE}"/>
          </ac:spMkLst>
        </pc:spChg>
        <pc:spChg chg="add del mod modVis">
          <ac:chgData name="Oğuz Öztekin" userId="33c0df0f-d5fe-4bda-8f43-141ad7af67e3" providerId="ADAL" clId="{48B824AD-1B2A-47A8-8D92-6FE6E622A650}" dt="2024-12-16T18:56:41.139" v="217936"/>
          <ac:spMkLst>
            <pc:docMk/>
            <pc:sldMk cId="769219996" sldId="299"/>
            <ac:spMk id="5" creationId="{FD1E6065-E413-428C-6898-F77EDEDCB45D}"/>
          </ac:spMkLst>
        </pc:spChg>
        <pc:spChg chg="add del mod modVis">
          <ac:chgData name="Oğuz Öztekin" userId="33c0df0f-d5fe-4bda-8f43-141ad7af67e3" providerId="ADAL" clId="{48B824AD-1B2A-47A8-8D92-6FE6E622A650}" dt="2024-12-16T18:56:55.328" v="218140"/>
          <ac:spMkLst>
            <pc:docMk/>
            <pc:sldMk cId="769219996" sldId="299"/>
            <ac:spMk id="6" creationId="{D3A1D8DE-AE16-FA73-297F-5C39533DA5AE}"/>
          </ac:spMkLst>
        </pc:spChg>
        <pc:spChg chg="add del mod">
          <ac:chgData name="Oğuz Öztekin" userId="33c0df0f-d5fe-4bda-8f43-141ad7af67e3" providerId="ADAL" clId="{48B824AD-1B2A-47A8-8D92-6FE6E622A650}" dt="2024-12-16T18:58:51.887" v="225259"/>
          <ac:spMkLst>
            <pc:docMk/>
            <pc:sldMk cId="769219996" sldId="299"/>
            <ac:spMk id="8" creationId="{5546BCFD-4A6C-149E-BF3A-00FCCA7842E4}"/>
          </ac:spMkLst>
        </pc:spChg>
        <pc:spChg chg="add del mod">
          <ac:chgData name="Oğuz Öztekin" userId="33c0df0f-d5fe-4bda-8f43-141ad7af67e3" providerId="ADAL" clId="{48B824AD-1B2A-47A8-8D92-6FE6E622A650}" dt="2024-12-16T18:58:51.889" v="225262"/>
          <ac:spMkLst>
            <pc:docMk/>
            <pc:sldMk cId="769219996" sldId="299"/>
            <ac:spMk id="9" creationId="{0C0EDE79-33F0-90C1-915C-868378BD6680}"/>
          </ac:spMkLst>
        </pc:spChg>
        <pc:spChg chg="add del mod">
          <ac:chgData name="Oğuz Öztekin" userId="33c0df0f-d5fe-4bda-8f43-141ad7af67e3" providerId="ADAL" clId="{48B824AD-1B2A-47A8-8D92-6FE6E622A650}" dt="2024-12-16T18:58:51.891" v="225267"/>
          <ac:spMkLst>
            <pc:docMk/>
            <pc:sldMk cId="769219996" sldId="299"/>
            <ac:spMk id="10" creationId="{5BBC602A-F432-8054-E0BF-D71196EA8F5F}"/>
          </ac:spMkLst>
        </pc:spChg>
        <pc:spChg chg="add del mod">
          <ac:chgData name="Oğuz Öztekin" userId="33c0df0f-d5fe-4bda-8f43-141ad7af67e3" providerId="ADAL" clId="{48B824AD-1B2A-47A8-8D92-6FE6E622A650}" dt="2024-12-16T18:58:51.892" v="225272"/>
          <ac:spMkLst>
            <pc:docMk/>
            <pc:sldMk cId="769219996" sldId="299"/>
            <ac:spMk id="11" creationId="{F2FCD00A-9B94-D014-4E6A-6EBDC46F7785}"/>
          </ac:spMkLst>
        </pc:spChg>
        <pc:spChg chg="add del mod">
          <ac:chgData name="Oğuz Öztekin" userId="33c0df0f-d5fe-4bda-8f43-141ad7af67e3" providerId="ADAL" clId="{48B824AD-1B2A-47A8-8D92-6FE6E622A650}" dt="2024-12-16T18:58:51.893" v="225277"/>
          <ac:spMkLst>
            <pc:docMk/>
            <pc:sldMk cId="769219996" sldId="299"/>
            <ac:spMk id="12" creationId="{ED107D94-3B13-F0D2-A75A-25BAB8E98C0A}"/>
          </ac:spMkLst>
        </pc:spChg>
        <pc:spChg chg="add del mod">
          <ac:chgData name="Oğuz Öztekin" userId="33c0df0f-d5fe-4bda-8f43-141ad7af67e3" providerId="ADAL" clId="{48B824AD-1B2A-47A8-8D92-6FE6E622A650}" dt="2024-12-16T18:58:51.895" v="225282"/>
          <ac:spMkLst>
            <pc:docMk/>
            <pc:sldMk cId="769219996" sldId="299"/>
            <ac:spMk id="13" creationId="{814E6221-595D-A937-7753-5F26B60B5495}"/>
          </ac:spMkLst>
        </pc:spChg>
        <pc:spChg chg="add del mod">
          <ac:chgData name="Oğuz Öztekin" userId="33c0df0f-d5fe-4bda-8f43-141ad7af67e3" providerId="ADAL" clId="{48B824AD-1B2A-47A8-8D92-6FE6E622A650}" dt="2024-12-16T18:58:51.895" v="225287"/>
          <ac:spMkLst>
            <pc:docMk/>
            <pc:sldMk cId="769219996" sldId="299"/>
            <ac:spMk id="14" creationId="{E75BA898-8CF4-5DD8-F60A-71D115413142}"/>
          </ac:spMkLst>
        </pc:spChg>
        <pc:spChg chg="add del mod">
          <ac:chgData name="Oğuz Öztekin" userId="33c0df0f-d5fe-4bda-8f43-141ad7af67e3" providerId="ADAL" clId="{48B824AD-1B2A-47A8-8D92-6FE6E622A650}" dt="2024-12-16T18:58:51.897" v="225292"/>
          <ac:spMkLst>
            <pc:docMk/>
            <pc:sldMk cId="769219996" sldId="299"/>
            <ac:spMk id="15" creationId="{C8C84A5B-8CED-38E6-281D-AE18DB556033}"/>
          </ac:spMkLst>
        </pc:spChg>
        <pc:spChg chg="add del mod">
          <ac:chgData name="Oğuz Öztekin" userId="33c0df0f-d5fe-4bda-8f43-141ad7af67e3" providerId="ADAL" clId="{48B824AD-1B2A-47A8-8D92-6FE6E622A650}" dt="2024-12-16T18:58:51.899" v="225297"/>
          <ac:spMkLst>
            <pc:docMk/>
            <pc:sldMk cId="769219996" sldId="299"/>
            <ac:spMk id="16" creationId="{FE335562-183E-6FBB-7EDA-102114DE9F70}"/>
          </ac:spMkLst>
        </pc:spChg>
        <pc:spChg chg="add del mod">
          <ac:chgData name="Oğuz Öztekin" userId="33c0df0f-d5fe-4bda-8f43-141ad7af67e3" providerId="ADAL" clId="{48B824AD-1B2A-47A8-8D92-6FE6E622A650}" dt="2024-12-16T18:58:51.899" v="225302"/>
          <ac:spMkLst>
            <pc:docMk/>
            <pc:sldMk cId="769219996" sldId="299"/>
            <ac:spMk id="17" creationId="{826E4BF5-D930-222F-1D25-548F3D82276F}"/>
          </ac:spMkLst>
        </pc:spChg>
        <pc:spChg chg="add del mod">
          <ac:chgData name="Oğuz Öztekin" userId="33c0df0f-d5fe-4bda-8f43-141ad7af67e3" providerId="ADAL" clId="{48B824AD-1B2A-47A8-8D92-6FE6E622A650}" dt="2024-12-16T18:58:51.899" v="225307"/>
          <ac:spMkLst>
            <pc:docMk/>
            <pc:sldMk cId="769219996" sldId="299"/>
            <ac:spMk id="18" creationId="{CC3913BA-260D-D262-22A5-513E0B388D41}"/>
          </ac:spMkLst>
        </pc:spChg>
        <pc:spChg chg="add del mod">
          <ac:chgData name="Oğuz Öztekin" userId="33c0df0f-d5fe-4bda-8f43-141ad7af67e3" providerId="ADAL" clId="{48B824AD-1B2A-47A8-8D92-6FE6E622A650}" dt="2024-12-16T18:58:51.902" v="225312"/>
          <ac:spMkLst>
            <pc:docMk/>
            <pc:sldMk cId="769219996" sldId="299"/>
            <ac:spMk id="19" creationId="{2CAFFD6D-9F75-E80A-9DF0-A71747022B3A}"/>
          </ac:spMkLst>
        </pc:spChg>
        <pc:spChg chg="mod">
          <ac:chgData name="Oğuz Öztekin" userId="33c0df0f-d5fe-4bda-8f43-141ad7af67e3" providerId="ADAL" clId="{48B824AD-1B2A-47A8-8D92-6FE6E622A650}" dt="2024-12-16T18:58:52.030" v="225576"/>
          <ac:spMkLst>
            <pc:docMk/>
            <pc:sldMk cId="769219996" sldId="299"/>
            <ac:spMk id="20" creationId="{3831796C-F29D-C93F-4713-A6BCFED0159F}"/>
          </ac:spMkLst>
        </pc:spChg>
        <pc:spChg chg="add del mod">
          <ac:chgData name="Oğuz Öztekin" userId="33c0df0f-d5fe-4bda-8f43-141ad7af67e3" providerId="ADAL" clId="{48B824AD-1B2A-47A8-8D92-6FE6E622A650}" dt="2024-12-16T18:58:51.902" v="225317"/>
          <ac:spMkLst>
            <pc:docMk/>
            <pc:sldMk cId="769219996" sldId="299"/>
            <ac:spMk id="21" creationId="{369D52B8-18E2-3F9C-F597-0D43EE9488C5}"/>
          </ac:spMkLst>
        </pc:spChg>
        <pc:spChg chg="add del mod">
          <ac:chgData name="Oğuz Öztekin" userId="33c0df0f-d5fe-4bda-8f43-141ad7af67e3" providerId="ADAL" clId="{48B824AD-1B2A-47A8-8D92-6FE6E622A650}" dt="2024-12-16T18:58:51.902" v="225322"/>
          <ac:spMkLst>
            <pc:docMk/>
            <pc:sldMk cId="769219996" sldId="299"/>
            <ac:spMk id="22" creationId="{DA1B38BD-F12E-9F30-9E83-F73CE8DB3B97}"/>
          </ac:spMkLst>
        </pc:spChg>
        <pc:spChg chg="add del mod">
          <ac:chgData name="Oğuz Öztekin" userId="33c0df0f-d5fe-4bda-8f43-141ad7af67e3" providerId="ADAL" clId="{48B824AD-1B2A-47A8-8D92-6FE6E622A650}" dt="2024-12-16T18:58:51.907" v="225327"/>
          <ac:spMkLst>
            <pc:docMk/>
            <pc:sldMk cId="769219996" sldId="299"/>
            <ac:spMk id="23" creationId="{48AECF64-02D6-9698-97B9-83AF01D9A851}"/>
          </ac:spMkLst>
        </pc:spChg>
        <pc:spChg chg="add del mod">
          <ac:chgData name="Oğuz Öztekin" userId="33c0df0f-d5fe-4bda-8f43-141ad7af67e3" providerId="ADAL" clId="{48B824AD-1B2A-47A8-8D92-6FE6E622A650}" dt="2024-12-16T18:58:51.907" v="225332"/>
          <ac:spMkLst>
            <pc:docMk/>
            <pc:sldMk cId="769219996" sldId="299"/>
            <ac:spMk id="24" creationId="{7AC7B4E5-0214-A196-DBD8-8D23BCA42B90}"/>
          </ac:spMkLst>
        </pc:spChg>
        <pc:spChg chg="add del mod">
          <ac:chgData name="Oğuz Öztekin" userId="33c0df0f-d5fe-4bda-8f43-141ad7af67e3" providerId="ADAL" clId="{48B824AD-1B2A-47A8-8D92-6FE6E622A650}" dt="2024-12-16T18:58:51.909" v="225337"/>
          <ac:spMkLst>
            <pc:docMk/>
            <pc:sldMk cId="769219996" sldId="299"/>
            <ac:spMk id="25" creationId="{687EFB79-3D83-9890-7F29-9926996C9DA8}"/>
          </ac:spMkLst>
        </pc:spChg>
        <pc:spChg chg="add del mod">
          <ac:chgData name="Oğuz Öztekin" userId="33c0df0f-d5fe-4bda-8f43-141ad7af67e3" providerId="ADAL" clId="{48B824AD-1B2A-47A8-8D92-6FE6E622A650}" dt="2024-12-16T18:58:51.910" v="225342"/>
          <ac:spMkLst>
            <pc:docMk/>
            <pc:sldMk cId="769219996" sldId="299"/>
            <ac:spMk id="26" creationId="{84D443F9-5B19-FDE1-8948-C47CA0CCD064}"/>
          </ac:spMkLst>
        </pc:spChg>
        <pc:spChg chg="add del mod">
          <ac:chgData name="Oğuz Öztekin" userId="33c0df0f-d5fe-4bda-8f43-141ad7af67e3" providerId="ADAL" clId="{48B824AD-1B2A-47A8-8D92-6FE6E622A650}" dt="2024-12-16T18:58:51.911" v="225347"/>
          <ac:spMkLst>
            <pc:docMk/>
            <pc:sldMk cId="769219996" sldId="299"/>
            <ac:spMk id="27" creationId="{1A8D56FF-EB55-156F-F4D6-89BA1C7BD3E9}"/>
          </ac:spMkLst>
        </pc:spChg>
        <pc:spChg chg="add del mod">
          <ac:chgData name="Oğuz Öztekin" userId="33c0df0f-d5fe-4bda-8f43-141ad7af67e3" providerId="ADAL" clId="{48B824AD-1B2A-47A8-8D92-6FE6E622A650}" dt="2024-12-16T18:58:51.914" v="225352"/>
          <ac:spMkLst>
            <pc:docMk/>
            <pc:sldMk cId="769219996" sldId="299"/>
            <ac:spMk id="28" creationId="{6EAA1A5F-F8DF-0D8D-B60A-FA7B2C82A03E}"/>
          </ac:spMkLst>
        </pc:spChg>
        <pc:spChg chg="mod">
          <ac:chgData name="Oğuz Öztekin" userId="33c0df0f-d5fe-4bda-8f43-141ad7af67e3" providerId="ADAL" clId="{48B824AD-1B2A-47A8-8D92-6FE6E622A650}" dt="2024-12-16T18:58:52.030" v="225577"/>
          <ac:spMkLst>
            <pc:docMk/>
            <pc:sldMk cId="769219996" sldId="299"/>
            <ac:spMk id="29" creationId="{39C73E21-1F2B-8C1B-D7FD-491492DEDB41}"/>
          </ac:spMkLst>
        </pc:spChg>
        <pc:spChg chg="add del mod">
          <ac:chgData name="Oğuz Öztekin" userId="33c0df0f-d5fe-4bda-8f43-141ad7af67e3" providerId="ADAL" clId="{48B824AD-1B2A-47A8-8D92-6FE6E622A650}" dt="2024-12-16T18:58:51.915" v="225357"/>
          <ac:spMkLst>
            <pc:docMk/>
            <pc:sldMk cId="769219996" sldId="299"/>
            <ac:spMk id="30" creationId="{EC2C3CF7-2877-35C5-387B-4FC0B145E640}"/>
          </ac:spMkLst>
        </pc:spChg>
        <pc:spChg chg="add del mod">
          <ac:chgData name="Oğuz Öztekin" userId="33c0df0f-d5fe-4bda-8f43-141ad7af67e3" providerId="ADAL" clId="{48B824AD-1B2A-47A8-8D92-6FE6E622A650}" dt="2024-12-16T18:58:51.916" v="225362"/>
          <ac:spMkLst>
            <pc:docMk/>
            <pc:sldMk cId="769219996" sldId="299"/>
            <ac:spMk id="31" creationId="{72F13F00-63E7-818A-9B19-5308BD4D1C77}"/>
          </ac:spMkLst>
        </pc:spChg>
        <pc:spChg chg="add del mod">
          <ac:chgData name="Oğuz Öztekin" userId="33c0df0f-d5fe-4bda-8f43-141ad7af67e3" providerId="ADAL" clId="{48B824AD-1B2A-47A8-8D92-6FE6E622A650}" dt="2024-12-16T18:58:51.918" v="225367"/>
          <ac:spMkLst>
            <pc:docMk/>
            <pc:sldMk cId="769219996" sldId="299"/>
            <ac:spMk id="64" creationId="{A56CD006-2BC4-4BB2-66F4-645DC8A6579A}"/>
          </ac:spMkLst>
        </pc:spChg>
        <pc:spChg chg="add del mod">
          <ac:chgData name="Oğuz Öztekin" userId="33c0df0f-d5fe-4bda-8f43-141ad7af67e3" providerId="ADAL" clId="{48B824AD-1B2A-47A8-8D92-6FE6E622A650}" dt="2024-12-16T18:58:51.919" v="225372"/>
          <ac:spMkLst>
            <pc:docMk/>
            <pc:sldMk cId="769219996" sldId="299"/>
            <ac:spMk id="65" creationId="{714A8FEB-0E17-6BA0-3C0D-BE640CBE7133}"/>
          </ac:spMkLst>
        </pc:spChg>
        <pc:spChg chg="add del mod">
          <ac:chgData name="Oğuz Öztekin" userId="33c0df0f-d5fe-4bda-8f43-141ad7af67e3" providerId="ADAL" clId="{48B824AD-1B2A-47A8-8D92-6FE6E622A650}" dt="2024-12-16T18:58:51.920" v="225377"/>
          <ac:spMkLst>
            <pc:docMk/>
            <pc:sldMk cId="769219996" sldId="299"/>
            <ac:spMk id="66" creationId="{46993398-419D-5725-8F2D-C286DDF233FF}"/>
          </ac:spMkLst>
        </pc:spChg>
        <pc:spChg chg="add del mod">
          <ac:chgData name="Oğuz Öztekin" userId="33c0df0f-d5fe-4bda-8f43-141ad7af67e3" providerId="ADAL" clId="{48B824AD-1B2A-47A8-8D92-6FE6E622A650}" dt="2024-12-16T18:58:51.922" v="225382"/>
          <ac:spMkLst>
            <pc:docMk/>
            <pc:sldMk cId="769219996" sldId="299"/>
            <ac:spMk id="67" creationId="{2EC64B53-4FFD-E1B0-26CD-1FBB97E0074A}"/>
          </ac:spMkLst>
        </pc:spChg>
        <pc:spChg chg="add del mod modVis">
          <ac:chgData name="Oğuz Öztekin" userId="33c0df0f-d5fe-4bda-8f43-141ad7af67e3" providerId="ADAL" clId="{48B824AD-1B2A-47A8-8D92-6FE6E622A650}" dt="2024-12-16T18:57:15.599" v="219777"/>
          <ac:spMkLst>
            <pc:docMk/>
            <pc:sldMk cId="769219996" sldId="299"/>
            <ac:spMk id="68" creationId="{F491935E-8364-44A6-0836-0FCD2003647D}"/>
          </ac:spMkLst>
        </pc:spChg>
        <pc:spChg chg="mod">
          <ac:chgData name="Oğuz Öztekin" userId="33c0df0f-d5fe-4bda-8f43-141ad7af67e3" providerId="ADAL" clId="{48B824AD-1B2A-47A8-8D92-6FE6E622A650}" dt="2024-12-16T18:58:52.030" v="225578"/>
          <ac:spMkLst>
            <pc:docMk/>
            <pc:sldMk cId="769219996" sldId="299"/>
            <ac:spMk id="75" creationId="{1383AB04-8375-0A61-3514-DF2FB7D56510}"/>
          </ac:spMkLst>
        </pc:spChg>
        <pc:spChg chg="mod">
          <ac:chgData name="Oğuz Öztekin" userId="33c0df0f-d5fe-4bda-8f43-141ad7af67e3" providerId="ADAL" clId="{48B824AD-1B2A-47A8-8D92-6FE6E622A650}" dt="2024-12-16T18:58:52.030" v="225579"/>
          <ac:spMkLst>
            <pc:docMk/>
            <pc:sldMk cId="769219996" sldId="299"/>
            <ac:spMk id="78" creationId="{E99E3417-22CE-870C-1E90-AC2073DDB71A}"/>
          </ac:spMkLst>
        </pc:spChg>
        <pc:spChg chg="mod">
          <ac:chgData name="Oğuz Öztekin" userId="33c0df0f-d5fe-4bda-8f43-141ad7af67e3" providerId="ADAL" clId="{48B824AD-1B2A-47A8-8D92-6FE6E622A650}" dt="2024-12-16T18:58:52.030" v="225580"/>
          <ac:spMkLst>
            <pc:docMk/>
            <pc:sldMk cId="769219996" sldId="299"/>
            <ac:spMk id="84" creationId="{847DE091-59DD-1E3C-811F-121AA8FC39C7}"/>
          </ac:spMkLst>
        </pc:spChg>
        <pc:spChg chg="mod">
          <ac:chgData name="Oğuz Öztekin" userId="33c0df0f-d5fe-4bda-8f43-141ad7af67e3" providerId="ADAL" clId="{48B824AD-1B2A-47A8-8D92-6FE6E622A650}" dt="2024-12-16T18:58:52.030" v="225581"/>
          <ac:spMkLst>
            <pc:docMk/>
            <pc:sldMk cId="769219996" sldId="299"/>
            <ac:spMk id="94" creationId="{E81B4DB8-2FAF-096C-4C36-8B4B406EDD40}"/>
          </ac:spMkLst>
        </pc:spChg>
        <pc:spChg chg="mod">
          <ac:chgData name="Oğuz Öztekin" userId="33c0df0f-d5fe-4bda-8f43-141ad7af67e3" providerId="ADAL" clId="{48B824AD-1B2A-47A8-8D92-6FE6E622A650}" dt="2024-12-16T18:58:52.030" v="225584"/>
          <ac:spMkLst>
            <pc:docMk/>
            <pc:sldMk cId="769219996" sldId="299"/>
            <ac:spMk id="300" creationId="{0508C052-9EF3-6C10-B279-EA3B71DCA3C4}"/>
          </ac:spMkLst>
        </pc:spChg>
        <pc:spChg chg="mod">
          <ac:chgData name="Oğuz Öztekin" userId="33c0df0f-d5fe-4bda-8f43-141ad7af67e3" providerId="ADAL" clId="{48B824AD-1B2A-47A8-8D92-6FE6E622A650}" dt="2024-12-16T18:58:52.030" v="225585"/>
          <ac:spMkLst>
            <pc:docMk/>
            <pc:sldMk cId="769219996" sldId="299"/>
            <ac:spMk id="303" creationId="{8CBEE2D6-F893-AD8E-C9C0-81A2D608872E}"/>
          </ac:spMkLst>
        </pc:spChg>
        <pc:spChg chg="add del mod modVis">
          <ac:chgData name="Oğuz Öztekin" userId="33c0df0f-d5fe-4bda-8f43-141ad7af67e3" providerId="ADAL" clId="{48B824AD-1B2A-47A8-8D92-6FE6E622A650}" dt="2024-12-16T18:57:20.725" v="220134"/>
          <ac:spMkLst>
            <pc:docMk/>
            <pc:sldMk cId="769219996" sldId="299"/>
            <ac:spMk id="325" creationId="{B6EA03A3-B36A-5178-6065-472CCD444775}"/>
          </ac:spMkLst>
        </pc:spChg>
        <pc:spChg chg="add del mod modVis">
          <ac:chgData name="Oğuz Öztekin" userId="33c0df0f-d5fe-4bda-8f43-141ad7af67e3" providerId="ADAL" clId="{48B824AD-1B2A-47A8-8D92-6FE6E622A650}" dt="2024-12-16T18:57:28.439" v="220687"/>
          <ac:spMkLst>
            <pc:docMk/>
            <pc:sldMk cId="769219996" sldId="299"/>
            <ac:spMk id="327" creationId="{246A3FE3-3DBC-4338-85A3-F83DCD16B9B3}"/>
          </ac:spMkLst>
        </pc:spChg>
        <pc:spChg chg="add del mod modVis">
          <ac:chgData name="Oğuz Öztekin" userId="33c0df0f-d5fe-4bda-8f43-141ad7af67e3" providerId="ADAL" clId="{48B824AD-1B2A-47A8-8D92-6FE6E622A650}" dt="2024-12-16T18:57:40.522" v="221058"/>
          <ac:spMkLst>
            <pc:docMk/>
            <pc:sldMk cId="769219996" sldId="299"/>
            <ac:spMk id="329" creationId="{B277972F-A127-8D02-6EF1-ED18211FB883}"/>
          </ac:spMkLst>
        </pc:spChg>
        <pc:spChg chg="mod">
          <ac:chgData name="Oğuz Öztekin" userId="33c0df0f-d5fe-4bda-8f43-141ad7af67e3" providerId="ADAL" clId="{48B824AD-1B2A-47A8-8D92-6FE6E622A650}" dt="2024-12-16T18:58:52.035" v="225587"/>
          <ac:spMkLst>
            <pc:docMk/>
            <pc:sldMk cId="769219996" sldId="299"/>
            <ac:spMk id="330" creationId="{943A7D25-F562-0AE4-C91F-FAC26498A834}"/>
          </ac:spMkLst>
        </pc:spChg>
        <pc:spChg chg="add del mod modVis">
          <ac:chgData name="Oğuz Öztekin" userId="33c0df0f-d5fe-4bda-8f43-141ad7af67e3" providerId="ADAL" clId="{48B824AD-1B2A-47A8-8D92-6FE6E622A650}" dt="2024-12-16T18:57:47.272" v="221455"/>
          <ac:spMkLst>
            <pc:docMk/>
            <pc:sldMk cId="769219996" sldId="299"/>
            <ac:spMk id="332" creationId="{8F271823-D489-92AB-4B19-6F0AB325C02D}"/>
          </ac:spMkLst>
        </pc:spChg>
        <pc:spChg chg="add del mod">
          <ac:chgData name="Oğuz Öztekin" userId="33c0df0f-d5fe-4bda-8f43-141ad7af67e3" providerId="ADAL" clId="{48B824AD-1B2A-47A8-8D92-6FE6E622A650}" dt="2024-12-16T18:58:51.922" v="225387"/>
          <ac:spMkLst>
            <pc:docMk/>
            <pc:sldMk cId="769219996" sldId="299"/>
            <ac:spMk id="336" creationId="{3339811E-75BC-D382-4E77-32D7DB64B591}"/>
          </ac:spMkLst>
        </pc:spChg>
        <pc:spChg chg="mod">
          <ac:chgData name="Oğuz Öztekin" userId="33c0df0f-d5fe-4bda-8f43-141ad7af67e3" providerId="ADAL" clId="{48B824AD-1B2A-47A8-8D92-6FE6E622A650}" dt="2024-12-16T18:58:52.030" v="225582"/>
          <ac:spMkLst>
            <pc:docMk/>
            <pc:sldMk cId="769219996" sldId="299"/>
            <ac:spMk id="337" creationId="{01355D3A-9AA0-EBF2-41DC-08A4AEC38B70}"/>
          </ac:spMkLst>
        </pc:spChg>
        <pc:spChg chg="add del mod">
          <ac:chgData name="Oğuz Öztekin" userId="33c0df0f-d5fe-4bda-8f43-141ad7af67e3" providerId="ADAL" clId="{48B824AD-1B2A-47A8-8D92-6FE6E622A650}" dt="2024-12-16T18:58:51.924" v="225392"/>
          <ac:spMkLst>
            <pc:docMk/>
            <pc:sldMk cId="769219996" sldId="299"/>
            <ac:spMk id="338" creationId="{DD2DEB42-2F26-ADD1-9D22-3750F99937A1}"/>
          </ac:spMkLst>
        </pc:spChg>
        <pc:spChg chg="add del mod">
          <ac:chgData name="Oğuz Öztekin" userId="33c0df0f-d5fe-4bda-8f43-141ad7af67e3" providerId="ADAL" clId="{48B824AD-1B2A-47A8-8D92-6FE6E622A650}" dt="2024-12-16T18:58:51.926" v="225397"/>
          <ac:spMkLst>
            <pc:docMk/>
            <pc:sldMk cId="769219996" sldId="299"/>
            <ac:spMk id="343" creationId="{48F143F8-E62E-04BD-EED9-7142C1D84418}"/>
          </ac:spMkLst>
        </pc:spChg>
        <pc:spChg chg="mod">
          <ac:chgData name="Oğuz Öztekin" userId="33c0df0f-d5fe-4bda-8f43-141ad7af67e3" providerId="ADAL" clId="{48B824AD-1B2A-47A8-8D92-6FE6E622A650}" dt="2024-12-16T18:58:52.030" v="225583"/>
          <ac:spMkLst>
            <pc:docMk/>
            <pc:sldMk cId="769219996" sldId="299"/>
            <ac:spMk id="344" creationId="{1E2B8D68-7382-54AE-FEF8-DA7C9A17099F}"/>
          </ac:spMkLst>
        </pc:spChg>
        <pc:spChg chg="add del mod">
          <ac:chgData name="Oğuz Öztekin" userId="33c0df0f-d5fe-4bda-8f43-141ad7af67e3" providerId="ADAL" clId="{48B824AD-1B2A-47A8-8D92-6FE6E622A650}" dt="2024-12-16T18:58:51.928" v="225402"/>
          <ac:spMkLst>
            <pc:docMk/>
            <pc:sldMk cId="769219996" sldId="299"/>
            <ac:spMk id="345" creationId="{FCF975F2-BA54-C274-722C-CA266E771054}"/>
          </ac:spMkLst>
        </pc:spChg>
        <pc:spChg chg="add del mod">
          <ac:chgData name="Oğuz Öztekin" userId="33c0df0f-d5fe-4bda-8f43-141ad7af67e3" providerId="ADAL" clId="{48B824AD-1B2A-47A8-8D92-6FE6E622A650}" dt="2024-12-16T18:58:51.929" v="225407"/>
          <ac:spMkLst>
            <pc:docMk/>
            <pc:sldMk cId="769219996" sldId="299"/>
            <ac:spMk id="346" creationId="{D521B113-C528-1CAC-A761-CF85E767F40E}"/>
          </ac:spMkLst>
        </pc:spChg>
        <pc:spChg chg="add del mod">
          <ac:chgData name="Oğuz Öztekin" userId="33c0df0f-d5fe-4bda-8f43-141ad7af67e3" providerId="ADAL" clId="{48B824AD-1B2A-47A8-8D92-6FE6E622A650}" dt="2024-12-16T18:58:51.930" v="225412"/>
          <ac:spMkLst>
            <pc:docMk/>
            <pc:sldMk cId="769219996" sldId="299"/>
            <ac:spMk id="347" creationId="{B520BEF4-7D63-7BB5-05DC-21530B44EB50}"/>
          </ac:spMkLst>
        </pc:spChg>
        <pc:spChg chg="add del mod modVis">
          <ac:chgData name="Oğuz Öztekin" userId="33c0df0f-d5fe-4bda-8f43-141ad7af67e3" providerId="ADAL" clId="{48B824AD-1B2A-47A8-8D92-6FE6E622A650}" dt="2024-12-16T18:57:56.008" v="222376"/>
          <ac:spMkLst>
            <pc:docMk/>
            <pc:sldMk cId="769219996" sldId="299"/>
            <ac:spMk id="348" creationId="{32FC4F09-DDED-A7C9-E8A7-1018F960A345}"/>
          </ac:spMkLst>
        </pc:spChg>
        <pc:spChg chg="mod">
          <ac:chgData name="Oğuz Öztekin" userId="33c0df0f-d5fe-4bda-8f43-141ad7af67e3" providerId="ADAL" clId="{48B824AD-1B2A-47A8-8D92-6FE6E622A650}" dt="2024-12-16T18:58:52.030" v="225586"/>
          <ac:spMkLst>
            <pc:docMk/>
            <pc:sldMk cId="769219996" sldId="299"/>
            <ac:spMk id="352" creationId="{68CD74DE-474E-4FFD-4407-42BDD065BF69}"/>
          </ac:spMkLst>
        </pc:spChg>
        <pc:spChg chg="add del mod modVis">
          <ac:chgData name="Oğuz Öztekin" userId="33c0df0f-d5fe-4bda-8f43-141ad7af67e3" providerId="ADAL" clId="{48B824AD-1B2A-47A8-8D92-6FE6E622A650}" dt="2024-12-16T18:58:12.566" v="222717"/>
          <ac:spMkLst>
            <pc:docMk/>
            <pc:sldMk cId="769219996" sldId="299"/>
            <ac:spMk id="366" creationId="{092F64B5-9778-76FB-F470-23B753343045}"/>
          </ac:spMkLst>
        </pc:spChg>
        <pc:spChg chg="add del mod modVis">
          <ac:chgData name="Oğuz Öztekin" userId="33c0df0f-d5fe-4bda-8f43-141ad7af67e3" providerId="ADAL" clId="{48B824AD-1B2A-47A8-8D92-6FE6E622A650}" dt="2024-12-16T18:58:18.078" v="223108"/>
          <ac:spMkLst>
            <pc:docMk/>
            <pc:sldMk cId="769219996" sldId="299"/>
            <ac:spMk id="368" creationId="{974BACDB-B58E-CACE-897A-1AD166863C3A}"/>
          </ac:spMkLst>
        </pc:spChg>
        <pc:spChg chg="add del mod modVis">
          <ac:chgData name="Oğuz Öztekin" userId="33c0df0f-d5fe-4bda-8f43-141ad7af67e3" providerId="ADAL" clId="{48B824AD-1B2A-47A8-8D92-6FE6E622A650}" dt="2024-12-16T18:58:25.905" v="223755"/>
          <ac:spMkLst>
            <pc:docMk/>
            <pc:sldMk cId="769219996" sldId="299"/>
            <ac:spMk id="370" creationId="{3FC175A7-7503-84F4-22B9-C575D4A7C4B7}"/>
          </ac:spMkLst>
        </pc:spChg>
        <pc:spChg chg="add del mod modVis">
          <ac:chgData name="Oğuz Öztekin" userId="33c0df0f-d5fe-4bda-8f43-141ad7af67e3" providerId="ADAL" clId="{48B824AD-1B2A-47A8-8D92-6FE6E622A650}" dt="2024-12-16T18:58:33.615" v="224346"/>
          <ac:spMkLst>
            <pc:docMk/>
            <pc:sldMk cId="769219996" sldId="299"/>
            <ac:spMk id="372" creationId="{FEBAFCFF-1C74-5253-78FD-13073CC2E59D}"/>
          </ac:spMkLst>
        </pc:spChg>
        <pc:spChg chg="add del mod modVis">
          <ac:chgData name="Oğuz Öztekin" userId="33c0df0f-d5fe-4bda-8f43-141ad7af67e3" providerId="ADAL" clId="{48B824AD-1B2A-47A8-8D92-6FE6E622A650}" dt="2024-12-16T18:58:44.137" v="224775"/>
          <ac:spMkLst>
            <pc:docMk/>
            <pc:sldMk cId="769219996" sldId="299"/>
            <ac:spMk id="374" creationId="{DB1E655E-1F17-402B-ED4F-DF273F072328}"/>
          </ac:spMkLst>
        </pc:spChg>
        <pc:spChg chg="add del mod modVis">
          <ac:chgData name="Oğuz Öztekin" userId="33c0df0f-d5fe-4bda-8f43-141ad7af67e3" providerId="ADAL" clId="{48B824AD-1B2A-47A8-8D92-6FE6E622A650}" dt="2024-12-16T18:58:48.445" v="225254"/>
          <ac:spMkLst>
            <pc:docMk/>
            <pc:sldMk cId="769219996" sldId="299"/>
            <ac:spMk id="376" creationId="{79C4E53B-ABEE-48D4-2398-E26EF1B958EB}"/>
          </ac:spMkLst>
        </pc:spChg>
        <pc:spChg chg="add del mod modVis">
          <ac:chgData name="Oğuz Öztekin" userId="33c0df0f-d5fe-4bda-8f43-141ad7af67e3" providerId="ADAL" clId="{48B824AD-1B2A-47A8-8D92-6FE6E622A650}" dt="2024-12-16T18:58:52.035" v="225589"/>
          <ac:spMkLst>
            <pc:docMk/>
            <pc:sldMk cId="769219996" sldId="299"/>
            <ac:spMk id="378" creationId="{337B8162-E6B5-567F-06E9-AF5515BA414B}"/>
          </ac:spMkLst>
        </pc:spChg>
        <pc:graphicFrameChg chg="mod">
          <ac:chgData name="Oğuz Öztekin" userId="33c0df0f-d5fe-4bda-8f43-141ad7af67e3" providerId="ADAL" clId="{48B824AD-1B2A-47A8-8D92-6FE6E622A650}" dt="2024-12-16T18:58:52.037" v="225591"/>
          <ac:graphicFrameMkLst>
            <pc:docMk/>
            <pc:sldMk cId="769219996" sldId="299"/>
            <ac:graphicFrameMk id="3" creationId="{233BC140-418F-7DA9-8923-A9EACFF2705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7:15.525" v="219584"/>
          <ac:graphicFrameMkLst>
            <pc:docMk/>
            <pc:sldMk cId="769219996" sldId="299"/>
            <ac:graphicFrameMk id="7" creationId="{CCE4EB66-2D81-916C-8E28-8914FDBB90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7:20.667" v="219953"/>
          <ac:graphicFrameMkLst>
            <pc:docMk/>
            <pc:sldMk cId="769219996" sldId="299"/>
            <ac:graphicFrameMk id="324" creationId="{B4A24E94-6B66-8685-1CDB-48D3183689C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7:28.380" v="220506"/>
          <ac:graphicFrameMkLst>
            <pc:docMk/>
            <pc:sldMk cId="769219996" sldId="299"/>
            <ac:graphicFrameMk id="326" creationId="{7BC8FE7A-AAB3-D0B9-2B87-814CD1E87B3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7:40.462" v="220877"/>
          <ac:graphicFrameMkLst>
            <pc:docMk/>
            <pc:sldMk cId="769219996" sldId="299"/>
            <ac:graphicFrameMk id="328" creationId="{E3A589BA-6113-304C-238F-D4A25076F00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7:47.218" v="221274"/>
          <ac:graphicFrameMkLst>
            <pc:docMk/>
            <pc:sldMk cId="769219996" sldId="299"/>
            <ac:graphicFrameMk id="331" creationId="{0B04732C-DF3D-D54E-C915-D6EB635E728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7:55.931" v="222153"/>
          <ac:graphicFrameMkLst>
            <pc:docMk/>
            <pc:sldMk cId="769219996" sldId="299"/>
            <ac:graphicFrameMk id="335" creationId="{5CAFF8E6-07F4-4981-882E-0D954214715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8:12.499" v="222506"/>
          <ac:graphicFrameMkLst>
            <pc:docMk/>
            <pc:sldMk cId="769219996" sldId="299"/>
            <ac:graphicFrameMk id="365" creationId="{C430EECE-C260-5FED-1EAC-CA8B9697A15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8:18.011" v="222897"/>
          <ac:graphicFrameMkLst>
            <pc:docMk/>
            <pc:sldMk cId="769219996" sldId="299"/>
            <ac:graphicFrameMk id="367" creationId="{7961D21E-6D19-25F0-4C0D-325F4E89F23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8:25.824" v="223544"/>
          <ac:graphicFrameMkLst>
            <pc:docMk/>
            <pc:sldMk cId="769219996" sldId="299"/>
            <ac:graphicFrameMk id="369" creationId="{BA24004E-44DE-CB12-FC03-77E68E1A5EE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8:33.549" v="224135"/>
          <ac:graphicFrameMkLst>
            <pc:docMk/>
            <pc:sldMk cId="769219996" sldId="299"/>
            <ac:graphicFrameMk id="371" creationId="{37BEFB9B-9A54-9ADD-6E07-F603C5FD722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8:44.070" v="224564"/>
          <ac:graphicFrameMkLst>
            <pc:docMk/>
            <pc:sldMk cId="769219996" sldId="299"/>
            <ac:graphicFrameMk id="373" creationId="{46557EFB-AA03-95E9-0B36-60F1FF8E806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8:48.378" v="225043"/>
          <ac:graphicFrameMkLst>
            <pc:docMk/>
            <pc:sldMk cId="769219996" sldId="299"/>
            <ac:graphicFrameMk id="375" creationId="{58AC9809-372B-78FE-A445-C534B1D5D65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8:58:52.005" v="225544"/>
          <ac:graphicFrameMkLst>
            <pc:docMk/>
            <pc:sldMk cId="769219996" sldId="299"/>
            <ac:graphicFrameMk id="377" creationId="{CE2E2F01-034E-5357-FBB2-8F62834B2CB1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8:58:52.027" v="225553"/>
          <ac:graphicFrameMkLst>
            <pc:docMk/>
            <pc:sldMk cId="769219996" sldId="299"/>
            <ac:graphicFrameMk id="379" creationId="{64037AF6-7640-3F96-8840-815F4DC315D5}"/>
          </ac:graphicFrameMkLst>
        </pc:graphicFrameChg>
        <pc:graphicFrameChg chg="del">
          <ac:chgData name="Oğuz Öztekin" userId="33c0df0f-d5fe-4bda-8f43-141ad7af67e3" providerId="ADAL" clId="{48B824AD-1B2A-47A8-8D92-6FE6E622A650}" dt="2024-12-16T18:56:55.304" v="218095"/>
          <ac:graphicFrameMkLst>
            <pc:docMk/>
            <pc:sldMk cId="769219996" sldId="299"/>
            <ac:graphicFrameMk id="383" creationId="{9BB1B09C-9C9C-B378-3521-6C03F504BE8C}"/>
          </ac:graphicFrameMkLst>
        </pc:graphicFrameChg>
        <pc:cxnChg chg="add mod ord">
          <ac:chgData name="Oğuz Öztekin" userId="33c0df0f-d5fe-4bda-8f43-141ad7af67e3" providerId="ADAL" clId="{48B824AD-1B2A-47A8-8D92-6FE6E622A650}" dt="2024-12-16T18:58:52.030" v="225571"/>
          <ac:cxnSpMkLst>
            <pc:docMk/>
            <pc:sldMk cId="769219996" sldId="299"/>
            <ac:cxnSpMk id="69" creationId="{AF62235D-221B-304F-83E6-CCD5BBF980DE}"/>
          </ac:cxnSpMkLst>
        </pc:cxnChg>
        <pc:cxnChg chg="add del mod ord">
          <ac:chgData name="Oğuz Öztekin" userId="33c0df0f-d5fe-4bda-8f43-141ad7af67e3" providerId="ADAL" clId="{48B824AD-1B2A-47A8-8D92-6FE6E622A650}" dt="2024-12-16T18:58:51.995" v="225500"/>
          <ac:cxnSpMkLst>
            <pc:docMk/>
            <pc:sldMk cId="769219996" sldId="299"/>
            <ac:cxnSpMk id="70" creationId="{7DC5EBF7-79B7-53D7-1032-54EB6CFCAF30}"/>
          </ac:cxnSpMkLst>
        </pc:cxnChg>
        <pc:cxnChg chg="add del mod ord">
          <ac:chgData name="Oğuz Öztekin" userId="33c0df0f-d5fe-4bda-8f43-141ad7af67e3" providerId="ADAL" clId="{48B824AD-1B2A-47A8-8D92-6FE6E622A650}" dt="2024-12-16T18:58:51.995" v="225498"/>
          <ac:cxnSpMkLst>
            <pc:docMk/>
            <pc:sldMk cId="769219996" sldId="299"/>
            <ac:cxnSpMk id="71" creationId="{FED59DB1-9C8C-EED6-E5B1-B874E6FD098D}"/>
          </ac:cxnSpMkLst>
        </pc:cxnChg>
        <pc:cxnChg chg="add mod ord">
          <ac:chgData name="Oğuz Öztekin" userId="33c0df0f-d5fe-4bda-8f43-141ad7af67e3" providerId="ADAL" clId="{48B824AD-1B2A-47A8-8D92-6FE6E622A650}" dt="2024-12-16T18:58:52.030" v="225573"/>
          <ac:cxnSpMkLst>
            <pc:docMk/>
            <pc:sldMk cId="769219996" sldId="299"/>
            <ac:cxnSpMk id="72" creationId="{2634B4A1-2170-6656-D5DC-AC94542D29C2}"/>
          </ac:cxnSpMkLst>
        </pc:cxnChg>
        <pc:cxnChg chg="add mod ord">
          <ac:chgData name="Oğuz Öztekin" userId="33c0df0f-d5fe-4bda-8f43-141ad7af67e3" providerId="ADAL" clId="{48B824AD-1B2A-47A8-8D92-6FE6E622A650}" dt="2024-12-16T18:58:52.030" v="225575"/>
          <ac:cxnSpMkLst>
            <pc:docMk/>
            <pc:sldMk cId="769219996" sldId="299"/>
            <ac:cxnSpMk id="73" creationId="{837B1824-93F0-BE4D-6731-9FC8BB4E013E}"/>
          </ac:cxnSpMkLst>
        </pc:cxnChg>
        <pc:cxnChg chg="add del mod ord">
          <ac:chgData name="Oğuz Öztekin" userId="33c0df0f-d5fe-4bda-8f43-141ad7af67e3" providerId="ADAL" clId="{48B824AD-1B2A-47A8-8D92-6FE6E622A650}" dt="2024-12-16T18:58:51.887" v="225258"/>
          <ac:cxnSpMkLst>
            <pc:docMk/>
            <pc:sldMk cId="769219996" sldId="299"/>
            <ac:cxnSpMk id="74" creationId="{66298362-9F2E-9A99-B35C-720CDC66EB72}"/>
          </ac:cxnSpMkLst>
        </pc:cxnChg>
        <pc:cxnChg chg="add del mod ord">
          <ac:chgData name="Oğuz Öztekin" userId="33c0df0f-d5fe-4bda-8f43-141ad7af67e3" providerId="ADAL" clId="{48B824AD-1B2A-47A8-8D92-6FE6E622A650}" dt="2024-12-16T18:58:51.889" v="225261"/>
          <ac:cxnSpMkLst>
            <pc:docMk/>
            <pc:sldMk cId="769219996" sldId="299"/>
            <ac:cxnSpMk id="76" creationId="{0BC8F03E-3DFD-09F6-FEF1-7A76D134D518}"/>
          </ac:cxnSpMkLst>
        </pc:cxnChg>
        <pc:cxnChg chg="add del mod ord">
          <ac:chgData name="Oğuz Öztekin" userId="33c0df0f-d5fe-4bda-8f43-141ad7af67e3" providerId="ADAL" clId="{48B824AD-1B2A-47A8-8D92-6FE6E622A650}" dt="2024-12-16T18:58:51.890" v="225266"/>
          <ac:cxnSpMkLst>
            <pc:docMk/>
            <pc:sldMk cId="769219996" sldId="299"/>
            <ac:cxnSpMk id="77" creationId="{BBBA983C-4E4B-9C34-DB59-E15C178D7FD6}"/>
          </ac:cxnSpMkLst>
        </pc:cxnChg>
        <pc:cxnChg chg="add del mod ord">
          <ac:chgData name="Oğuz Öztekin" userId="33c0df0f-d5fe-4bda-8f43-141ad7af67e3" providerId="ADAL" clId="{48B824AD-1B2A-47A8-8D92-6FE6E622A650}" dt="2024-12-16T18:58:51.890" v="225264"/>
          <ac:cxnSpMkLst>
            <pc:docMk/>
            <pc:sldMk cId="769219996" sldId="299"/>
            <ac:cxnSpMk id="79" creationId="{8DE13D22-ED3A-F165-B0C0-D6DBDF4D9D34}"/>
          </ac:cxnSpMkLst>
        </pc:cxnChg>
        <pc:cxnChg chg="mod ord">
          <ac:chgData name="Oğuz Öztekin" userId="33c0df0f-d5fe-4bda-8f43-141ad7af67e3" providerId="ADAL" clId="{48B824AD-1B2A-47A8-8D92-6FE6E622A650}" dt="2024-12-16T18:58:52.027" v="225555"/>
          <ac:cxnSpMkLst>
            <pc:docMk/>
            <pc:sldMk cId="769219996" sldId="299"/>
            <ac:cxnSpMk id="80" creationId="{7A41B462-B6AF-441E-A1BD-470C2078748C}"/>
          </ac:cxnSpMkLst>
        </pc:cxnChg>
        <pc:cxnChg chg="add del mod ord">
          <ac:chgData name="Oğuz Öztekin" userId="33c0df0f-d5fe-4bda-8f43-141ad7af67e3" providerId="ADAL" clId="{48B824AD-1B2A-47A8-8D92-6FE6E622A650}" dt="2024-12-16T18:58:51.891" v="225271"/>
          <ac:cxnSpMkLst>
            <pc:docMk/>
            <pc:sldMk cId="769219996" sldId="299"/>
            <ac:cxnSpMk id="81" creationId="{DE4E57B1-AE38-B44B-05E4-3D4EF97E7779}"/>
          </ac:cxnSpMkLst>
        </pc:cxnChg>
        <pc:cxnChg chg="add del mod ord">
          <ac:chgData name="Oğuz Öztekin" userId="33c0df0f-d5fe-4bda-8f43-141ad7af67e3" providerId="ADAL" clId="{48B824AD-1B2A-47A8-8D92-6FE6E622A650}" dt="2024-12-16T18:58:51.891" v="225269"/>
          <ac:cxnSpMkLst>
            <pc:docMk/>
            <pc:sldMk cId="769219996" sldId="299"/>
            <ac:cxnSpMk id="82" creationId="{7D27C837-8E5A-4EB5-B539-6A1005F166BA}"/>
          </ac:cxnSpMkLst>
        </pc:cxnChg>
        <pc:cxnChg chg="add del mod ord">
          <ac:chgData name="Oğuz Öztekin" userId="33c0df0f-d5fe-4bda-8f43-141ad7af67e3" providerId="ADAL" clId="{48B824AD-1B2A-47A8-8D92-6FE6E622A650}" dt="2024-12-16T18:58:51.893" v="225276"/>
          <ac:cxnSpMkLst>
            <pc:docMk/>
            <pc:sldMk cId="769219996" sldId="299"/>
            <ac:cxnSpMk id="83" creationId="{E6371108-F9E8-F347-5D51-152EC3017CE5}"/>
          </ac:cxnSpMkLst>
        </pc:cxnChg>
        <pc:cxnChg chg="add del mod ord">
          <ac:chgData name="Oğuz Öztekin" userId="33c0df0f-d5fe-4bda-8f43-141ad7af67e3" providerId="ADAL" clId="{48B824AD-1B2A-47A8-8D92-6FE6E622A650}" dt="2024-12-16T18:58:51.892" v="225274"/>
          <ac:cxnSpMkLst>
            <pc:docMk/>
            <pc:sldMk cId="769219996" sldId="299"/>
            <ac:cxnSpMk id="85" creationId="{3CDA462F-71DB-6B46-9C28-194CD7130ECF}"/>
          </ac:cxnSpMkLst>
        </pc:cxnChg>
        <pc:cxnChg chg="add del mod ord">
          <ac:chgData name="Oğuz Öztekin" userId="33c0df0f-d5fe-4bda-8f43-141ad7af67e3" providerId="ADAL" clId="{48B824AD-1B2A-47A8-8D92-6FE6E622A650}" dt="2024-12-16T18:58:51.895" v="225281"/>
          <ac:cxnSpMkLst>
            <pc:docMk/>
            <pc:sldMk cId="769219996" sldId="299"/>
            <ac:cxnSpMk id="86" creationId="{B7E548DD-9B27-D25E-E071-32BFEAB88731}"/>
          </ac:cxnSpMkLst>
        </pc:cxnChg>
        <pc:cxnChg chg="add del mod ord">
          <ac:chgData name="Oğuz Öztekin" userId="33c0df0f-d5fe-4bda-8f43-141ad7af67e3" providerId="ADAL" clId="{48B824AD-1B2A-47A8-8D92-6FE6E622A650}" dt="2024-12-16T18:58:51.894" v="225279"/>
          <ac:cxnSpMkLst>
            <pc:docMk/>
            <pc:sldMk cId="769219996" sldId="299"/>
            <ac:cxnSpMk id="87" creationId="{D0223D64-6091-8B91-D7A1-FCAC80F86CFA}"/>
          </ac:cxnSpMkLst>
        </pc:cxnChg>
        <pc:cxnChg chg="add del mod ord">
          <ac:chgData name="Oğuz Öztekin" userId="33c0df0f-d5fe-4bda-8f43-141ad7af67e3" providerId="ADAL" clId="{48B824AD-1B2A-47A8-8D92-6FE6E622A650}" dt="2024-12-16T18:58:51.895" v="225286"/>
          <ac:cxnSpMkLst>
            <pc:docMk/>
            <pc:sldMk cId="769219996" sldId="299"/>
            <ac:cxnSpMk id="88" creationId="{0E60981B-A555-CE4C-ECD2-455BAC541722}"/>
          </ac:cxnSpMkLst>
        </pc:cxnChg>
        <pc:cxnChg chg="add del mod ord">
          <ac:chgData name="Oğuz Öztekin" userId="33c0df0f-d5fe-4bda-8f43-141ad7af67e3" providerId="ADAL" clId="{48B824AD-1B2A-47A8-8D92-6FE6E622A650}" dt="2024-12-16T18:58:51.895" v="225284"/>
          <ac:cxnSpMkLst>
            <pc:docMk/>
            <pc:sldMk cId="769219996" sldId="299"/>
            <ac:cxnSpMk id="89" creationId="{1E83046A-D135-C695-A1B9-E58917EFFE56}"/>
          </ac:cxnSpMkLst>
        </pc:cxnChg>
        <pc:cxnChg chg="add del mod ord">
          <ac:chgData name="Oğuz Öztekin" userId="33c0df0f-d5fe-4bda-8f43-141ad7af67e3" providerId="ADAL" clId="{48B824AD-1B2A-47A8-8D92-6FE6E622A650}" dt="2024-12-16T18:58:51.897" v="225291"/>
          <ac:cxnSpMkLst>
            <pc:docMk/>
            <pc:sldMk cId="769219996" sldId="299"/>
            <ac:cxnSpMk id="90" creationId="{798BEC1D-AD8D-0FF2-A19D-3A59F6E69269}"/>
          </ac:cxnSpMkLst>
        </pc:cxnChg>
        <pc:cxnChg chg="add del mod ord">
          <ac:chgData name="Oğuz Öztekin" userId="33c0df0f-d5fe-4bda-8f43-141ad7af67e3" providerId="ADAL" clId="{48B824AD-1B2A-47A8-8D92-6FE6E622A650}" dt="2024-12-16T18:58:51.897" v="225289"/>
          <ac:cxnSpMkLst>
            <pc:docMk/>
            <pc:sldMk cId="769219996" sldId="299"/>
            <ac:cxnSpMk id="91" creationId="{F8E2EA32-64F0-57DA-8A06-DCFC77D38AE9}"/>
          </ac:cxnSpMkLst>
        </pc:cxnChg>
        <pc:cxnChg chg="add del mod ord">
          <ac:chgData name="Oğuz Öztekin" userId="33c0df0f-d5fe-4bda-8f43-141ad7af67e3" providerId="ADAL" clId="{48B824AD-1B2A-47A8-8D92-6FE6E622A650}" dt="2024-12-16T18:58:51.899" v="225296"/>
          <ac:cxnSpMkLst>
            <pc:docMk/>
            <pc:sldMk cId="769219996" sldId="299"/>
            <ac:cxnSpMk id="92" creationId="{BB6FEF1C-03F1-4174-F1D7-2B52D00269AF}"/>
          </ac:cxnSpMkLst>
        </pc:cxnChg>
        <pc:cxnChg chg="add del mod ord">
          <ac:chgData name="Oğuz Öztekin" userId="33c0df0f-d5fe-4bda-8f43-141ad7af67e3" providerId="ADAL" clId="{48B824AD-1B2A-47A8-8D92-6FE6E622A650}" dt="2024-12-16T18:58:51.898" v="225294"/>
          <ac:cxnSpMkLst>
            <pc:docMk/>
            <pc:sldMk cId="769219996" sldId="299"/>
            <ac:cxnSpMk id="93" creationId="{B9084910-665C-37E9-2ADA-2DB141948120}"/>
          </ac:cxnSpMkLst>
        </pc:cxnChg>
        <pc:cxnChg chg="add del mod ord">
          <ac:chgData name="Oğuz Öztekin" userId="33c0df0f-d5fe-4bda-8f43-141ad7af67e3" providerId="ADAL" clId="{48B824AD-1B2A-47A8-8D92-6FE6E622A650}" dt="2024-12-16T18:58:51.899" v="225301"/>
          <ac:cxnSpMkLst>
            <pc:docMk/>
            <pc:sldMk cId="769219996" sldId="299"/>
            <ac:cxnSpMk id="95" creationId="{7BD5AD0D-6624-6734-6AC1-E5CF8B0D135A}"/>
          </ac:cxnSpMkLst>
        </pc:cxnChg>
        <pc:cxnChg chg="add del mod ord">
          <ac:chgData name="Oğuz Öztekin" userId="33c0df0f-d5fe-4bda-8f43-141ad7af67e3" providerId="ADAL" clId="{48B824AD-1B2A-47A8-8D92-6FE6E622A650}" dt="2024-12-16T18:58:51.899" v="225299"/>
          <ac:cxnSpMkLst>
            <pc:docMk/>
            <pc:sldMk cId="769219996" sldId="299"/>
            <ac:cxnSpMk id="288" creationId="{2790320C-CFC2-8AFE-7636-612724BB5505}"/>
          </ac:cxnSpMkLst>
        </pc:cxnChg>
        <pc:cxnChg chg="add del mod ord">
          <ac:chgData name="Oğuz Öztekin" userId="33c0df0f-d5fe-4bda-8f43-141ad7af67e3" providerId="ADAL" clId="{48B824AD-1B2A-47A8-8D92-6FE6E622A650}" dt="2024-12-16T18:58:51.899" v="225306"/>
          <ac:cxnSpMkLst>
            <pc:docMk/>
            <pc:sldMk cId="769219996" sldId="299"/>
            <ac:cxnSpMk id="289" creationId="{18642185-AF0F-8039-A87E-3666FCB4A583}"/>
          </ac:cxnSpMkLst>
        </pc:cxnChg>
        <pc:cxnChg chg="add del mod ord">
          <ac:chgData name="Oğuz Öztekin" userId="33c0df0f-d5fe-4bda-8f43-141ad7af67e3" providerId="ADAL" clId="{48B824AD-1B2A-47A8-8D92-6FE6E622A650}" dt="2024-12-16T18:58:51.899" v="225304"/>
          <ac:cxnSpMkLst>
            <pc:docMk/>
            <pc:sldMk cId="769219996" sldId="299"/>
            <ac:cxnSpMk id="290" creationId="{0EDBCD85-0330-CE98-AE6A-FF1AB041FA5F}"/>
          </ac:cxnSpMkLst>
        </pc:cxnChg>
        <pc:cxnChg chg="add del mod ord">
          <ac:chgData name="Oğuz Öztekin" userId="33c0df0f-d5fe-4bda-8f43-141ad7af67e3" providerId="ADAL" clId="{48B824AD-1B2A-47A8-8D92-6FE6E622A650}" dt="2024-12-16T18:58:51.902" v="225311"/>
          <ac:cxnSpMkLst>
            <pc:docMk/>
            <pc:sldMk cId="769219996" sldId="299"/>
            <ac:cxnSpMk id="291" creationId="{BBF82AED-59CA-CD27-7B19-81029DD86D3E}"/>
          </ac:cxnSpMkLst>
        </pc:cxnChg>
        <pc:cxnChg chg="add del mod ord">
          <ac:chgData name="Oğuz Öztekin" userId="33c0df0f-d5fe-4bda-8f43-141ad7af67e3" providerId="ADAL" clId="{48B824AD-1B2A-47A8-8D92-6FE6E622A650}" dt="2024-12-16T18:58:51.899" v="225309"/>
          <ac:cxnSpMkLst>
            <pc:docMk/>
            <pc:sldMk cId="769219996" sldId="299"/>
            <ac:cxnSpMk id="292" creationId="{838EF09D-10B9-673B-684C-FA2031526F7C}"/>
          </ac:cxnSpMkLst>
        </pc:cxnChg>
        <pc:cxnChg chg="add del mod ord">
          <ac:chgData name="Oğuz Öztekin" userId="33c0df0f-d5fe-4bda-8f43-141ad7af67e3" providerId="ADAL" clId="{48B824AD-1B2A-47A8-8D92-6FE6E622A650}" dt="2024-12-16T18:58:51.902" v="225316"/>
          <ac:cxnSpMkLst>
            <pc:docMk/>
            <pc:sldMk cId="769219996" sldId="299"/>
            <ac:cxnSpMk id="293" creationId="{BDE416E9-7E19-9146-1687-BEE6218EAEF7}"/>
          </ac:cxnSpMkLst>
        </pc:cxnChg>
        <pc:cxnChg chg="add del mod ord">
          <ac:chgData name="Oğuz Öztekin" userId="33c0df0f-d5fe-4bda-8f43-141ad7af67e3" providerId="ADAL" clId="{48B824AD-1B2A-47A8-8D92-6FE6E622A650}" dt="2024-12-16T18:58:51.902" v="225314"/>
          <ac:cxnSpMkLst>
            <pc:docMk/>
            <pc:sldMk cId="769219996" sldId="299"/>
            <ac:cxnSpMk id="294" creationId="{3F27D942-781F-9174-FA4B-4FA7093E4428}"/>
          </ac:cxnSpMkLst>
        </pc:cxnChg>
        <pc:cxnChg chg="add del mod ord">
          <ac:chgData name="Oğuz Öztekin" userId="33c0df0f-d5fe-4bda-8f43-141ad7af67e3" providerId="ADAL" clId="{48B824AD-1B2A-47A8-8D92-6FE6E622A650}" dt="2024-12-16T18:58:51.902" v="225321"/>
          <ac:cxnSpMkLst>
            <pc:docMk/>
            <pc:sldMk cId="769219996" sldId="299"/>
            <ac:cxnSpMk id="295" creationId="{D8ADBC4F-EFC0-24E9-2364-819D909796F4}"/>
          </ac:cxnSpMkLst>
        </pc:cxnChg>
        <pc:cxnChg chg="add del mod ord">
          <ac:chgData name="Oğuz Öztekin" userId="33c0df0f-d5fe-4bda-8f43-141ad7af67e3" providerId="ADAL" clId="{48B824AD-1B2A-47A8-8D92-6FE6E622A650}" dt="2024-12-16T18:58:51.902" v="225319"/>
          <ac:cxnSpMkLst>
            <pc:docMk/>
            <pc:sldMk cId="769219996" sldId="299"/>
            <ac:cxnSpMk id="296" creationId="{4A6D8EAA-C747-575B-F850-FA10F98A4976}"/>
          </ac:cxnSpMkLst>
        </pc:cxnChg>
        <pc:cxnChg chg="add del mod ord">
          <ac:chgData name="Oğuz Öztekin" userId="33c0df0f-d5fe-4bda-8f43-141ad7af67e3" providerId="ADAL" clId="{48B824AD-1B2A-47A8-8D92-6FE6E622A650}" dt="2024-12-16T18:58:51.905" v="225326"/>
          <ac:cxnSpMkLst>
            <pc:docMk/>
            <pc:sldMk cId="769219996" sldId="299"/>
            <ac:cxnSpMk id="297" creationId="{59F8D7E2-4B92-6AA0-7EC2-5C2F6205A4A4}"/>
          </ac:cxnSpMkLst>
        </pc:cxnChg>
        <pc:cxnChg chg="add del mod ord">
          <ac:chgData name="Oğuz Öztekin" userId="33c0df0f-d5fe-4bda-8f43-141ad7af67e3" providerId="ADAL" clId="{48B824AD-1B2A-47A8-8D92-6FE6E622A650}" dt="2024-12-16T18:58:51.905" v="225324"/>
          <ac:cxnSpMkLst>
            <pc:docMk/>
            <pc:sldMk cId="769219996" sldId="299"/>
            <ac:cxnSpMk id="298" creationId="{83151DB9-CB16-FACF-24CE-D4E9B0246592}"/>
          </ac:cxnSpMkLst>
        </pc:cxnChg>
        <pc:cxnChg chg="add del mod ord">
          <ac:chgData name="Oğuz Öztekin" userId="33c0df0f-d5fe-4bda-8f43-141ad7af67e3" providerId="ADAL" clId="{48B824AD-1B2A-47A8-8D92-6FE6E622A650}" dt="2024-12-16T18:58:51.907" v="225331"/>
          <ac:cxnSpMkLst>
            <pc:docMk/>
            <pc:sldMk cId="769219996" sldId="299"/>
            <ac:cxnSpMk id="299" creationId="{8E50CCD7-9BF0-4CE5-91A4-631796730B90}"/>
          </ac:cxnSpMkLst>
        </pc:cxnChg>
        <pc:cxnChg chg="add del mod ord">
          <ac:chgData name="Oğuz Öztekin" userId="33c0df0f-d5fe-4bda-8f43-141ad7af67e3" providerId="ADAL" clId="{48B824AD-1B2A-47A8-8D92-6FE6E622A650}" dt="2024-12-16T18:58:51.907" v="225329"/>
          <ac:cxnSpMkLst>
            <pc:docMk/>
            <pc:sldMk cId="769219996" sldId="299"/>
            <ac:cxnSpMk id="301" creationId="{75D0800D-E6D1-2CBF-7A02-CB910EE1C4BF}"/>
          </ac:cxnSpMkLst>
        </pc:cxnChg>
        <pc:cxnChg chg="add del mod ord">
          <ac:chgData name="Oğuz Öztekin" userId="33c0df0f-d5fe-4bda-8f43-141ad7af67e3" providerId="ADAL" clId="{48B824AD-1B2A-47A8-8D92-6FE6E622A650}" dt="2024-12-16T18:58:51.909" v="225336"/>
          <ac:cxnSpMkLst>
            <pc:docMk/>
            <pc:sldMk cId="769219996" sldId="299"/>
            <ac:cxnSpMk id="302" creationId="{FC05D2AE-9829-84E7-C6E6-0151A5BBBD9D}"/>
          </ac:cxnSpMkLst>
        </pc:cxnChg>
        <pc:cxnChg chg="add del mod ord">
          <ac:chgData name="Oğuz Öztekin" userId="33c0df0f-d5fe-4bda-8f43-141ad7af67e3" providerId="ADAL" clId="{48B824AD-1B2A-47A8-8D92-6FE6E622A650}" dt="2024-12-16T18:58:51.909" v="225334"/>
          <ac:cxnSpMkLst>
            <pc:docMk/>
            <pc:sldMk cId="769219996" sldId="299"/>
            <ac:cxnSpMk id="304" creationId="{DA4A603A-0936-83A3-6852-0BF1A437BBD9}"/>
          </ac:cxnSpMkLst>
        </pc:cxnChg>
        <pc:cxnChg chg="add del mod ord">
          <ac:chgData name="Oğuz Öztekin" userId="33c0df0f-d5fe-4bda-8f43-141ad7af67e3" providerId="ADAL" clId="{48B824AD-1B2A-47A8-8D92-6FE6E622A650}" dt="2024-12-16T18:58:51.910" v="225341"/>
          <ac:cxnSpMkLst>
            <pc:docMk/>
            <pc:sldMk cId="769219996" sldId="299"/>
            <ac:cxnSpMk id="305" creationId="{675D683C-5F43-D1A3-C8A4-049A761F5428}"/>
          </ac:cxnSpMkLst>
        </pc:cxnChg>
        <pc:cxnChg chg="add del mod ord">
          <ac:chgData name="Oğuz Öztekin" userId="33c0df0f-d5fe-4bda-8f43-141ad7af67e3" providerId="ADAL" clId="{48B824AD-1B2A-47A8-8D92-6FE6E622A650}" dt="2024-12-16T18:58:51.910" v="225339"/>
          <ac:cxnSpMkLst>
            <pc:docMk/>
            <pc:sldMk cId="769219996" sldId="299"/>
            <ac:cxnSpMk id="306" creationId="{AE5A241D-272D-77C2-85B3-DC6579761E36}"/>
          </ac:cxnSpMkLst>
        </pc:cxnChg>
        <pc:cxnChg chg="add del mod ord">
          <ac:chgData name="Oğuz Öztekin" userId="33c0df0f-d5fe-4bda-8f43-141ad7af67e3" providerId="ADAL" clId="{48B824AD-1B2A-47A8-8D92-6FE6E622A650}" dt="2024-12-16T18:58:51.911" v="225346"/>
          <ac:cxnSpMkLst>
            <pc:docMk/>
            <pc:sldMk cId="769219996" sldId="299"/>
            <ac:cxnSpMk id="307" creationId="{AB390694-7DAD-861B-2005-8708A72EC551}"/>
          </ac:cxnSpMkLst>
        </pc:cxnChg>
        <pc:cxnChg chg="add del mod ord">
          <ac:chgData name="Oğuz Öztekin" userId="33c0df0f-d5fe-4bda-8f43-141ad7af67e3" providerId="ADAL" clId="{48B824AD-1B2A-47A8-8D92-6FE6E622A650}" dt="2024-12-16T18:58:51.911" v="225344"/>
          <ac:cxnSpMkLst>
            <pc:docMk/>
            <pc:sldMk cId="769219996" sldId="299"/>
            <ac:cxnSpMk id="308" creationId="{32143387-6769-A722-0C8F-F8C78E02A1AC}"/>
          </ac:cxnSpMkLst>
        </pc:cxnChg>
        <pc:cxnChg chg="add del mod ord">
          <ac:chgData name="Oğuz Öztekin" userId="33c0df0f-d5fe-4bda-8f43-141ad7af67e3" providerId="ADAL" clId="{48B824AD-1B2A-47A8-8D92-6FE6E622A650}" dt="2024-12-16T18:58:51.912" v="225351"/>
          <ac:cxnSpMkLst>
            <pc:docMk/>
            <pc:sldMk cId="769219996" sldId="299"/>
            <ac:cxnSpMk id="309" creationId="{0199785A-12C6-0D41-8D80-532D6DC7F479}"/>
          </ac:cxnSpMkLst>
        </pc:cxnChg>
        <pc:cxnChg chg="add del mod ord">
          <ac:chgData name="Oğuz Öztekin" userId="33c0df0f-d5fe-4bda-8f43-141ad7af67e3" providerId="ADAL" clId="{48B824AD-1B2A-47A8-8D92-6FE6E622A650}" dt="2024-12-16T18:58:51.912" v="225349"/>
          <ac:cxnSpMkLst>
            <pc:docMk/>
            <pc:sldMk cId="769219996" sldId="299"/>
            <ac:cxnSpMk id="310" creationId="{0E2DFE37-0A8D-B3BC-55EB-40962DF53259}"/>
          </ac:cxnSpMkLst>
        </pc:cxnChg>
        <pc:cxnChg chg="add del mod ord">
          <ac:chgData name="Oğuz Öztekin" userId="33c0df0f-d5fe-4bda-8f43-141ad7af67e3" providerId="ADAL" clId="{48B824AD-1B2A-47A8-8D92-6FE6E622A650}" dt="2024-12-16T18:58:51.915" v="225356"/>
          <ac:cxnSpMkLst>
            <pc:docMk/>
            <pc:sldMk cId="769219996" sldId="299"/>
            <ac:cxnSpMk id="311" creationId="{B04C7A67-7220-8D77-4B06-A8BBB0E78DCA}"/>
          </ac:cxnSpMkLst>
        </pc:cxnChg>
        <pc:cxnChg chg="add del mod ord">
          <ac:chgData name="Oğuz Öztekin" userId="33c0df0f-d5fe-4bda-8f43-141ad7af67e3" providerId="ADAL" clId="{48B824AD-1B2A-47A8-8D92-6FE6E622A650}" dt="2024-12-16T18:58:51.914" v="225354"/>
          <ac:cxnSpMkLst>
            <pc:docMk/>
            <pc:sldMk cId="769219996" sldId="299"/>
            <ac:cxnSpMk id="312" creationId="{E42D7BA7-6790-B389-D071-E9798C5E1F72}"/>
          </ac:cxnSpMkLst>
        </pc:cxnChg>
        <pc:cxnChg chg="add del mod ord">
          <ac:chgData name="Oğuz Öztekin" userId="33c0df0f-d5fe-4bda-8f43-141ad7af67e3" providerId="ADAL" clId="{48B824AD-1B2A-47A8-8D92-6FE6E622A650}" dt="2024-12-16T18:58:51.916" v="225361"/>
          <ac:cxnSpMkLst>
            <pc:docMk/>
            <pc:sldMk cId="769219996" sldId="299"/>
            <ac:cxnSpMk id="313" creationId="{9B39B8BE-F4E9-2835-D28F-FD3C84AA6DA7}"/>
          </ac:cxnSpMkLst>
        </pc:cxnChg>
        <pc:cxnChg chg="add del mod ord">
          <ac:chgData name="Oğuz Öztekin" userId="33c0df0f-d5fe-4bda-8f43-141ad7af67e3" providerId="ADAL" clId="{48B824AD-1B2A-47A8-8D92-6FE6E622A650}" dt="2024-12-16T18:58:51.915" v="225359"/>
          <ac:cxnSpMkLst>
            <pc:docMk/>
            <pc:sldMk cId="769219996" sldId="299"/>
            <ac:cxnSpMk id="314" creationId="{005D4C86-C6DE-CD64-2AF7-824AD8C25093}"/>
          </ac:cxnSpMkLst>
        </pc:cxnChg>
        <pc:cxnChg chg="add del mod ord">
          <ac:chgData name="Oğuz Öztekin" userId="33c0df0f-d5fe-4bda-8f43-141ad7af67e3" providerId="ADAL" clId="{48B824AD-1B2A-47A8-8D92-6FE6E622A650}" dt="2024-12-16T18:58:51.918" v="225366"/>
          <ac:cxnSpMkLst>
            <pc:docMk/>
            <pc:sldMk cId="769219996" sldId="299"/>
            <ac:cxnSpMk id="315" creationId="{6898B05D-7B0C-E218-8169-ACDABA168FCC}"/>
          </ac:cxnSpMkLst>
        </pc:cxnChg>
        <pc:cxnChg chg="add del mod ord">
          <ac:chgData name="Oğuz Öztekin" userId="33c0df0f-d5fe-4bda-8f43-141ad7af67e3" providerId="ADAL" clId="{48B824AD-1B2A-47A8-8D92-6FE6E622A650}" dt="2024-12-16T18:58:51.917" v="225364"/>
          <ac:cxnSpMkLst>
            <pc:docMk/>
            <pc:sldMk cId="769219996" sldId="299"/>
            <ac:cxnSpMk id="316" creationId="{F7387493-C2DB-8F77-1A11-A7D69CFA7982}"/>
          </ac:cxnSpMkLst>
        </pc:cxnChg>
        <pc:cxnChg chg="add del mod ord">
          <ac:chgData name="Oğuz Öztekin" userId="33c0df0f-d5fe-4bda-8f43-141ad7af67e3" providerId="ADAL" clId="{48B824AD-1B2A-47A8-8D92-6FE6E622A650}" dt="2024-12-16T18:58:51.919" v="225371"/>
          <ac:cxnSpMkLst>
            <pc:docMk/>
            <pc:sldMk cId="769219996" sldId="299"/>
            <ac:cxnSpMk id="317" creationId="{B727EE21-A838-E373-23C7-0AD0F6D7E46E}"/>
          </ac:cxnSpMkLst>
        </pc:cxnChg>
        <pc:cxnChg chg="add del mod ord">
          <ac:chgData name="Oğuz Öztekin" userId="33c0df0f-d5fe-4bda-8f43-141ad7af67e3" providerId="ADAL" clId="{48B824AD-1B2A-47A8-8D92-6FE6E622A650}" dt="2024-12-16T18:58:51.918" v="225369"/>
          <ac:cxnSpMkLst>
            <pc:docMk/>
            <pc:sldMk cId="769219996" sldId="299"/>
            <ac:cxnSpMk id="318" creationId="{099D89A2-39BF-C9AC-794F-E987350A4D51}"/>
          </ac:cxnSpMkLst>
        </pc:cxnChg>
        <pc:cxnChg chg="add del mod ord">
          <ac:chgData name="Oğuz Öztekin" userId="33c0df0f-d5fe-4bda-8f43-141ad7af67e3" providerId="ADAL" clId="{48B824AD-1B2A-47A8-8D92-6FE6E622A650}" dt="2024-12-16T18:58:51.920" v="225376"/>
          <ac:cxnSpMkLst>
            <pc:docMk/>
            <pc:sldMk cId="769219996" sldId="299"/>
            <ac:cxnSpMk id="319" creationId="{51A961E1-466D-7798-4E71-C3C99F5A2752}"/>
          </ac:cxnSpMkLst>
        </pc:cxnChg>
        <pc:cxnChg chg="mod ord">
          <ac:chgData name="Oğuz Öztekin" userId="33c0df0f-d5fe-4bda-8f43-141ad7af67e3" providerId="ADAL" clId="{48B824AD-1B2A-47A8-8D92-6FE6E622A650}" dt="2024-12-16T18:58:52.028" v="225557"/>
          <ac:cxnSpMkLst>
            <pc:docMk/>
            <pc:sldMk cId="769219996" sldId="299"/>
            <ac:cxnSpMk id="320" creationId="{2950C6C0-4874-D073-512C-52C9E82A0E17}"/>
          </ac:cxnSpMkLst>
        </pc:cxnChg>
        <pc:cxnChg chg="add del mod ord">
          <ac:chgData name="Oğuz Öztekin" userId="33c0df0f-d5fe-4bda-8f43-141ad7af67e3" providerId="ADAL" clId="{48B824AD-1B2A-47A8-8D92-6FE6E622A650}" dt="2024-12-16T18:58:51.920" v="225374"/>
          <ac:cxnSpMkLst>
            <pc:docMk/>
            <pc:sldMk cId="769219996" sldId="299"/>
            <ac:cxnSpMk id="321" creationId="{4D07D002-D086-50AA-606D-E0A1649B62A2}"/>
          </ac:cxnSpMkLst>
        </pc:cxnChg>
        <pc:cxnChg chg="add del mod ord">
          <ac:chgData name="Oğuz Öztekin" userId="33c0df0f-d5fe-4bda-8f43-141ad7af67e3" providerId="ADAL" clId="{48B824AD-1B2A-47A8-8D92-6FE6E622A650}" dt="2024-12-16T18:58:51.921" v="225381"/>
          <ac:cxnSpMkLst>
            <pc:docMk/>
            <pc:sldMk cId="769219996" sldId="299"/>
            <ac:cxnSpMk id="322" creationId="{A9BCB9B4-B9F0-2CAC-3A6E-11449B84BB04}"/>
          </ac:cxnSpMkLst>
        </pc:cxnChg>
        <pc:cxnChg chg="add del mod ord">
          <ac:chgData name="Oğuz Öztekin" userId="33c0df0f-d5fe-4bda-8f43-141ad7af67e3" providerId="ADAL" clId="{48B824AD-1B2A-47A8-8D92-6FE6E622A650}" dt="2024-12-16T18:58:51.921" v="225379"/>
          <ac:cxnSpMkLst>
            <pc:docMk/>
            <pc:sldMk cId="769219996" sldId="299"/>
            <ac:cxnSpMk id="323" creationId="{9BBEF19B-45E3-924B-7514-33D9637FD6BD}"/>
          </ac:cxnSpMkLst>
        </pc:cxnChg>
        <pc:cxnChg chg="mod ord">
          <ac:chgData name="Oğuz Öztekin" userId="33c0df0f-d5fe-4bda-8f43-141ad7af67e3" providerId="ADAL" clId="{48B824AD-1B2A-47A8-8D92-6FE6E622A650}" dt="2024-12-16T18:58:52.028" v="225567"/>
          <ac:cxnSpMkLst>
            <pc:docMk/>
            <pc:sldMk cId="769219996" sldId="299"/>
            <ac:cxnSpMk id="333" creationId="{4F9C7B68-80B7-14C7-D994-8C826C38E36C}"/>
          </ac:cxnSpMkLst>
        </pc:cxnChg>
        <pc:cxnChg chg="mod ord">
          <ac:chgData name="Oğuz Öztekin" userId="33c0df0f-d5fe-4bda-8f43-141ad7af67e3" providerId="ADAL" clId="{48B824AD-1B2A-47A8-8D92-6FE6E622A650}" dt="2024-12-16T18:58:52.030" v="225569"/>
          <ac:cxnSpMkLst>
            <pc:docMk/>
            <pc:sldMk cId="769219996" sldId="299"/>
            <ac:cxnSpMk id="334" creationId="{E53A29B7-C09B-C9AD-7ADB-B18912065E78}"/>
          </ac:cxnSpMkLst>
        </pc:cxnChg>
        <pc:cxnChg chg="del mod ord">
          <ac:chgData name="Oğuz Öztekin" userId="33c0df0f-d5fe-4bda-8f43-141ad7af67e3" providerId="ADAL" clId="{48B824AD-1B2A-47A8-8D92-6FE6E622A650}" dt="2024-12-16T18:58:51.995" v="225494"/>
          <ac:cxnSpMkLst>
            <pc:docMk/>
            <pc:sldMk cId="769219996" sldId="299"/>
            <ac:cxnSpMk id="339" creationId="{E1AD22F2-EAC1-A068-B245-53EFD767CA12}"/>
          </ac:cxnSpMkLst>
        </pc:cxnChg>
        <pc:cxnChg chg="del mod ord">
          <ac:chgData name="Oğuz Öztekin" userId="33c0df0f-d5fe-4bda-8f43-141ad7af67e3" providerId="ADAL" clId="{48B824AD-1B2A-47A8-8D92-6FE6E622A650}" dt="2024-12-16T18:58:51.995" v="225492"/>
          <ac:cxnSpMkLst>
            <pc:docMk/>
            <pc:sldMk cId="769219996" sldId="299"/>
            <ac:cxnSpMk id="340" creationId="{64611356-DB59-E237-6722-5F8E39E87D49}"/>
          </ac:cxnSpMkLst>
        </pc:cxnChg>
        <pc:cxnChg chg="mod ord">
          <ac:chgData name="Oğuz Öztekin" userId="33c0df0f-d5fe-4bda-8f43-141ad7af67e3" providerId="ADAL" clId="{48B824AD-1B2A-47A8-8D92-6FE6E622A650}" dt="2024-12-16T18:58:52.028" v="225559"/>
          <ac:cxnSpMkLst>
            <pc:docMk/>
            <pc:sldMk cId="769219996" sldId="299"/>
            <ac:cxnSpMk id="341" creationId="{45CC32AF-90D8-3E0E-1975-E45F5E6E006E}"/>
          </ac:cxnSpMkLst>
        </pc:cxnChg>
        <pc:cxnChg chg="mod ord">
          <ac:chgData name="Oğuz Öztekin" userId="33c0df0f-d5fe-4bda-8f43-141ad7af67e3" providerId="ADAL" clId="{48B824AD-1B2A-47A8-8D92-6FE6E622A650}" dt="2024-12-16T18:58:52.028" v="225561"/>
          <ac:cxnSpMkLst>
            <pc:docMk/>
            <pc:sldMk cId="769219996" sldId="299"/>
            <ac:cxnSpMk id="342" creationId="{6D7AA887-2B3E-2C3E-AB97-B0680FAC9354}"/>
          </ac:cxnSpMkLst>
        </pc:cxnChg>
        <pc:cxnChg chg="add del mod ord">
          <ac:chgData name="Oğuz Öztekin" userId="33c0df0f-d5fe-4bda-8f43-141ad7af67e3" providerId="ADAL" clId="{48B824AD-1B2A-47A8-8D92-6FE6E622A650}" dt="2024-12-16T18:58:51.922" v="225386"/>
          <ac:cxnSpMkLst>
            <pc:docMk/>
            <pc:sldMk cId="769219996" sldId="299"/>
            <ac:cxnSpMk id="349" creationId="{9F74016B-46B6-1ED9-DB6E-8ABD73D1CE30}"/>
          </ac:cxnSpMkLst>
        </pc:cxnChg>
        <pc:cxnChg chg="add del mod ord">
          <ac:chgData name="Oğuz Öztekin" userId="33c0df0f-d5fe-4bda-8f43-141ad7af67e3" providerId="ADAL" clId="{48B824AD-1B2A-47A8-8D92-6FE6E622A650}" dt="2024-12-16T18:58:51.922" v="225384"/>
          <ac:cxnSpMkLst>
            <pc:docMk/>
            <pc:sldMk cId="769219996" sldId="299"/>
            <ac:cxnSpMk id="350" creationId="{6E5282A4-E0EB-4CF5-CAE5-58B5FA0ADC0B}"/>
          </ac:cxnSpMkLst>
        </pc:cxnChg>
        <pc:cxnChg chg="add del mod ord">
          <ac:chgData name="Oğuz Öztekin" userId="33c0df0f-d5fe-4bda-8f43-141ad7af67e3" providerId="ADAL" clId="{48B824AD-1B2A-47A8-8D92-6FE6E622A650}" dt="2024-12-16T18:58:51.923" v="225391"/>
          <ac:cxnSpMkLst>
            <pc:docMk/>
            <pc:sldMk cId="769219996" sldId="299"/>
            <ac:cxnSpMk id="351" creationId="{AA89BEB2-4223-EDAD-B723-FE92C102FF63}"/>
          </ac:cxnSpMkLst>
        </pc:cxnChg>
        <pc:cxnChg chg="add del mod ord">
          <ac:chgData name="Oğuz Öztekin" userId="33c0df0f-d5fe-4bda-8f43-141ad7af67e3" providerId="ADAL" clId="{48B824AD-1B2A-47A8-8D92-6FE6E622A650}" dt="2024-12-16T18:58:51.923" v="225389"/>
          <ac:cxnSpMkLst>
            <pc:docMk/>
            <pc:sldMk cId="769219996" sldId="299"/>
            <ac:cxnSpMk id="353" creationId="{4B856A87-7118-92CF-FBE8-C5398A2AB6BD}"/>
          </ac:cxnSpMkLst>
        </pc:cxnChg>
        <pc:cxnChg chg="del mod ord">
          <ac:chgData name="Oğuz Öztekin" userId="33c0df0f-d5fe-4bda-8f43-141ad7af67e3" providerId="ADAL" clId="{48B824AD-1B2A-47A8-8D92-6FE6E622A650}" dt="2024-12-16T18:58:51.988" v="225476"/>
          <ac:cxnSpMkLst>
            <pc:docMk/>
            <pc:sldMk cId="769219996" sldId="299"/>
            <ac:cxnSpMk id="354" creationId="{D892306A-2733-E908-A93D-1C36F39B36B9}"/>
          </ac:cxnSpMkLst>
        </pc:cxnChg>
        <pc:cxnChg chg="mod ord">
          <ac:chgData name="Oğuz Öztekin" userId="33c0df0f-d5fe-4bda-8f43-141ad7af67e3" providerId="ADAL" clId="{48B824AD-1B2A-47A8-8D92-6FE6E622A650}" dt="2024-12-16T18:58:52.028" v="225563"/>
          <ac:cxnSpMkLst>
            <pc:docMk/>
            <pc:sldMk cId="769219996" sldId="299"/>
            <ac:cxnSpMk id="355" creationId="{D93B24BA-F73D-F784-A859-7EAA53D1BA13}"/>
          </ac:cxnSpMkLst>
        </pc:cxnChg>
        <pc:cxnChg chg="mod ord">
          <ac:chgData name="Oğuz Öztekin" userId="33c0df0f-d5fe-4bda-8f43-141ad7af67e3" providerId="ADAL" clId="{48B824AD-1B2A-47A8-8D92-6FE6E622A650}" dt="2024-12-16T18:58:52.028" v="225565"/>
          <ac:cxnSpMkLst>
            <pc:docMk/>
            <pc:sldMk cId="769219996" sldId="299"/>
            <ac:cxnSpMk id="356" creationId="{21C74A54-445B-E16D-369C-2DCF62A35731}"/>
          </ac:cxnSpMkLst>
        </pc:cxnChg>
        <pc:cxnChg chg="add del mod ord">
          <ac:chgData name="Oğuz Öztekin" userId="33c0df0f-d5fe-4bda-8f43-141ad7af67e3" providerId="ADAL" clId="{48B824AD-1B2A-47A8-8D92-6FE6E622A650}" dt="2024-12-16T18:58:51.925" v="225396"/>
          <ac:cxnSpMkLst>
            <pc:docMk/>
            <pc:sldMk cId="769219996" sldId="299"/>
            <ac:cxnSpMk id="357" creationId="{DF5310E4-C883-B97B-ACE8-950655CC4A36}"/>
          </ac:cxnSpMkLst>
        </pc:cxnChg>
        <pc:cxnChg chg="add del mod ord">
          <ac:chgData name="Oğuz Öztekin" userId="33c0df0f-d5fe-4bda-8f43-141ad7af67e3" providerId="ADAL" clId="{48B824AD-1B2A-47A8-8D92-6FE6E622A650}" dt="2024-12-16T18:58:51.925" v="225394"/>
          <ac:cxnSpMkLst>
            <pc:docMk/>
            <pc:sldMk cId="769219996" sldId="299"/>
            <ac:cxnSpMk id="358" creationId="{0658E19B-75BA-8A08-3FCE-DDA0B849F330}"/>
          </ac:cxnSpMkLst>
        </pc:cxnChg>
        <pc:cxnChg chg="add del mod ord">
          <ac:chgData name="Oğuz Öztekin" userId="33c0df0f-d5fe-4bda-8f43-141ad7af67e3" providerId="ADAL" clId="{48B824AD-1B2A-47A8-8D92-6FE6E622A650}" dt="2024-12-16T18:58:51.927" v="225401"/>
          <ac:cxnSpMkLst>
            <pc:docMk/>
            <pc:sldMk cId="769219996" sldId="299"/>
            <ac:cxnSpMk id="359" creationId="{AE763FD0-9FD3-B3CA-9720-5D4C2A6FF232}"/>
          </ac:cxnSpMkLst>
        </pc:cxnChg>
        <pc:cxnChg chg="add del mod ord">
          <ac:chgData name="Oğuz Öztekin" userId="33c0df0f-d5fe-4bda-8f43-141ad7af67e3" providerId="ADAL" clId="{48B824AD-1B2A-47A8-8D92-6FE6E622A650}" dt="2024-12-16T18:58:51.927" v="225399"/>
          <ac:cxnSpMkLst>
            <pc:docMk/>
            <pc:sldMk cId="769219996" sldId="299"/>
            <ac:cxnSpMk id="360" creationId="{5E63B1E7-1FE8-495C-9778-691B408C8A17}"/>
          </ac:cxnSpMkLst>
        </pc:cxnChg>
        <pc:cxnChg chg="add del mod ord">
          <ac:chgData name="Oğuz Öztekin" userId="33c0df0f-d5fe-4bda-8f43-141ad7af67e3" providerId="ADAL" clId="{48B824AD-1B2A-47A8-8D92-6FE6E622A650}" dt="2024-12-16T18:58:51.929" v="225406"/>
          <ac:cxnSpMkLst>
            <pc:docMk/>
            <pc:sldMk cId="769219996" sldId="299"/>
            <ac:cxnSpMk id="361" creationId="{6835F1AA-3B6C-21B4-9B21-37F3DC4E3AD0}"/>
          </ac:cxnSpMkLst>
        </pc:cxnChg>
        <pc:cxnChg chg="add del mod ord">
          <ac:chgData name="Oğuz Öztekin" userId="33c0df0f-d5fe-4bda-8f43-141ad7af67e3" providerId="ADAL" clId="{48B824AD-1B2A-47A8-8D92-6FE6E622A650}" dt="2024-12-16T18:58:51.928" v="225404"/>
          <ac:cxnSpMkLst>
            <pc:docMk/>
            <pc:sldMk cId="769219996" sldId="299"/>
            <ac:cxnSpMk id="362" creationId="{FC11C57E-AADD-91A0-75C1-032CCBBE2B34}"/>
          </ac:cxnSpMkLst>
        </pc:cxnChg>
        <pc:cxnChg chg="add del mod ord">
          <ac:chgData name="Oğuz Öztekin" userId="33c0df0f-d5fe-4bda-8f43-141ad7af67e3" providerId="ADAL" clId="{48B824AD-1B2A-47A8-8D92-6FE6E622A650}" dt="2024-12-16T18:58:51.929" v="225411"/>
          <ac:cxnSpMkLst>
            <pc:docMk/>
            <pc:sldMk cId="769219996" sldId="299"/>
            <ac:cxnSpMk id="363" creationId="{B047599B-4965-0951-5F97-5D51829502C7}"/>
          </ac:cxnSpMkLst>
        </pc:cxnChg>
        <pc:cxnChg chg="add del mod ord">
          <ac:chgData name="Oğuz Öztekin" userId="33c0df0f-d5fe-4bda-8f43-141ad7af67e3" providerId="ADAL" clId="{48B824AD-1B2A-47A8-8D92-6FE6E622A650}" dt="2024-12-16T18:58:51.929" v="225409"/>
          <ac:cxnSpMkLst>
            <pc:docMk/>
            <pc:sldMk cId="769219996" sldId="299"/>
            <ac:cxnSpMk id="364" creationId="{B4E79FE8-1BED-5FF1-7D6F-F9598CA53B14}"/>
          </ac:cxnSpMkLst>
        </pc:cxnChg>
      </pc:sldChg>
      <pc:sldChg chg="del">
        <pc:chgData name="Oğuz Öztekin" userId="33c0df0f-d5fe-4bda-8f43-141ad7af67e3" providerId="ADAL" clId="{48B824AD-1B2A-47A8-8D92-6FE6E622A650}" dt="2024-12-16T09:07:31.365" v="15" actId="2696"/>
        <pc:sldMkLst>
          <pc:docMk/>
          <pc:sldMk cId="1169620162" sldId="300"/>
        </pc:sldMkLst>
      </pc:sldChg>
      <pc:sldChg chg="del">
        <pc:chgData name="Oğuz Öztekin" userId="33c0df0f-d5fe-4bda-8f43-141ad7af67e3" providerId="ADAL" clId="{48B824AD-1B2A-47A8-8D92-6FE6E622A650}" dt="2024-12-16T09:07:21.351" v="6" actId="2696"/>
        <pc:sldMkLst>
          <pc:docMk/>
          <pc:sldMk cId="322219125" sldId="301"/>
        </pc:sldMkLst>
      </pc:sldChg>
      <pc:sldChg chg="del">
        <pc:chgData name="Oğuz Öztekin" userId="33c0df0f-d5fe-4bda-8f43-141ad7af67e3" providerId="ADAL" clId="{48B824AD-1B2A-47A8-8D92-6FE6E622A650}" dt="2024-12-16T09:07:21.653" v="7" actId="2696"/>
        <pc:sldMkLst>
          <pc:docMk/>
          <pc:sldMk cId="3347764341" sldId="302"/>
        </pc:sldMkLst>
      </pc:sldChg>
      <pc:sldChg chg="del">
        <pc:chgData name="Oğuz Öztekin" userId="33c0df0f-d5fe-4bda-8f43-141ad7af67e3" providerId="ADAL" clId="{48B824AD-1B2A-47A8-8D92-6FE6E622A650}" dt="2024-12-16T09:07:22.184" v="9" actId="2696"/>
        <pc:sldMkLst>
          <pc:docMk/>
          <pc:sldMk cId="3423456175" sldId="303"/>
        </pc:sldMkLst>
      </pc:sldChg>
      <pc:sldChg chg="del">
        <pc:chgData name="Oğuz Öztekin" userId="33c0df0f-d5fe-4bda-8f43-141ad7af67e3" providerId="ADAL" clId="{48B824AD-1B2A-47A8-8D92-6FE6E622A650}" dt="2024-12-16T09:07:22.444" v="10" actId="2696"/>
        <pc:sldMkLst>
          <pc:docMk/>
          <pc:sldMk cId="4005765948" sldId="304"/>
        </pc:sldMkLst>
      </pc:sldChg>
      <pc:sldChg chg="del">
        <pc:chgData name="Oğuz Öztekin" userId="33c0df0f-d5fe-4bda-8f43-141ad7af67e3" providerId="ADAL" clId="{48B824AD-1B2A-47A8-8D92-6FE6E622A650}" dt="2024-12-16T09:07:22.707" v="11" actId="2696"/>
        <pc:sldMkLst>
          <pc:docMk/>
          <pc:sldMk cId="317251413" sldId="305"/>
        </pc:sldMkLst>
      </pc:sldChg>
      <pc:sldChg chg="del">
        <pc:chgData name="Oğuz Öztekin" userId="33c0df0f-d5fe-4bda-8f43-141ad7af67e3" providerId="ADAL" clId="{48B824AD-1B2A-47A8-8D92-6FE6E622A650}" dt="2024-12-16T09:07:31.739" v="16" actId="2696"/>
        <pc:sldMkLst>
          <pc:docMk/>
          <pc:sldMk cId="1748462351" sldId="307"/>
        </pc:sldMkLst>
      </pc:sldChg>
      <pc:sldChg chg="del">
        <pc:chgData name="Oğuz Öztekin" userId="33c0df0f-d5fe-4bda-8f43-141ad7af67e3" providerId="ADAL" clId="{48B824AD-1B2A-47A8-8D92-6FE6E622A650}" dt="2024-12-16T09:07:21.918" v="8" actId="2696"/>
        <pc:sldMkLst>
          <pc:docMk/>
          <pc:sldMk cId="1747725061" sldId="308"/>
        </pc:sldMkLst>
      </pc:sldChg>
      <pc:sldChg chg="del">
        <pc:chgData name="Oğuz Öztekin" userId="33c0df0f-d5fe-4bda-8f43-141ad7af67e3" providerId="ADAL" clId="{48B824AD-1B2A-47A8-8D92-6FE6E622A650}" dt="2024-12-16T09:07:22.942" v="12" actId="2696"/>
        <pc:sldMkLst>
          <pc:docMk/>
          <pc:sldMk cId="1902639763" sldId="309"/>
        </pc:sldMkLst>
      </pc:sldChg>
      <pc:sldChg chg="del">
        <pc:chgData name="Oğuz Öztekin" userId="33c0df0f-d5fe-4bda-8f43-141ad7af67e3" providerId="ADAL" clId="{48B824AD-1B2A-47A8-8D92-6FE6E622A650}" dt="2024-12-16T09:07:23.260" v="13" actId="2696"/>
        <pc:sldMkLst>
          <pc:docMk/>
          <pc:sldMk cId="3251755664" sldId="310"/>
        </pc:sldMkLst>
      </pc:sldChg>
      <pc:sldMasterChg chg="delSldLayout">
        <pc:chgData name="Oğuz Öztekin" userId="33c0df0f-d5fe-4bda-8f43-141ad7af67e3" providerId="ADAL" clId="{48B824AD-1B2A-47A8-8D92-6FE6E622A650}" dt="2024-12-16T11:06:10.011" v="44526" actId="47"/>
        <pc:sldMasterMkLst>
          <pc:docMk/>
          <pc:sldMasterMk cId="0" sldId="2147483648"/>
        </pc:sldMasterMkLst>
        <pc:sldLayoutChg chg="del">
          <pc:chgData name="Oğuz Öztekin" userId="33c0df0f-d5fe-4bda-8f43-141ad7af67e3" providerId="ADAL" clId="{48B824AD-1B2A-47A8-8D92-6FE6E622A650}" dt="2024-12-16T11:06:10.011" v="44526" actId="47"/>
          <pc:sldLayoutMkLst>
            <pc:docMk/>
            <pc:sldMasterMk cId="0" sldId="2147483648"/>
            <pc:sldLayoutMk cId="0" sldId="2147483651"/>
          </pc:sldLayoutMkLst>
        </pc:sldLayoutChg>
      </pc:sldMasterChg>
    </pc:docChg>
  </pc:docChgLst>
  <pc:docChgLst>
    <pc:chgData name="Batuhan Yelseli" userId="S::batuhan.yelseli@fintegral.com.tr::e1126a1f-d490-470b-80e9-57d2ed9dcaf7" providerId="AD" clId="Web-{81B4419E-5722-F022-551A-162271794161}"/>
    <pc:docChg chg="modSld">
      <pc:chgData name="Batuhan Yelseli" userId="S::batuhan.yelseli@fintegral.com.tr::e1126a1f-d490-470b-80e9-57d2ed9dcaf7" providerId="AD" clId="Web-{81B4419E-5722-F022-551A-162271794161}" dt="2024-12-06T10:43:38.258" v="52"/>
      <pc:docMkLst>
        <pc:docMk/>
      </pc:docMkLst>
      <pc:sldChg chg="modSp">
        <pc:chgData name="Batuhan Yelseli" userId="S::batuhan.yelseli@fintegral.com.tr::e1126a1f-d490-470b-80e9-57d2ed9dcaf7" providerId="AD" clId="Web-{81B4419E-5722-F022-551A-162271794161}" dt="2024-12-06T10:43:38.258" v="52"/>
        <pc:sldMkLst>
          <pc:docMk/>
          <pc:sldMk cId="3826332343" sldId="272"/>
        </pc:sldMkLst>
        <pc:graphicFrameChg chg="mod modGraphic">
          <ac:chgData name="Batuhan Yelseli" userId="S::batuhan.yelseli@fintegral.com.tr::e1126a1f-d490-470b-80e9-57d2ed9dcaf7" providerId="AD" clId="Web-{81B4419E-5722-F022-551A-162271794161}" dt="2024-12-06T10:43:38.258" v="52"/>
          <ac:graphicFrameMkLst>
            <pc:docMk/>
            <pc:sldMk cId="3826332343" sldId="272"/>
            <ac:graphicFrameMk id="11" creationId="{D4E86906-139D-83A2-B5DD-E2BE29B5B7E8}"/>
          </ac:graphicFrameMkLst>
        </pc:graphicFrameChg>
      </pc:sldChg>
    </pc:docChg>
  </pc:docChgLst>
  <pc:docChgLst>
    <pc:chgData name="Oğuz Öztekin" userId="33c0df0f-d5fe-4bda-8f43-141ad7af67e3" providerId="ADAL" clId="{7671717B-C626-45BA-B33A-078C0D9E0397}"/>
    <pc:docChg chg="undo custSel addSld delSld modSld">
      <pc:chgData name="Oğuz Öztekin" userId="33c0df0f-d5fe-4bda-8f43-141ad7af67e3" providerId="ADAL" clId="{7671717B-C626-45BA-B33A-078C0D9E0397}" dt="2024-12-13T10:12:40.936" v="1424" actId="1076"/>
      <pc:docMkLst>
        <pc:docMk/>
      </pc:docMkLst>
      <pc:sldChg chg="modSp mod">
        <pc:chgData name="Oğuz Öztekin" userId="33c0df0f-d5fe-4bda-8f43-141ad7af67e3" providerId="ADAL" clId="{7671717B-C626-45BA-B33A-078C0D9E0397}" dt="2024-12-12T06:31:00.429" v="640" actId="20577"/>
        <pc:sldMkLst>
          <pc:docMk/>
          <pc:sldMk cId="3866243125" sldId="265"/>
        </pc:sldMkLst>
        <pc:spChg chg="mod">
          <ac:chgData name="Oğuz Öztekin" userId="33c0df0f-d5fe-4bda-8f43-141ad7af67e3" providerId="ADAL" clId="{7671717B-C626-45BA-B33A-078C0D9E0397}" dt="2024-12-12T06:31:00.429" v="640" actId="20577"/>
          <ac:spMkLst>
            <pc:docMk/>
            <pc:sldMk cId="3866243125" sldId="265"/>
            <ac:spMk id="5" creationId="{9D6203CA-6F42-C419-8F75-E67705ED2CC5}"/>
          </ac:spMkLst>
        </pc:spChg>
      </pc:sldChg>
      <pc:sldChg chg="addSp delSp modSp mod">
        <pc:chgData name="Oğuz Öztekin" userId="33c0df0f-d5fe-4bda-8f43-141ad7af67e3" providerId="ADAL" clId="{7671717B-C626-45BA-B33A-078C0D9E0397}" dt="2024-12-12T11:46:30.259" v="1123" actId="21"/>
        <pc:sldMkLst>
          <pc:docMk/>
          <pc:sldMk cId="173792906" sldId="282"/>
        </pc:sldMkLst>
        <pc:spChg chg="add mod">
          <ac:chgData name="Oğuz Öztekin" userId="33c0df0f-d5fe-4bda-8f43-141ad7af67e3" providerId="ADAL" clId="{7671717B-C626-45BA-B33A-078C0D9E0397}" dt="2024-12-11T08:21:01.048" v="129" actId="20577"/>
          <ac:spMkLst>
            <pc:docMk/>
            <pc:sldMk cId="173792906" sldId="282"/>
            <ac:spMk id="3" creationId="{AA432986-BE33-C2A5-521B-A1B8AE172037}"/>
          </ac:spMkLst>
        </pc:spChg>
        <pc:spChg chg="add del mod">
          <ac:chgData name="Oğuz Öztekin" userId="33c0df0f-d5fe-4bda-8f43-141ad7af67e3" providerId="ADAL" clId="{7671717B-C626-45BA-B33A-078C0D9E0397}" dt="2024-12-12T10:20:34.965" v="645" actId="21"/>
          <ac:spMkLst>
            <pc:docMk/>
            <pc:sldMk cId="173792906" sldId="282"/>
            <ac:spMk id="4" creationId="{7E73011F-CC02-630B-8AC4-38EACC13EBC3}"/>
          </ac:spMkLst>
        </pc:spChg>
        <pc:spChg chg="add del mod">
          <ac:chgData name="Oğuz Öztekin" userId="33c0df0f-d5fe-4bda-8f43-141ad7af67e3" providerId="ADAL" clId="{7671717B-C626-45BA-B33A-078C0D9E0397}" dt="2024-12-12T11:46:11.880" v="1121" actId="478"/>
          <ac:spMkLst>
            <pc:docMk/>
            <pc:sldMk cId="173792906" sldId="282"/>
            <ac:spMk id="5" creationId="{8D914578-CD68-8277-980B-C821806E4F5B}"/>
          </ac:spMkLst>
        </pc:spChg>
        <pc:spChg chg="mod">
          <ac:chgData name="Oğuz Öztekin" userId="33c0df0f-d5fe-4bda-8f43-141ad7af67e3" providerId="ADAL" clId="{7671717B-C626-45BA-B33A-078C0D9E0397}" dt="2024-12-11T08:49:06.458" v="320" actId="404"/>
          <ac:spMkLst>
            <pc:docMk/>
            <pc:sldMk cId="173792906" sldId="282"/>
            <ac:spMk id="17" creationId="{89662DE6-4341-CDF2-B39E-79FEB5FFF5F9}"/>
          </ac:spMkLst>
        </pc:spChg>
        <pc:spChg chg="mod">
          <ac:chgData name="Oğuz Öztekin" userId="33c0df0f-d5fe-4bda-8f43-141ad7af67e3" providerId="ADAL" clId="{7671717B-C626-45BA-B33A-078C0D9E0397}" dt="2024-12-11T08:13:29.899" v="42" actId="1036"/>
          <ac:spMkLst>
            <pc:docMk/>
            <pc:sldMk cId="173792906" sldId="282"/>
            <ac:spMk id="22" creationId="{28D9B5E8-8955-AAD7-B852-46635913F1CF}"/>
          </ac:spMkLst>
        </pc:spChg>
        <pc:spChg chg="mod">
          <ac:chgData name="Oğuz Öztekin" userId="33c0df0f-d5fe-4bda-8f43-141ad7af67e3" providerId="ADAL" clId="{7671717B-C626-45BA-B33A-078C0D9E0397}" dt="2024-12-11T08:13:29.899" v="42" actId="1036"/>
          <ac:spMkLst>
            <pc:docMk/>
            <pc:sldMk cId="173792906" sldId="282"/>
            <ac:spMk id="23" creationId="{30954708-0DAB-0356-2C83-28A99F16B070}"/>
          </ac:spMkLst>
        </pc:spChg>
        <pc:spChg chg="mod">
          <ac:chgData name="Oğuz Öztekin" userId="33c0df0f-d5fe-4bda-8f43-141ad7af67e3" providerId="ADAL" clId="{7671717B-C626-45BA-B33A-078C0D9E0397}" dt="2024-12-11T08:13:29.899" v="42" actId="1036"/>
          <ac:spMkLst>
            <pc:docMk/>
            <pc:sldMk cId="173792906" sldId="282"/>
            <ac:spMk id="24" creationId="{0EE67AC4-53A4-DAAB-AC16-1E206A55B678}"/>
          </ac:spMkLst>
        </pc:spChg>
        <pc:spChg chg="mod">
          <ac:chgData name="Oğuz Öztekin" userId="33c0df0f-d5fe-4bda-8f43-141ad7af67e3" providerId="ADAL" clId="{7671717B-C626-45BA-B33A-078C0D9E0397}" dt="2024-12-11T10:59:22.755" v="602" actId="120"/>
          <ac:spMkLst>
            <pc:docMk/>
            <pc:sldMk cId="173792906" sldId="282"/>
            <ac:spMk id="26" creationId="{9B7FA586-2C05-8591-D029-3B25481E7444}"/>
          </ac:spMkLst>
        </pc:spChg>
        <pc:graphicFrameChg chg="add del modGraphic">
          <ac:chgData name="Oğuz Öztekin" userId="33c0df0f-d5fe-4bda-8f43-141ad7af67e3" providerId="ADAL" clId="{7671717B-C626-45BA-B33A-078C0D9E0397}" dt="2024-12-12T11:46:30.259" v="1123" actId="21"/>
          <ac:graphicFrameMkLst>
            <pc:docMk/>
            <pc:sldMk cId="173792906" sldId="282"/>
            <ac:graphicFrameMk id="7" creationId="{8DFF7C6B-F1F4-7123-F2C1-0A046DC44989}"/>
          </ac:graphicFrameMkLst>
        </pc:graphicFrameChg>
        <pc:picChg chg="mod">
          <ac:chgData name="Oğuz Öztekin" userId="33c0df0f-d5fe-4bda-8f43-141ad7af67e3" providerId="ADAL" clId="{7671717B-C626-45BA-B33A-078C0D9E0397}" dt="2024-12-11T08:13:29.899" v="42" actId="1036"/>
          <ac:picMkLst>
            <pc:docMk/>
            <pc:sldMk cId="173792906" sldId="282"/>
            <ac:picMk id="6" creationId="{633FA63A-84EB-AF5C-A666-88D49D6AE4B5}"/>
          </ac:picMkLst>
        </pc:picChg>
        <pc:picChg chg="add del">
          <ac:chgData name="Oğuz Öztekin" userId="33c0df0f-d5fe-4bda-8f43-141ad7af67e3" providerId="ADAL" clId="{7671717B-C626-45BA-B33A-078C0D9E0397}" dt="2024-12-11T08:13:18.882" v="17" actId="478"/>
          <ac:picMkLst>
            <pc:docMk/>
            <pc:sldMk cId="173792906" sldId="282"/>
            <ac:picMk id="8" creationId="{8710B19A-9845-1F3B-1FA0-870AB7C8B318}"/>
          </ac:picMkLst>
        </pc:picChg>
        <pc:picChg chg="del">
          <ac:chgData name="Oğuz Öztekin" userId="33c0df0f-d5fe-4bda-8f43-141ad7af67e3" providerId="ADAL" clId="{7671717B-C626-45BA-B33A-078C0D9E0397}" dt="2024-12-11T08:04:17.086" v="0" actId="478"/>
          <ac:picMkLst>
            <pc:docMk/>
            <pc:sldMk cId="173792906" sldId="282"/>
            <ac:picMk id="12" creationId="{8B365F46-BB10-7B4D-767A-ECE0DDBBE5BF}"/>
          </ac:picMkLst>
        </pc:picChg>
        <pc:picChg chg="mod">
          <ac:chgData name="Oğuz Öztekin" userId="33c0df0f-d5fe-4bda-8f43-141ad7af67e3" providerId="ADAL" clId="{7671717B-C626-45BA-B33A-078C0D9E0397}" dt="2024-12-11T08:13:29.899" v="42" actId="1036"/>
          <ac:picMkLst>
            <pc:docMk/>
            <pc:sldMk cId="173792906" sldId="282"/>
            <ac:picMk id="16" creationId="{00109AB0-C54E-5DFC-B26C-A725305701C9}"/>
          </ac:picMkLst>
        </pc:picChg>
        <pc:picChg chg="mod">
          <ac:chgData name="Oğuz Öztekin" userId="33c0df0f-d5fe-4bda-8f43-141ad7af67e3" providerId="ADAL" clId="{7671717B-C626-45BA-B33A-078C0D9E0397}" dt="2024-12-11T08:13:29.899" v="42" actId="1036"/>
          <ac:picMkLst>
            <pc:docMk/>
            <pc:sldMk cId="173792906" sldId="282"/>
            <ac:picMk id="21" creationId="{F3B6D292-5F06-DDD6-B10E-E50930B55CCB}"/>
          </ac:picMkLst>
        </pc:picChg>
      </pc:sldChg>
      <pc:sldChg chg="addSp delSp modSp mod">
        <pc:chgData name="Oğuz Öztekin" userId="33c0df0f-d5fe-4bda-8f43-141ad7af67e3" providerId="ADAL" clId="{7671717B-C626-45BA-B33A-078C0D9E0397}" dt="2024-12-13T10:00:26.389" v="1284" actId="20577"/>
        <pc:sldMkLst>
          <pc:docMk/>
          <pc:sldMk cId="1730444853" sldId="285"/>
        </pc:sldMkLst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4" creationId="{ABED0885-BF92-BBA9-93EA-BCADE2754F79}"/>
          </ac:spMkLst>
        </pc:spChg>
        <pc:spChg chg="mod">
          <ac:chgData name="Oğuz Öztekin" userId="33c0df0f-d5fe-4bda-8f43-141ad7af67e3" providerId="ADAL" clId="{7671717B-C626-45BA-B33A-078C0D9E0397}" dt="2024-12-13T10:00:26.389" v="1284" actId="20577"/>
          <ac:spMkLst>
            <pc:docMk/>
            <pc:sldMk cId="1730444853" sldId="285"/>
            <ac:spMk id="5" creationId="{600A7937-C68B-6947-C539-3897C4C1FF53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7" creationId="{354243B6-9532-D3B0-216F-DBCD5576B78C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9" creationId="{41F63162-675A-89EF-0F59-AC7A0077CB93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10" creationId="{47CB1277-85E4-88A5-E2C4-231E6ABC0971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11" creationId="{ACC03D6D-183E-298D-DE68-FD78194C562C}"/>
          </ac:spMkLst>
        </pc:spChg>
        <pc:spChg chg="add del mod">
          <ac:chgData name="Oğuz Öztekin" userId="33c0df0f-d5fe-4bda-8f43-141ad7af67e3" providerId="ADAL" clId="{7671717B-C626-45BA-B33A-078C0D9E0397}" dt="2024-12-12T12:32:06.592" v="1127" actId="478"/>
          <ac:spMkLst>
            <pc:docMk/>
            <pc:sldMk cId="1730444853" sldId="285"/>
            <ac:spMk id="13" creationId="{E01984C0-8C4F-65A8-E8CC-0CC41F81B95C}"/>
          </ac:spMkLst>
        </pc:spChg>
        <pc:spChg chg="add">
          <ac:chgData name="Oğuz Öztekin" userId="33c0df0f-d5fe-4bda-8f43-141ad7af67e3" providerId="ADAL" clId="{7671717B-C626-45BA-B33A-078C0D9E0397}" dt="2024-12-11T09:21:32.659" v="412"/>
          <ac:spMkLst>
            <pc:docMk/>
            <pc:sldMk cId="1730444853" sldId="285"/>
            <ac:spMk id="18" creationId="{7F2D7365-70BC-1BA8-46EA-13675FFC7780}"/>
          </ac:spMkLst>
        </pc:sp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3" creationId="{25898721-F787-C2B8-A2F2-DB8C10EE6401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6" creationId="{F6CC536B-4BD7-E3A1-59E5-0C8ADA6FE41E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8" creationId="{302F2DD5-45F8-C893-FB4D-0986C140738B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2" creationId="{672E2BDC-BDDD-D07C-79D0-60C57A2A3A13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4" creationId="{E0EF2C61-6878-BD37-125F-127A45B630B7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5" creationId="{0AED72C6-3506-2279-79D3-D640C8AD81D9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6" creationId="{474CCE55-76E1-44CF-C0BD-2FDC53970798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7" creationId="{F251AC32-35C6-B578-EDC3-6CC025246ED8}"/>
          </ac:picMkLst>
        </pc:picChg>
      </pc:sldChg>
      <pc:sldChg chg="addSp delSp modSp mod">
        <pc:chgData name="Oğuz Öztekin" userId="33c0df0f-d5fe-4bda-8f43-141ad7af67e3" providerId="ADAL" clId="{7671717B-C626-45BA-B33A-078C0D9E0397}" dt="2024-12-13T09:59:17.952" v="1276" actId="120"/>
        <pc:sldMkLst>
          <pc:docMk/>
          <pc:sldMk cId="1219213586" sldId="291"/>
        </pc:sldMkLst>
        <pc:spChg chg="add mod">
          <ac:chgData name="Oğuz Öztekin" userId="33c0df0f-d5fe-4bda-8f43-141ad7af67e3" providerId="ADAL" clId="{7671717B-C626-45BA-B33A-078C0D9E0397}" dt="2024-12-11T08:49:02.395" v="319" actId="404"/>
          <ac:spMkLst>
            <pc:docMk/>
            <pc:sldMk cId="1219213586" sldId="291"/>
            <ac:spMk id="6" creationId="{EB2BF78A-905A-F756-3DE2-42F649517BD6}"/>
          </ac:spMkLst>
        </pc:spChg>
        <pc:spChg chg="add mod">
          <ac:chgData name="Oğuz Öztekin" userId="33c0df0f-d5fe-4bda-8f43-141ad7af67e3" providerId="ADAL" clId="{7671717B-C626-45BA-B33A-078C0D9E0397}" dt="2024-12-11T08:13:49.238" v="44"/>
          <ac:spMkLst>
            <pc:docMk/>
            <pc:sldMk cId="1219213586" sldId="291"/>
            <ac:spMk id="9" creationId="{36E31313-15E8-58C0-C0CC-7692206B21CC}"/>
          </ac:spMkLst>
        </pc:spChg>
        <pc:spChg chg="add mod">
          <ac:chgData name="Oğuz Öztekin" userId="33c0df0f-d5fe-4bda-8f43-141ad7af67e3" providerId="ADAL" clId="{7671717B-C626-45BA-B33A-078C0D9E0397}" dt="2024-12-11T08:14:31.004" v="56"/>
          <ac:spMkLst>
            <pc:docMk/>
            <pc:sldMk cId="1219213586" sldId="291"/>
            <ac:spMk id="10" creationId="{A8015D4C-5D22-78AC-17A0-16A17FFA87DF}"/>
          </ac:spMkLst>
        </pc:spChg>
        <pc:spChg chg="mod">
          <ac:chgData name="Oğuz Öztekin" userId="33c0df0f-d5fe-4bda-8f43-141ad7af67e3" providerId="ADAL" clId="{7671717B-C626-45BA-B33A-078C0D9E0397}" dt="2024-12-13T09:59:17.952" v="1276" actId="120"/>
          <ac:spMkLst>
            <pc:docMk/>
            <pc:sldMk cId="1219213586" sldId="291"/>
            <ac:spMk id="11" creationId="{FD381ED3-4B0F-06AA-9EBD-40F1C9291ECE}"/>
          </ac:spMkLst>
        </pc:spChg>
        <pc:spChg chg="add mod">
          <ac:chgData name="Oğuz Öztekin" userId="33c0df0f-d5fe-4bda-8f43-141ad7af67e3" providerId="ADAL" clId="{7671717B-C626-45BA-B33A-078C0D9E0397}" dt="2024-12-11T08:13:49.238" v="44"/>
          <ac:spMkLst>
            <pc:docMk/>
            <pc:sldMk cId="1219213586" sldId="291"/>
            <ac:spMk id="12" creationId="{64E68720-5EBC-F54F-E0D5-FA500F187B9E}"/>
          </ac:spMkLst>
        </pc:spChg>
        <pc:spChg chg="add del mod">
          <ac:chgData name="Oğuz Öztekin" userId="33c0df0f-d5fe-4bda-8f43-141ad7af67e3" providerId="ADAL" clId="{7671717B-C626-45BA-B33A-078C0D9E0397}" dt="2024-12-11T08:14:50.684" v="68" actId="478"/>
          <ac:spMkLst>
            <pc:docMk/>
            <pc:sldMk cId="1219213586" sldId="291"/>
            <ac:spMk id="13" creationId="{22A5B1A7-7C39-46AB-2D00-14BF0D09038B}"/>
          </ac:spMkLst>
        </pc:spChg>
        <pc:spChg chg="add mod">
          <ac:chgData name="Oğuz Öztekin" userId="33c0df0f-d5fe-4bda-8f43-141ad7af67e3" providerId="ADAL" clId="{7671717B-C626-45BA-B33A-078C0D9E0397}" dt="2024-12-11T08:20:38.647" v="109" actId="20577"/>
          <ac:spMkLst>
            <pc:docMk/>
            <pc:sldMk cId="1219213586" sldId="291"/>
            <ac:spMk id="14" creationId="{47D0071B-6888-5D7C-2229-7CF14F997143}"/>
          </ac:spMkLst>
        </pc:spChg>
        <pc:spChg chg="del mod">
          <ac:chgData name="Oğuz Öztekin" userId="33c0df0f-d5fe-4bda-8f43-141ad7af67e3" providerId="ADAL" clId="{7671717B-C626-45BA-B33A-078C0D9E0397}" dt="2024-12-11T08:14:23.917" v="54" actId="478"/>
          <ac:spMkLst>
            <pc:docMk/>
            <pc:sldMk cId="1219213586" sldId="291"/>
            <ac:spMk id="17" creationId="{C367CAFB-09B7-74DC-3D45-5C2DA3201A2A}"/>
          </ac:spMkLst>
        </pc:spChg>
        <pc:spChg chg="del">
          <ac:chgData name="Oğuz Öztekin" userId="33c0df0f-d5fe-4bda-8f43-141ad7af67e3" providerId="ADAL" clId="{7671717B-C626-45BA-B33A-078C0D9E0397}" dt="2024-12-11T08:14:03.675" v="48" actId="478"/>
          <ac:spMkLst>
            <pc:docMk/>
            <pc:sldMk cId="1219213586" sldId="291"/>
            <ac:spMk id="22" creationId="{45753A20-C4DB-090C-1C81-A5D96D78E574}"/>
          </ac:spMkLst>
        </pc:spChg>
        <pc:spChg chg="del mod">
          <ac:chgData name="Oğuz Öztekin" userId="33c0df0f-d5fe-4bda-8f43-141ad7af67e3" providerId="ADAL" clId="{7671717B-C626-45BA-B33A-078C0D9E0397}" dt="2024-12-11T08:14:33.253" v="57" actId="478"/>
          <ac:spMkLst>
            <pc:docMk/>
            <pc:sldMk cId="1219213586" sldId="291"/>
            <ac:spMk id="23" creationId="{0ACBEBAC-5EA2-853F-D537-351EB1165A6F}"/>
          </ac:spMkLst>
        </pc:spChg>
        <pc:spChg chg="del">
          <ac:chgData name="Oğuz Öztekin" userId="33c0df0f-d5fe-4bda-8f43-141ad7af67e3" providerId="ADAL" clId="{7671717B-C626-45BA-B33A-078C0D9E0397}" dt="2024-12-11T08:14:34.077" v="58" actId="478"/>
          <ac:spMkLst>
            <pc:docMk/>
            <pc:sldMk cId="1219213586" sldId="291"/>
            <ac:spMk id="24" creationId="{8DA9953B-2E5B-C0CA-5E65-D10260A7194F}"/>
          </ac:spMkLst>
        </pc:spChg>
        <pc:picChg chg="add del mod">
          <ac:chgData name="Oğuz Öztekin" userId="33c0df0f-d5fe-4bda-8f43-141ad7af67e3" providerId="ADAL" clId="{7671717B-C626-45BA-B33A-078C0D9E0397}" dt="2024-12-11T08:14:00.130" v="46" actId="478"/>
          <ac:picMkLst>
            <pc:docMk/>
            <pc:sldMk cId="1219213586" sldId="291"/>
            <ac:picMk id="3" creationId="{B905485D-4DAF-A285-AC9F-1796334C0969}"/>
          </ac:picMkLst>
        </pc:picChg>
        <pc:picChg chg="mod">
          <ac:chgData name="Oğuz Öztekin" userId="33c0df0f-d5fe-4bda-8f43-141ad7af67e3" providerId="ADAL" clId="{7671717B-C626-45BA-B33A-078C0D9E0397}" dt="2024-12-11T08:13:56.625" v="45" actId="1076"/>
          <ac:picMkLst>
            <pc:docMk/>
            <pc:sldMk cId="1219213586" sldId="291"/>
            <ac:picMk id="4" creationId="{704BDA34-FF55-D1BD-A22A-0BD090C026E1}"/>
          </ac:picMkLst>
        </pc:picChg>
        <pc:picChg chg="add mod">
          <ac:chgData name="Oğuz Öztekin" userId="33c0df0f-d5fe-4bda-8f43-141ad7af67e3" providerId="ADAL" clId="{7671717B-C626-45BA-B33A-078C0D9E0397}" dt="2024-12-11T08:13:49.238" v="44"/>
          <ac:picMkLst>
            <pc:docMk/>
            <pc:sldMk cId="1219213586" sldId="291"/>
            <ac:picMk id="5" creationId="{C81ACAC0-71D8-D134-8628-9A7F5069E0BF}"/>
          </ac:picMkLst>
        </pc:picChg>
        <pc:picChg chg="del">
          <ac:chgData name="Oğuz Öztekin" userId="33c0df0f-d5fe-4bda-8f43-141ad7af67e3" providerId="ADAL" clId="{7671717B-C626-45BA-B33A-078C0D9E0397}" dt="2024-12-11T08:14:01.762" v="47" actId="478"/>
          <ac:picMkLst>
            <pc:docMk/>
            <pc:sldMk cId="1219213586" sldId="291"/>
            <ac:picMk id="7" creationId="{029C89A7-8759-0C65-53AB-86AA07085606}"/>
          </ac:picMkLst>
        </pc:picChg>
        <pc:picChg chg="add mod">
          <ac:chgData name="Oğuz Öztekin" userId="33c0df0f-d5fe-4bda-8f43-141ad7af67e3" providerId="ADAL" clId="{7671717B-C626-45BA-B33A-078C0D9E0397}" dt="2024-12-11T08:13:49.238" v="44"/>
          <ac:picMkLst>
            <pc:docMk/>
            <pc:sldMk cId="1219213586" sldId="291"/>
            <ac:picMk id="8" creationId="{4B7C41BC-C9BF-7489-8D0A-6135BCC5BB16}"/>
          </ac:picMkLst>
        </pc:picChg>
        <pc:picChg chg="add mod">
          <ac:chgData name="Oğuz Öztekin" userId="33c0df0f-d5fe-4bda-8f43-141ad7af67e3" providerId="ADAL" clId="{7671717B-C626-45BA-B33A-078C0D9E0397}" dt="2024-12-11T08:33:48.387" v="212" actId="1076"/>
          <ac:picMkLst>
            <pc:docMk/>
            <pc:sldMk cId="1219213586" sldId="291"/>
            <ac:picMk id="18" creationId="{BF96419E-2505-8707-7DE7-3A67690BF774}"/>
          </ac:picMkLst>
        </pc:picChg>
      </pc:sldChg>
      <pc:sldChg chg="addSp delSp modSp del mod">
        <pc:chgData name="Oğuz Öztekin" userId="33c0df0f-d5fe-4bda-8f43-141ad7af67e3" providerId="ADAL" clId="{7671717B-C626-45BA-B33A-078C0D9E0397}" dt="2024-12-11T08:28:20.432" v="188" actId="47"/>
        <pc:sldMkLst>
          <pc:docMk/>
          <pc:sldMk cId="1560558835" sldId="292"/>
        </pc:sldMkLst>
        <pc:picChg chg="add del mod">
          <ac:chgData name="Oğuz Öztekin" userId="33c0df0f-d5fe-4bda-8f43-141ad7af67e3" providerId="ADAL" clId="{7671717B-C626-45BA-B33A-078C0D9E0397}" dt="2024-12-11T08:17:33.038" v="73" actId="21"/>
          <ac:picMkLst>
            <pc:docMk/>
            <pc:sldMk cId="1560558835" sldId="292"/>
            <ac:picMk id="6" creationId="{92054B15-9D69-B776-ED04-9F68527BA054}"/>
          </ac:picMkLst>
        </pc:picChg>
      </pc:sldChg>
      <pc:sldChg chg="del">
        <pc:chgData name="Oğuz Öztekin" userId="33c0df0f-d5fe-4bda-8f43-141ad7af67e3" providerId="ADAL" clId="{7671717B-C626-45BA-B33A-078C0D9E0397}" dt="2024-12-11T08:28:39.140" v="189" actId="2696"/>
        <pc:sldMkLst>
          <pc:docMk/>
          <pc:sldMk cId="456118957" sldId="293"/>
        </pc:sldMkLst>
      </pc:sldChg>
      <pc:sldChg chg="del">
        <pc:chgData name="Oğuz Öztekin" userId="33c0df0f-d5fe-4bda-8f43-141ad7af67e3" providerId="ADAL" clId="{7671717B-C626-45BA-B33A-078C0D9E0397}" dt="2024-12-11T08:42:56.819" v="267" actId="2696"/>
        <pc:sldMkLst>
          <pc:docMk/>
          <pc:sldMk cId="2578389252" sldId="294"/>
        </pc:sldMkLst>
      </pc:sldChg>
      <pc:sldChg chg="del">
        <pc:chgData name="Oğuz Öztekin" userId="33c0df0f-d5fe-4bda-8f43-141ad7af67e3" providerId="ADAL" clId="{7671717B-C626-45BA-B33A-078C0D9E0397}" dt="2024-12-11T08:50:05.724" v="322" actId="2696"/>
        <pc:sldMkLst>
          <pc:docMk/>
          <pc:sldMk cId="1804213171" sldId="295"/>
        </pc:sldMkLst>
      </pc:sldChg>
      <pc:sldChg chg="del">
        <pc:chgData name="Oğuz Öztekin" userId="33c0df0f-d5fe-4bda-8f43-141ad7af67e3" providerId="ADAL" clId="{7671717B-C626-45BA-B33A-078C0D9E0397}" dt="2024-12-11T09:01:28.096" v="356" actId="2696"/>
        <pc:sldMkLst>
          <pc:docMk/>
          <pc:sldMk cId="1870315123" sldId="296"/>
        </pc:sldMkLst>
      </pc:sldChg>
      <pc:sldChg chg="del">
        <pc:chgData name="Oğuz Öztekin" userId="33c0df0f-d5fe-4bda-8f43-141ad7af67e3" providerId="ADAL" clId="{7671717B-C626-45BA-B33A-078C0D9E0397}" dt="2024-12-11T08:56:12.917" v="324" actId="2696"/>
        <pc:sldMkLst>
          <pc:docMk/>
          <pc:sldMk cId="1836466022" sldId="297"/>
        </pc:sldMkLst>
      </pc:sldChg>
      <pc:sldChg chg="del">
        <pc:chgData name="Oğuz Öztekin" userId="33c0df0f-d5fe-4bda-8f43-141ad7af67e3" providerId="ADAL" clId="{7671717B-C626-45BA-B33A-078C0D9E0397}" dt="2024-12-11T09:04:48.400" v="385" actId="2696"/>
        <pc:sldMkLst>
          <pc:docMk/>
          <pc:sldMk cId="2836242812" sldId="298"/>
        </pc:sldMkLst>
      </pc:sldChg>
      <pc:sldChg chg="del">
        <pc:chgData name="Oğuz Öztekin" userId="33c0df0f-d5fe-4bda-8f43-141ad7af67e3" providerId="ADAL" clId="{7671717B-C626-45BA-B33A-078C0D9E0397}" dt="2024-12-11T08:50:17.059" v="323" actId="2696"/>
        <pc:sldMkLst>
          <pc:docMk/>
          <pc:sldMk cId="2857301006" sldId="299"/>
        </pc:sldMkLst>
      </pc:sldChg>
      <pc:sldChg chg="addSp delSp modSp mod">
        <pc:chgData name="Oğuz Öztekin" userId="33c0df0f-d5fe-4bda-8f43-141ad7af67e3" providerId="ADAL" clId="{7671717B-C626-45BA-B33A-078C0D9E0397}" dt="2024-12-13T10:11:12.770" v="1423" actId="1036"/>
        <pc:sldMkLst>
          <pc:docMk/>
          <pc:sldMk cId="1169620162" sldId="300"/>
        </pc:sldMkLst>
        <pc:spChg chg="mod">
          <ac:chgData name="Oğuz Öztekin" userId="33c0df0f-d5fe-4bda-8f43-141ad7af67e3" providerId="ADAL" clId="{7671717B-C626-45BA-B33A-078C0D9E0397}" dt="2024-12-11T10:13:48.163" v="524" actId="1076"/>
          <ac:spMkLst>
            <pc:docMk/>
            <pc:sldMk cId="1169620162" sldId="300"/>
            <ac:spMk id="5" creationId="{023D7789-A84C-C40F-7E44-A8648DF4D433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6" creationId="{0289B17E-3E63-C4D0-4220-4A700327B8DA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7" creationId="{4087CA3D-86DD-0964-805B-698465C51E22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0" creationId="{A6B21EE1-78D1-E858-F454-19E9647C717A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1" creationId="{9FEB7304-D1C6-1D74-EB15-AD09696B35D9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2" creationId="{C95F3592-3F34-387F-BF09-54FE8A1BBD2E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9" creationId="{EAB55965-EEA3-B7B7-B3CC-3EADCA74AF13}"/>
          </ac:spMkLst>
        </pc:spChg>
        <pc:picChg chg="add del mod">
          <ac:chgData name="Oğuz Öztekin" userId="33c0df0f-d5fe-4bda-8f43-141ad7af67e3" providerId="ADAL" clId="{7671717B-C626-45BA-B33A-078C0D9E0397}" dt="2024-12-11T10:07:46.857" v="426" actId="478"/>
          <ac:picMkLst>
            <pc:docMk/>
            <pc:sldMk cId="1169620162" sldId="300"/>
            <ac:picMk id="4" creationId="{5E73C5E0-3E4C-EBA8-DF7C-14D470CACA4E}"/>
          </ac:picMkLst>
        </pc:picChg>
        <pc:picChg chg="add del mod">
          <ac:chgData name="Oğuz Öztekin" userId="33c0df0f-d5fe-4bda-8f43-141ad7af67e3" providerId="ADAL" clId="{7671717B-C626-45BA-B33A-078C0D9E0397}" dt="2024-12-12T10:38:46.946" v="697" actId="478"/>
          <ac:picMkLst>
            <pc:docMk/>
            <pc:sldMk cId="1169620162" sldId="300"/>
            <ac:picMk id="8" creationId="{133A8940-F261-3F6F-2730-4D9A905965D6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9" creationId="{B7DE43CE-4940-2FEA-F878-8F3B73DE45D5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4" creationId="{3F0543E7-0DF6-49F5-7B08-1EEA1BEE3882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5" creationId="{B8529641-4EA3-10BC-141F-7E23BD13CC87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6" creationId="{AC92F01D-0FBC-9267-71B8-DBEA53583BB2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8" creationId="{AB902A7F-9FAC-236B-DFF4-7EA64D290C31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0" creationId="{E503AE43-B4B6-87C7-E2F7-20E75C6C39E3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1" creationId="{6B075EB2-78E7-2D84-B113-3D4CA28593ED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2" creationId="{2C81CE48-E48C-F5A7-381F-7CD79A67B1E3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4" creationId="{933367F5-3067-1099-1254-184F315A59CD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5" creationId="{2F98A76A-A76E-D6F0-BB2F-C456337AFF22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6" creationId="{64C86549-1CAC-953C-021D-16F772A28C7F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8" creationId="{4BC0A087-8CE7-2B9C-5B1A-795D313B5A06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25.015" v="1277" actId="120"/>
        <pc:sldMkLst>
          <pc:docMk/>
          <pc:sldMk cId="322219125" sldId="301"/>
        </pc:sldMkLst>
        <pc:spChg chg="mod">
          <ac:chgData name="Oğuz Öztekin" userId="33c0df0f-d5fe-4bda-8f43-141ad7af67e3" providerId="ADAL" clId="{7671717B-C626-45BA-B33A-078C0D9E0397}" dt="2024-12-11T08:48:56.984" v="318" actId="404"/>
          <ac:spMkLst>
            <pc:docMk/>
            <pc:sldMk cId="322219125" sldId="301"/>
            <ac:spMk id="6" creationId="{14E86D72-7441-C1F6-1CDA-796DCE23CBFB}"/>
          </ac:spMkLst>
        </pc:spChg>
        <pc:spChg chg="mod">
          <ac:chgData name="Oğuz Öztekin" userId="33c0df0f-d5fe-4bda-8f43-141ad7af67e3" providerId="ADAL" clId="{7671717B-C626-45BA-B33A-078C0D9E0397}" dt="2024-12-11T08:23:32.987" v="140"/>
          <ac:spMkLst>
            <pc:docMk/>
            <pc:sldMk cId="322219125" sldId="301"/>
            <ac:spMk id="10" creationId="{D90D0EE8-3A79-5BD4-4687-09AB5103C6D5}"/>
          </ac:spMkLst>
        </pc:spChg>
        <pc:spChg chg="mod">
          <ac:chgData name="Oğuz Öztekin" userId="33c0df0f-d5fe-4bda-8f43-141ad7af67e3" providerId="ADAL" clId="{7671717B-C626-45BA-B33A-078C0D9E0397}" dt="2024-12-13T09:59:25.015" v="1277" actId="120"/>
          <ac:spMkLst>
            <pc:docMk/>
            <pc:sldMk cId="322219125" sldId="301"/>
            <ac:spMk id="11" creationId="{688A3D41-A9F9-7E58-8828-B46E26776B07}"/>
          </ac:spMkLst>
        </pc:spChg>
        <pc:spChg chg="add del">
          <ac:chgData name="Oğuz Öztekin" userId="33c0df0f-d5fe-4bda-8f43-141ad7af67e3" providerId="ADAL" clId="{7671717B-C626-45BA-B33A-078C0D9E0397}" dt="2024-12-11T08:21:44.901" v="131" actId="22"/>
          <ac:spMkLst>
            <pc:docMk/>
            <pc:sldMk cId="322219125" sldId="301"/>
            <ac:spMk id="13" creationId="{192E1D7E-D7A9-653D-389A-335568CD7FBC}"/>
          </ac:spMkLst>
        </pc:spChg>
        <pc:spChg chg="add mod">
          <ac:chgData name="Oğuz Öztekin" userId="33c0df0f-d5fe-4bda-8f43-141ad7af67e3" providerId="ADAL" clId="{7671717B-C626-45BA-B33A-078C0D9E0397}" dt="2024-12-11T08:27:52.132" v="186" actId="20577"/>
          <ac:spMkLst>
            <pc:docMk/>
            <pc:sldMk cId="322219125" sldId="301"/>
            <ac:spMk id="19" creationId="{A333F1E1-ABA6-6247-7034-4E3B3D85D865}"/>
          </ac:spMkLst>
        </pc:spChg>
        <pc:picChg chg="add mod">
          <ac:chgData name="Oğuz Öztekin" userId="33c0df0f-d5fe-4bda-8f43-141ad7af67e3" providerId="ADAL" clId="{7671717B-C626-45BA-B33A-078C0D9E0397}" dt="2024-12-11T08:18:28.228" v="92" actId="1076"/>
          <ac:picMkLst>
            <pc:docMk/>
            <pc:sldMk cId="322219125" sldId="301"/>
            <ac:picMk id="3" creationId="{92054B15-9D69-B776-ED04-9F68527BA054}"/>
          </ac:picMkLst>
        </pc:picChg>
        <pc:picChg chg="add del mod">
          <ac:chgData name="Oğuz Öztekin" userId="33c0df0f-d5fe-4bda-8f43-141ad7af67e3" providerId="ADAL" clId="{7671717B-C626-45BA-B33A-078C0D9E0397}" dt="2024-12-11T08:22:14.625" v="136" actId="478"/>
          <ac:picMkLst>
            <pc:docMk/>
            <pc:sldMk cId="322219125" sldId="301"/>
            <ac:picMk id="15" creationId="{35BAE7C4-9778-7C37-7A68-0FB97BDBF6E6}"/>
          </ac:picMkLst>
        </pc:picChg>
        <pc:picChg chg="add mod">
          <ac:chgData name="Oğuz Öztekin" userId="33c0df0f-d5fe-4bda-8f43-141ad7af67e3" providerId="ADAL" clId="{7671717B-C626-45BA-B33A-078C0D9E0397}" dt="2024-12-11T08:22:46.774" v="139" actId="1076"/>
          <ac:picMkLst>
            <pc:docMk/>
            <pc:sldMk cId="322219125" sldId="301"/>
            <ac:picMk id="18" creationId="{88D83A97-3FBF-204D-063C-3D4822646EC0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30.521" v="1278" actId="120"/>
        <pc:sldMkLst>
          <pc:docMk/>
          <pc:sldMk cId="3347764341" sldId="302"/>
        </pc:sldMkLst>
        <pc:spChg chg="mod">
          <ac:chgData name="Oğuz Öztekin" userId="33c0df0f-d5fe-4bda-8f43-141ad7af67e3" providerId="ADAL" clId="{7671717B-C626-45BA-B33A-078C0D9E0397}" dt="2024-12-11T08:48:52.948" v="317" actId="404"/>
          <ac:spMkLst>
            <pc:docMk/>
            <pc:sldMk cId="3347764341" sldId="302"/>
            <ac:spMk id="6" creationId="{AF58F43B-EAE2-67F9-57DB-C6A3427DFF6A}"/>
          </ac:spMkLst>
        </pc:spChg>
        <pc:spChg chg="mod">
          <ac:chgData name="Oğuz Öztekin" userId="33c0df0f-d5fe-4bda-8f43-141ad7af67e3" providerId="ADAL" clId="{7671717B-C626-45BA-B33A-078C0D9E0397}" dt="2024-12-11T08:36:33.178" v="266" actId="20577"/>
          <ac:spMkLst>
            <pc:docMk/>
            <pc:sldMk cId="3347764341" sldId="302"/>
            <ac:spMk id="10" creationId="{82B14BE5-E4AA-FD63-64B5-7DFE8A43EACF}"/>
          </ac:spMkLst>
        </pc:spChg>
        <pc:spChg chg="mod">
          <ac:chgData name="Oğuz Öztekin" userId="33c0df0f-d5fe-4bda-8f43-141ad7af67e3" providerId="ADAL" clId="{7671717B-C626-45BA-B33A-078C0D9E0397}" dt="2024-12-13T09:59:30.521" v="1278" actId="120"/>
          <ac:spMkLst>
            <pc:docMk/>
            <pc:sldMk cId="3347764341" sldId="302"/>
            <ac:spMk id="11" creationId="{44FAA8AA-28A1-49FC-FF2F-B4B075C4F214}"/>
          </ac:spMkLst>
        </pc:spChg>
        <pc:spChg chg="mod">
          <ac:chgData name="Oğuz Öztekin" userId="33c0df0f-d5fe-4bda-8f43-141ad7af67e3" providerId="ADAL" clId="{7671717B-C626-45BA-B33A-078C0D9E0397}" dt="2024-12-11T08:30:46.320" v="196" actId="20577"/>
          <ac:spMkLst>
            <pc:docMk/>
            <pc:sldMk cId="3347764341" sldId="302"/>
            <ac:spMk id="19" creationId="{7E2CBBF4-5B87-BDAC-5C65-ED18BB43FC80}"/>
          </ac:spMkLst>
        </pc:spChg>
        <pc:picChg chg="del">
          <ac:chgData name="Oğuz Öztekin" userId="33c0df0f-d5fe-4bda-8f43-141ad7af67e3" providerId="ADAL" clId="{7671717B-C626-45BA-B33A-078C0D9E0397}" dt="2024-12-11T08:32:06.738" v="206" actId="478"/>
          <ac:picMkLst>
            <pc:docMk/>
            <pc:sldMk cId="3347764341" sldId="302"/>
            <ac:picMk id="3" creationId="{1271D5FA-E1FE-E373-2662-3EE11669FF77}"/>
          </ac:picMkLst>
        </pc:picChg>
        <pc:picChg chg="del">
          <ac:chgData name="Oğuz Öztekin" userId="33c0df0f-d5fe-4bda-8f43-141ad7af67e3" providerId="ADAL" clId="{7671717B-C626-45BA-B33A-078C0D9E0397}" dt="2024-12-11T08:32:08.690" v="207" actId="478"/>
          <ac:picMkLst>
            <pc:docMk/>
            <pc:sldMk cId="3347764341" sldId="302"/>
            <ac:picMk id="4" creationId="{ED64D3DB-DED3-061E-B5E5-9540909E6DD7}"/>
          </ac:picMkLst>
        </pc:picChg>
        <pc:picChg chg="add mod">
          <ac:chgData name="Oğuz Öztekin" userId="33c0df0f-d5fe-4bda-8f43-141ad7af67e3" providerId="ADAL" clId="{7671717B-C626-45BA-B33A-078C0D9E0397}" dt="2024-12-11T08:31:04.011" v="198" actId="1076"/>
          <ac:picMkLst>
            <pc:docMk/>
            <pc:sldMk cId="3347764341" sldId="302"/>
            <ac:picMk id="13" creationId="{CCAF449E-8B7E-8AE7-1664-FE03CD6E6425}"/>
          </ac:picMkLst>
        </pc:picChg>
        <pc:picChg chg="add del mod">
          <ac:chgData name="Oğuz Öztekin" userId="33c0df0f-d5fe-4bda-8f43-141ad7af67e3" providerId="ADAL" clId="{7671717B-C626-45BA-B33A-078C0D9E0397}" dt="2024-12-11T08:31:36.746" v="202" actId="21"/>
          <ac:picMkLst>
            <pc:docMk/>
            <pc:sldMk cId="3347764341" sldId="302"/>
            <ac:picMk id="15" creationId="{EDB5511A-C9DE-69CB-160B-54927363796D}"/>
          </ac:picMkLst>
        </pc:picChg>
        <pc:picChg chg="add mod">
          <ac:chgData name="Oğuz Öztekin" userId="33c0df0f-d5fe-4bda-8f43-141ad7af67e3" providerId="ADAL" clId="{7671717B-C626-45BA-B33A-078C0D9E0397}" dt="2024-12-11T08:32:17.260" v="209" actId="1076"/>
          <ac:picMkLst>
            <pc:docMk/>
            <pc:sldMk cId="3347764341" sldId="302"/>
            <ac:picMk id="20" creationId="{24155AF3-B095-FE29-2075-A45C5E212DDC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42.171" v="1280" actId="120"/>
        <pc:sldMkLst>
          <pc:docMk/>
          <pc:sldMk cId="3423456175" sldId="303"/>
        </pc:sldMkLst>
        <pc:spChg chg="mod">
          <ac:chgData name="Oğuz Öztekin" userId="33c0df0f-d5fe-4bda-8f43-141ad7af67e3" providerId="ADAL" clId="{7671717B-C626-45BA-B33A-078C0D9E0397}" dt="2024-12-11T08:48:46.414" v="316" actId="404"/>
          <ac:spMkLst>
            <pc:docMk/>
            <pc:sldMk cId="3423456175" sldId="303"/>
            <ac:spMk id="6" creationId="{20EF0179-B1FF-980E-301A-CB2376B44D34}"/>
          </ac:spMkLst>
        </pc:spChg>
        <pc:spChg chg="mod">
          <ac:chgData name="Oğuz Öztekin" userId="33c0df0f-d5fe-4bda-8f43-141ad7af67e3" providerId="ADAL" clId="{7671717B-C626-45BA-B33A-078C0D9E0397}" dt="2024-12-11T08:49:48.484" v="321"/>
          <ac:spMkLst>
            <pc:docMk/>
            <pc:sldMk cId="3423456175" sldId="303"/>
            <ac:spMk id="10" creationId="{57211CD2-42E8-E0C2-00D0-D051357033C3}"/>
          </ac:spMkLst>
        </pc:spChg>
        <pc:spChg chg="mod">
          <ac:chgData name="Oğuz Öztekin" userId="33c0df0f-d5fe-4bda-8f43-141ad7af67e3" providerId="ADAL" clId="{7671717B-C626-45BA-B33A-078C0D9E0397}" dt="2024-12-13T09:59:42.171" v="1280" actId="120"/>
          <ac:spMkLst>
            <pc:docMk/>
            <pc:sldMk cId="3423456175" sldId="303"/>
            <ac:spMk id="11" creationId="{AA08BAC2-CA41-B217-ED39-A1A0DE80086A}"/>
          </ac:spMkLst>
        </pc:spChg>
        <pc:spChg chg="mod">
          <ac:chgData name="Oğuz Öztekin" userId="33c0df0f-d5fe-4bda-8f43-141ad7af67e3" providerId="ADAL" clId="{7671717B-C626-45BA-B33A-078C0D9E0397}" dt="2024-12-11T08:46:45.758" v="284" actId="20577"/>
          <ac:spMkLst>
            <pc:docMk/>
            <pc:sldMk cId="3423456175" sldId="303"/>
            <ac:spMk id="19" creationId="{525B95AE-2CFC-D1E4-686B-36791CA7307E}"/>
          </ac:spMkLst>
        </pc:spChg>
        <pc:picChg chg="add mod">
          <ac:chgData name="Oğuz Öztekin" userId="33c0df0f-d5fe-4bda-8f43-141ad7af67e3" providerId="ADAL" clId="{7671717B-C626-45BA-B33A-078C0D9E0397}" dt="2024-12-11T08:45:28.634" v="271" actId="1076"/>
          <ac:picMkLst>
            <pc:docMk/>
            <pc:sldMk cId="3423456175" sldId="303"/>
            <ac:picMk id="4" creationId="{8C50F36D-330C-F3B0-21D4-CC16CB21DFC5}"/>
          </ac:picMkLst>
        </pc:picChg>
        <pc:picChg chg="add mod">
          <ac:chgData name="Oğuz Öztekin" userId="33c0df0f-d5fe-4bda-8f43-141ad7af67e3" providerId="ADAL" clId="{7671717B-C626-45BA-B33A-078C0D9E0397}" dt="2024-12-11T08:46:21.908" v="278" actId="1036"/>
          <ac:picMkLst>
            <pc:docMk/>
            <pc:sldMk cId="3423456175" sldId="303"/>
            <ac:picMk id="14" creationId="{2C7543C9-9098-9031-0D44-1428777348C6}"/>
          </ac:picMkLst>
        </pc:picChg>
        <pc:picChg chg="del">
          <ac:chgData name="Oğuz Öztekin" userId="33c0df0f-d5fe-4bda-8f43-141ad7af67e3" providerId="ADAL" clId="{7671717B-C626-45BA-B33A-078C0D9E0397}" dt="2024-12-11T08:46:18.221" v="276" actId="478"/>
          <ac:picMkLst>
            <pc:docMk/>
            <pc:sldMk cId="3423456175" sldId="303"/>
            <ac:picMk id="20" creationId="{34F73B9C-B4AE-ED6E-EE5C-36B77266CAC0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47.614" v="1281" actId="120"/>
        <pc:sldMkLst>
          <pc:docMk/>
          <pc:sldMk cId="4005765948" sldId="304"/>
        </pc:sldMkLst>
        <pc:spChg chg="mod">
          <ac:chgData name="Oğuz Öztekin" userId="33c0df0f-d5fe-4bda-8f43-141ad7af67e3" providerId="ADAL" clId="{7671717B-C626-45BA-B33A-078C0D9E0397}" dt="2024-12-11T09:00:11.586" v="353"/>
          <ac:spMkLst>
            <pc:docMk/>
            <pc:sldMk cId="4005765948" sldId="304"/>
            <ac:spMk id="6" creationId="{0FA5A7B0-4EE0-8CB6-9851-AC434BF5B02D}"/>
          </ac:spMkLst>
        </pc:spChg>
        <pc:spChg chg="mod">
          <ac:chgData name="Oğuz Öztekin" userId="33c0df0f-d5fe-4bda-8f43-141ad7af67e3" providerId="ADAL" clId="{7671717B-C626-45BA-B33A-078C0D9E0397}" dt="2024-12-11T09:00:50.879" v="354"/>
          <ac:spMkLst>
            <pc:docMk/>
            <pc:sldMk cId="4005765948" sldId="304"/>
            <ac:spMk id="10" creationId="{8045BB41-B010-76F6-2C42-C33EF0B0D015}"/>
          </ac:spMkLst>
        </pc:spChg>
        <pc:spChg chg="mod">
          <ac:chgData name="Oğuz Öztekin" userId="33c0df0f-d5fe-4bda-8f43-141ad7af67e3" providerId="ADAL" clId="{7671717B-C626-45BA-B33A-078C0D9E0397}" dt="2024-12-13T09:59:47.614" v="1281" actId="120"/>
          <ac:spMkLst>
            <pc:docMk/>
            <pc:sldMk cId="4005765948" sldId="304"/>
            <ac:spMk id="11" creationId="{37A46043-0998-F30E-AB27-890B7F2169B5}"/>
          </ac:spMkLst>
        </pc:spChg>
        <pc:spChg chg="mod">
          <ac:chgData name="Oğuz Öztekin" userId="33c0df0f-d5fe-4bda-8f43-141ad7af67e3" providerId="ADAL" clId="{7671717B-C626-45BA-B33A-078C0D9E0397}" dt="2024-12-11T09:02:14.893" v="357" actId="1076"/>
          <ac:spMkLst>
            <pc:docMk/>
            <pc:sldMk cId="4005765948" sldId="304"/>
            <ac:spMk id="19" creationId="{3A6572B0-AEA3-4C5B-B83E-ECF82651DF4C}"/>
          </ac:spMkLst>
        </pc:spChg>
        <pc:picChg chg="add mod">
          <ac:chgData name="Oğuz Öztekin" userId="33c0df0f-d5fe-4bda-8f43-141ad7af67e3" providerId="ADAL" clId="{7671717B-C626-45BA-B33A-078C0D9E0397}" dt="2024-12-11T08:57:49.994" v="346" actId="1076"/>
          <ac:picMkLst>
            <pc:docMk/>
            <pc:sldMk cId="4005765948" sldId="304"/>
            <ac:picMk id="7" creationId="{0F8EA7DA-7373-C3DD-3391-603FE8D7BB07}"/>
          </ac:picMkLst>
        </pc:picChg>
        <pc:picChg chg="del">
          <ac:chgData name="Oğuz Öztekin" userId="33c0df0f-d5fe-4bda-8f43-141ad7af67e3" providerId="ADAL" clId="{7671717B-C626-45BA-B33A-078C0D9E0397}" dt="2024-12-11T08:58:09.073" v="349" actId="478"/>
          <ac:picMkLst>
            <pc:docMk/>
            <pc:sldMk cId="4005765948" sldId="304"/>
            <ac:picMk id="14" creationId="{F93B3516-0BA0-526E-764B-C2ED4301F986}"/>
          </ac:picMkLst>
        </pc:picChg>
        <pc:picChg chg="add mod">
          <ac:chgData name="Oğuz Öztekin" userId="33c0df0f-d5fe-4bda-8f43-141ad7af67e3" providerId="ADAL" clId="{7671717B-C626-45BA-B33A-078C0D9E0397}" dt="2024-12-11T08:58:20.338" v="352" actId="1076"/>
          <ac:picMkLst>
            <pc:docMk/>
            <pc:sldMk cId="4005765948" sldId="304"/>
            <ac:picMk id="17" creationId="{1459C520-CF57-6FF2-2749-DB216433114F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53.075" v="1282" actId="120"/>
        <pc:sldMkLst>
          <pc:docMk/>
          <pc:sldMk cId="317251413" sldId="305"/>
        </pc:sldMkLst>
        <pc:spChg chg="mod">
          <ac:chgData name="Oğuz Öztekin" userId="33c0df0f-d5fe-4bda-8f43-141ad7af67e3" providerId="ADAL" clId="{7671717B-C626-45BA-B33A-078C0D9E0397}" dt="2024-12-11T09:05:37.133" v="386"/>
          <ac:spMkLst>
            <pc:docMk/>
            <pc:sldMk cId="317251413" sldId="305"/>
            <ac:spMk id="6" creationId="{97363114-B4B3-7D3C-FA0A-38473465A6BE}"/>
          </ac:spMkLst>
        </pc:spChg>
        <pc:spChg chg="mod">
          <ac:chgData name="Oğuz Öztekin" userId="33c0df0f-d5fe-4bda-8f43-141ad7af67e3" providerId="ADAL" clId="{7671717B-C626-45BA-B33A-078C0D9E0397}" dt="2024-12-11T09:06:30.971" v="389" actId="20577"/>
          <ac:spMkLst>
            <pc:docMk/>
            <pc:sldMk cId="317251413" sldId="305"/>
            <ac:spMk id="10" creationId="{10D31B45-4EDE-19BE-0C61-F5F437895545}"/>
          </ac:spMkLst>
        </pc:spChg>
        <pc:spChg chg="mod">
          <ac:chgData name="Oğuz Öztekin" userId="33c0df0f-d5fe-4bda-8f43-141ad7af67e3" providerId="ADAL" clId="{7671717B-C626-45BA-B33A-078C0D9E0397}" dt="2024-12-13T09:59:53.075" v="1282" actId="120"/>
          <ac:spMkLst>
            <pc:docMk/>
            <pc:sldMk cId="317251413" sldId="305"/>
            <ac:spMk id="11" creationId="{35A11336-3E21-FCBD-D0C5-505DB8DF4D9D}"/>
          </ac:spMkLst>
        </pc:spChg>
        <pc:spChg chg="mod">
          <ac:chgData name="Oğuz Öztekin" userId="33c0df0f-d5fe-4bda-8f43-141ad7af67e3" providerId="ADAL" clId="{7671717B-C626-45BA-B33A-078C0D9E0397}" dt="2024-12-11T09:04:42.270" v="384" actId="20577"/>
          <ac:spMkLst>
            <pc:docMk/>
            <pc:sldMk cId="317251413" sldId="305"/>
            <ac:spMk id="19" creationId="{758E81DE-DB32-32FB-69A4-9FB3F533A8B4}"/>
          </ac:spMkLst>
        </pc:spChg>
        <pc:spChg chg="add">
          <ac:chgData name="Oğuz Öztekin" userId="33c0df0f-d5fe-4bda-8f43-141ad7af67e3" providerId="ADAL" clId="{7671717B-C626-45BA-B33A-078C0D9E0397}" dt="2024-12-11T09:06:16.678" v="387"/>
          <ac:spMkLst>
            <pc:docMk/>
            <pc:sldMk cId="317251413" sldId="305"/>
            <ac:spMk id="23" creationId="{1D9590FD-25E8-674A-9817-779E316E300A}"/>
          </ac:spMkLst>
        </pc:spChg>
        <pc:picChg chg="add mod">
          <ac:chgData name="Oğuz Öztekin" userId="33c0df0f-d5fe-4bda-8f43-141ad7af67e3" providerId="ADAL" clId="{7671717B-C626-45BA-B33A-078C0D9E0397}" dt="2024-12-11T09:03:11.598" v="360" actId="1076"/>
          <ac:picMkLst>
            <pc:docMk/>
            <pc:sldMk cId="317251413" sldId="305"/>
            <ac:picMk id="14" creationId="{03DC29C2-ECDA-2F18-C2D6-273AE3369E75}"/>
          </ac:picMkLst>
        </pc:picChg>
        <pc:picChg chg="del">
          <ac:chgData name="Oğuz Öztekin" userId="33c0df0f-d5fe-4bda-8f43-141ad7af67e3" providerId="ADAL" clId="{7671717B-C626-45BA-B33A-078C0D9E0397}" dt="2024-12-11T09:04:19.556" v="366" actId="478"/>
          <ac:picMkLst>
            <pc:docMk/>
            <pc:sldMk cId="317251413" sldId="305"/>
            <ac:picMk id="17" creationId="{1FA00771-C5CC-BB82-0196-6191787FCE1C}"/>
          </ac:picMkLst>
        </pc:picChg>
        <pc:picChg chg="add del mod">
          <ac:chgData name="Oğuz Öztekin" userId="33c0df0f-d5fe-4bda-8f43-141ad7af67e3" providerId="ADAL" clId="{7671717B-C626-45BA-B33A-078C0D9E0397}" dt="2024-12-11T09:03:58.181" v="362" actId="21"/>
          <ac:picMkLst>
            <pc:docMk/>
            <pc:sldMk cId="317251413" sldId="305"/>
            <ac:picMk id="20" creationId="{F7E923C3-781E-0965-E9DB-87D06AF6B1C0}"/>
          </ac:picMkLst>
        </pc:picChg>
        <pc:picChg chg="add mod">
          <ac:chgData name="Oğuz Öztekin" userId="33c0df0f-d5fe-4bda-8f43-141ad7af67e3" providerId="ADAL" clId="{7671717B-C626-45BA-B33A-078C0D9E0397}" dt="2024-12-11T09:04:28.177" v="368" actId="1076"/>
          <ac:picMkLst>
            <pc:docMk/>
            <pc:sldMk cId="317251413" sldId="305"/>
            <ac:picMk id="22" creationId="{D3204274-F8A6-76B0-62B4-3D6052957063}"/>
          </ac:picMkLst>
        </pc:picChg>
      </pc:sldChg>
      <pc:sldChg chg="addSp delSp modSp add del mod">
        <pc:chgData name="Oğuz Öztekin" userId="33c0df0f-d5fe-4bda-8f43-141ad7af67e3" providerId="ADAL" clId="{7671717B-C626-45BA-B33A-078C0D9E0397}" dt="2024-12-13T09:29:03.869" v="1182" actId="2696"/>
        <pc:sldMkLst>
          <pc:docMk/>
          <pc:sldMk cId="1441212069" sldId="306"/>
        </pc:sldMkLst>
        <pc:spChg chg="add del mod">
          <ac:chgData name="Oğuz Öztekin" userId="33c0df0f-d5fe-4bda-8f43-141ad7af67e3" providerId="ADAL" clId="{7671717B-C626-45BA-B33A-078C0D9E0397}" dt="2024-12-13T09:29:00.105" v="1181" actId="478"/>
          <ac:spMkLst>
            <pc:docMk/>
            <pc:sldMk cId="1441212069" sldId="306"/>
            <ac:spMk id="3" creationId="{EF1514C8-0A15-06B4-7D72-5C801DC0B0C4}"/>
          </ac:spMkLst>
        </pc:spChg>
        <pc:spChg chg="add mod">
          <ac:chgData name="Oğuz Öztekin" userId="33c0df0f-d5fe-4bda-8f43-141ad7af67e3" providerId="ADAL" clId="{7671717B-C626-45BA-B33A-078C0D9E0397}" dt="2024-12-12T10:21:16.949" v="653" actId="1076"/>
          <ac:spMkLst>
            <pc:docMk/>
            <pc:sldMk cId="1441212069" sldId="306"/>
            <ac:spMk id="4" creationId="{3B53BC3B-1492-3629-E7FE-6D94114BF9CF}"/>
          </ac:spMkLst>
        </pc:spChg>
        <pc:spChg chg="del">
          <ac:chgData name="Oğuz Öztekin" userId="33c0df0f-d5fe-4bda-8f43-141ad7af67e3" providerId="ADAL" clId="{7671717B-C626-45BA-B33A-078C0D9E0397}" dt="2024-12-12T10:21:00.652" v="651" actId="478"/>
          <ac:spMkLst>
            <pc:docMk/>
            <pc:sldMk cId="1441212069" sldId="306"/>
            <ac:spMk id="26" creationId="{BCCAFCA9-28FD-BD25-ABEA-0B9B07463E0B}"/>
          </ac:spMkLst>
        </pc:spChg>
        <pc:picChg chg="mod">
          <ac:chgData name="Oğuz Öztekin" userId="33c0df0f-d5fe-4bda-8f43-141ad7af67e3" providerId="ADAL" clId="{7671717B-C626-45BA-B33A-078C0D9E0397}" dt="2024-12-12T10:20:47.380" v="647" actId="1076"/>
          <ac:picMkLst>
            <pc:docMk/>
            <pc:sldMk cId="1441212069" sldId="306"/>
            <ac:picMk id="6" creationId="{A32C9BA4-A2D3-5A26-467F-0DCD4335208F}"/>
          </ac:picMkLst>
        </pc:picChg>
        <pc:picChg chg="del">
          <ac:chgData name="Oğuz Öztekin" userId="33c0df0f-d5fe-4bda-8f43-141ad7af67e3" providerId="ADAL" clId="{7671717B-C626-45BA-B33A-078C0D9E0397}" dt="2024-12-12T10:20:58.570" v="650" actId="478"/>
          <ac:picMkLst>
            <pc:docMk/>
            <pc:sldMk cId="1441212069" sldId="306"/>
            <ac:picMk id="16" creationId="{D3C6E229-1DA2-41BC-9DF8-5CAB53AA6800}"/>
          </ac:picMkLst>
        </pc:picChg>
        <pc:picChg chg="add del">
          <ac:chgData name="Oğuz Öztekin" userId="33c0df0f-d5fe-4bda-8f43-141ad7af67e3" providerId="ADAL" clId="{7671717B-C626-45BA-B33A-078C0D9E0397}" dt="2024-12-12T10:20:52.866" v="649" actId="478"/>
          <ac:picMkLst>
            <pc:docMk/>
            <pc:sldMk cId="1441212069" sldId="306"/>
            <ac:picMk id="21" creationId="{2F82F586-F973-F0A1-B1A5-A2C9C80835FE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10:09:42.166" v="1382" actId="20577"/>
        <pc:sldMkLst>
          <pc:docMk/>
          <pc:sldMk cId="1748462351" sldId="307"/>
        </pc:sldMkLst>
        <pc:spChg chg="add mod">
          <ac:chgData name="Oğuz Öztekin" userId="33c0df0f-d5fe-4bda-8f43-141ad7af67e3" providerId="ADAL" clId="{7671717B-C626-45BA-B33A-078C0D9E0397}" dt="2024-12-12T11:23:08.949" v="799" actId="1076"/>
          <ac:spMkLst>
            <pc:docMk/>
            <pc:sldMk cId="1748462351" sldId="307"/>
            <ac:spMk id="4" creationId="{62359619-6B3B-1987-CBFF-77083AF9C140}"/>
          </ac:spMkLst>
        </pc:spChg>
        <pc:spChg chg="del">
          <ac:chgData name="Oğuz Öztekin" userId="33c0df0f-d5fe-4bda-8f43-141ad7af67e3" providerId="ADAL" clId="{7671717B-C626-45BA-B33A-078C0D9E0397}" dt="2024-12-12T10:49:11.913" v="729" actId="478"/>
          <ac:spMkLst>
            <pc:docMk/>
            <pc:sldMk cId="1748462351" sldId="307"/>
            <ac:spMk id="5" creationId="{B6021B66-6C22-7F7C-CF06-62917F23946E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6" creationId="{1F85CCD9-08AD-30A1-2782-134A18FC88F9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7" creationId="{933A1819-6670-8C0C-6B3A-46BBF8340619}"/>
          </ac:spMkLst>
        </pc:spChg>
        <pc:spChg chg="add mod">
          <ac:chgData name="Oğuz Öztekin" userId="33c0df0f-d5fe-4bda-8f43-141ad7af67e3" providerId="ADAL" clId="{7671717B-C626-45BA-B33A-078C0D9E0397}" dt="2024-12-13T10:09:42.166" v="1382" actId="20577"/>
          <ac:spMkLst>
            <pc:docMk/>
            <pc:sldMk cId="1748462351" sldId="307"/>
            <ac:spMk id="8" creationId="{BD73D3CA-1A04-09CA-0894-FB03AD0B3971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10" creationId="{E85F482C-38EB-3883-DBEF-F4A2A53EFBA7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11" creationId="{E979A89B-0A3D-93FB-1F9C-547C2F2D5189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12" creationId="{34E214AB-EDD0-2CEF-1701-A40E048EFEA9}"/>
          </ac:spMkLst>
        </pc:spChg>
        <pc:spChg chg="mod">
          <ac:chgData name="Oğuz Öztekin" userId="33c0df0f-d5fe-4bda-8f43-141ad7af67e3" providerId="ADAL" clId="{7671717B-C626-45BA-B33A-078C0D9E0397}" dt="2024-12-12T11:23:08.949" v="799" actId="1076"/>
          <ac:spMkLst>
            <pc:docMk/>
            <pc:sldMk cId="1748462351" sldId="307"/>
            <ac:spMk id="19" creationId="{A26C8768-0802-8345-B915-F129944F237F}"/>
          </ac:spMkLst>
        </pc:spChg>
        <pc:spChg chg="add mod">
          <ac:chgData name="Oğuz Öztekin" userId="33c0df0f-d5fe-4bda-8f43-141ad7af67e3" providerId="ADAL" clId="{7671717B-C626-45BA-B33A-078C0D9E0397}" dt="2024-12-13T10:08:25.457" v="1301" actId="1076"/>
          <ac:spMkLst>
            <pc:docMk/>
            <pc:sldMk cId="1748462351" sldId="307"/>
            <ac:spMk id="33" creationId="{12E8F235-7E19-FC86-022D-01ED5CB4838F}"/>
          </ac:spMkLst>
        </pc:spChg>
        <pc:graphicFrameChg chg="add mod modGraphic">
          <ac:chgData name="Oğuz Öztekin" userId="33c0df0f-d5fe-4bda-8f43-141ad7af67e3" providerId="ADAL" clId="{7671717B-C626-45BA-B33A-078C0D9E0397}" dt="2024-12-13T10:09:31.828" v="1377" actId="20577"/>
          <ac:graphicFrameMkLst>
            <pc:docMk/>
            <pc:sldMk cId="1748462351" sldId="307"/>
            <ac:graphicFrameMk id="17" creationId="{F54AD37F-7410-579D-CC16-50289C54B8C5}"/>
          </ac:graphicFrameMkLst>
        </pc:graphicFrameChg>
        <pc:graphicFrameChg chg="add mod">
          <ac:chgData name="Oğuz Öztekin" userId="33c0df0f-d5fe-4bda-8f43-141ad7af67e3" providerId="ADAL" clId="{7671717B-C626-45BA-B33A-078C0D9E0397}" dt="2024-12-12T11:46:47.024" v="1126" actId="14100"/>
          <ac:graphicFrameMkLst>
            <pc:docMk/>
            <pc:sldMk cId="1748462351" sldId="307"/>
            <ac:graphicFrameMk id="41" creationId="{8DFF7C6B-F1F4-7123-F2C1-0A046DC44989}"/>
          </ac:graphicFrameMkLst>
        </pc:graphicFrame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9" creationId="{9A5A9875-8DE1-61BA-7C25-5B38D3D78DF7}"/>
          </ac:picMkLst>
        </pc:picChg>
        <pc:picChg chg="add mod">
          <ac:chgData name="Oğuz Öztekin" userId="33c0df0f-d5fe-4bda-8f43-141ad7af67e3" providerId="ADAL" clId="{7671717B-C626-45BA-B33A-078C0D9E0397}" dt="2024-12-12T11:23:08.949" v="799" actId="1076"/>
          <ac:picMkLst>
            <pc:docMk/>
            <pc:sldMk cId="1748462351" sldId="307"/>
            <ac:picMk id="13" creationId="{90C53157-345E-2384-065E-7BB163B3FB61}"/>
          </ac:picMkLst>
        </pc:pic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14" creationId="{6112D213-1467-A1FE-B736-33C02BE7F6F8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15" creationId="{F6BAB372-3E14-CF3C-6CFB-023D68A1D304}"/>
          </ac:picMkLst>
        </pc:pic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16" creationId="{70EE0CDC-94E9-6CBC-E4B2-7FF0CC565453}"/>
          </ac:picMkLst>
        </pc:pic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18" creationId="{29B8FE9A-C5D8-D792-3D3F-12CC24313AF5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0" creationId="{A913A2B2-5E7F-3E7E-F984-D46EEF051BDA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1" creationId="{1DD6DE78-AA9F-019A-FB68-B95C61F8484F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2" creationId="{DF6F7D4B-983C-B5BE-0E9D-54DE37D24963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4" creationId="{A0B2B44E-3265-A58A-8A8B-96DA7F587114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5" creationId="{1394FD88-A7B8-2F01-4B54-53C8DA108FF7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6" creationId="{297E7691-0EA3-E4F5-E466-3FC53D158F71}"/>
          </ac:picMkLst>
        </pc:picChg>
        <pc:picChg chg="add mod">
          <ac:chgData name="Oğuz Öztekin" userId="33c0df0f-d5fe-4bda-8f43-141ad7af67e3" providerId="ADAL" clId="{7671717B-C626-45BA-B33A-078C0D9E0397}" dt="2024-12-13T09:45:04.204" v="1238" actId="1076"/>
          <ac:picMkLst>
            <pc:docMk/>
            <pc:sldMk cId="1748462351" sldId="307"/>
            <ac:picMk id="27" creationId="{AC30774A-8C75-4740-72D0-C25AEFDF9CED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8" creationId="{7402307B-B59E-5010-8C5C-DA841C44B8C2}"/>
          </ac:picMkLst>
        </pc:picChg>
        <pc:picChg chg="add mod">
          <ac:chgData name="Oğuz Öztekin" userId="33c0df0f-d5fe-4bda-8f43-141ad7af67e3" providerId="ADAL" clId="{7671717B-C626-45BA-B33A-078C0D9E0397}" dt="2024-12-12T11:32:36.840" v="1036" actId="1076"/>
          <ac:picMkLst>
            <pc:docMk/>
            <pc:sldMk cId="1748462351" sldId="307"/>
            <ac:picMk id="30" creationId="{1CDD5B8C-DC23-968C-D034-B793EA9400E0}"/>
          </ac:picMkLst>
        </pc:picChg>
        <pc:picChg chg="add mod">
          <ac:chgData name="Oğuz Öztekin" userId="33c0df0f-d5fe-4bda-8f43-141ad7af67e3" providerId="ADAL" clId="{7671717B-C626-45BA-B33A-078C0D9E0397}" dt="2024-12-13T09:45:34.036" v="1244" actId="1076"/>
          <ac:picMkLst>
            <pc:docMk/>
            <pc:sldMk cId="1748462351" sldId="307"/>
            <ac:picMk id="32" creationId="{B192E07D-202F-7197-B30A-96384BA50A70}"/>
          </ac:picMkLst>
        </pc:picChg>
        <pc:picChg chg="add mod">
          <ac:chgData name="Oğuz Öztekin" userId="33c0df0f-d5fe-4bda-8f43-141ad7af67e3" providerId="ADAL" clId="{7671717B-C626-45BA-B33A-078C0D9E0397}" dt="2024-12-13T09:46:14.111" v="1250" actId="1076"/>
          <ac:picMkLst>
            <pc:docMk/>
            <pc:sldMk cId="1748462351" sldId="307"/>
            <ac:picMk id="35" creationId="{3121A895-D35A-85D9-305E-20DA48EEB996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6" creationId="{35E2AD43-4D06-23B8-061D-2154968E7B1B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7" creationId="{B75D2EFC-B501-C368-2D27-3AB600008FE5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8" creationId="{CDD41322-3125-8D5B-7F18-C1115942FB3D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9" creationId="{3A826874-8E92-64D5-3CBE-37443099F8CF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40" creationId="{3A074C9C-28A6-E020-7ABB-FF88E7DC7579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37.171" v="1279" actId="120"/>
        <pc:sldMkLst>
          <pc:docMk/>
          <pc:sldMk cId="1747725061" sldId="308"/>
        </pc:sldMkLst>
        <pc:spChg chg="mod">
          <ac:chgData name="Oğuz Öztekin" userId="33c0df0f-d5fe-4bda-8f43-141ad7af67e3" providerId="ADAL" clId="{7671717B-C626-45BA-B33A-078C0D9E0397}" dt="2024-12-13T09:37:30.011" v="1196"/>
          <ac:spMkLst>
            <pc:docMk/>
            <pc:sldMk cId="1747725061" sldId="308"/>
            <ac:spMk id="6" creationId="{A6299AE3-C4A4-BB44-72E6-AFE249253FE0}"/>
          </ac:spMkLst>
        </pc:spChg>
        <pc:spChg chg="add del">
          <ac:chgData name="Oğuz Öztekin" userId="33c0df0f-d5fe-4bda-8f43-141ad7af67e3" providerId="ADAL" clId="{7671717B-C626-45BA-B33A-078C0D9E0397}" dt="2024-12-13T09:39:36.291" v="1235" actId="478"/>
          <ac:spMkLst>
            <pc:docMk/>
            <pc:sldMk cId="1747725061" sldId="308"/>
            <ac:spMk id="7" creationId="{A5DA60A9-EB24-3043-08CE-0292EADB8C12}"/>
          </ac:spMkLst>
        </pc:spChg>
        <pc:spChg chg="mod">
          <ac:chgData name="Oğuz Öztekin" userId="33c0df0f-d5fe-4bda-8f43-141ad7af67e3" providerId="ADAL" clId="{7671717B-C626-45BA-B33A-078C0D9E0397}" dt="2024-12-13T09:38:08.421" v="1200" actId="20577"/>
          <ac:spMkLst>
            <pc:docMk/>
            <pc:sldMk cId="1747725061" sldId="308"/>
            <ac:spMk id="10" creationId="{6421C027-2F70-E607-8564-59E45FCD045C}"/>
          </ac:spMkLst>
        </pc:spChg>
        <pc:spChg chg="mod">
          <ac:chgData name="Oğuz Öztekin" userId="33c0df0f-d5fe-4bda-8f43-141ad7af67e3" providerId="ADAL" clId="{7671717B-C626-45BA-B33A-078C0D9E0397}" dt="2024-12-13T09:59:37.171" v="1279" actId="120"/>
          <ac:spMkLst>
            <pc:docMk/>
            <pc:sldMk cId="1747725061" sldId="308"/>
            <ac:spMk id="11" creationId="{B127E0A3-D90F-1CCF-A27A-B1266B802F3B}"/>
          </ac:spMkLst>
        </pc:spChg>
        <pc:spChg chg="add del mod">
          <ac:chgData name="Oğuz Öztekin" userId="33c0df0f-d5fe-4bda-8f43-141ad7af67e3" providerId="ADAL" clId="{7671717B-C626-45BA-B33A-078C0D9E0397}" dt="2024-12-13T09:39:33.271" v="1234" actId="478"/>
          <ac:spMkLst>
            <pc:docMk/>
            <pc:sldMk cId="1747725061" sldId="308"/>
            <ac:spMk id="14" creationId="{107F0153-4B3A-27CB-A6D5-91DE5296C08B}"/>
          </ac:spMkLst>
        </pc:spChg>
        <pc:spChg chg="mod">
          <ac:chgData name="Oğuz Öztekin" userId="33c0df0f-d5fe-4bda-8f43-141ad7af67e3" providerId="ADAL" clId="{7671717B-C626-45BA-B33A-078C0D9E0397}" dt="2024-12-13T09:39:27.048" v="1233" actId="20577"/>
          <ac:spMkLst>
            <pc:docMk/>
            <pc:sldMk cId="1747725061" sldId="308"/>
            <ac:spMk id="19" creationId="{08574BC3-1104-049B-01E5-8FC26CA72D60}"/>
          </ac:spMkLst>
        </pc:spChg>
        <pc:picChg chg="add mod">
          <ac:chgData name="Oğuz Öztekin" userId="33c0df0f-d5fe-4bda-8f43-141ad7af67e3" providerId="ADAL" clId="{7671717B-C626-45BA-B33A-078C0D9E0397}" dt="2024-12-13T09:31:09.615" v="1191" actId="1076"/>
          <ac:picMkLst>
            <pc:docMk/>
            <pc:sldMk cId="1747725061" sldId="308"/>
            <ac:picMk id="4" creationId="{5DA413CE-9B6E-465E-7A91-004D2B6202AA}"/>
          </ac:picMkLst>
        </pc:picChg>
        <pc:picChg chg="del">
          <ac:chgData name="Oğuz Öztekin" userId="33c0df0f-d5fe-4bda-8f43-141ad7af67e3" providerId="ADAL" clId="{7671717B-C626-45BA-B33A-078C0D9E0397}" dt="2024-12-13T09:31:03.522" v="1190" actId="478"/>
          <ac:picMkLst>
            <pc:docMk/>
            <pc:sldMk cId="1747725061" sldId="308"/>
            <ac:picMk id="20" creationId="{ADAEC535-C5F4-D11D-6764-4B7653507B3B}"/>
          </ac:picMkLst>
        </pc:picChg>
      </pc:sldChg>
      <pc:sldChg chg="new del">
        <pc:chgData name="Oğuz Öztekin" userId="33c0df0f-d5fe-4bda-8f43-141ad7af67e3" providerId="ADAL" clId="{7671717B-C626-45BA-B33A-078C0D9E0397}" dt="2024-12-12T11:18:35.248" v="792" actId="680"/>
        <pc:sldMkLst>
          <pc:docMk/>
          <pc:sldMk cId="3453439075" sldId="308"/>
        </pc:sldMkLst>
      </pc:sldChg>
      <pc:sldChg chg="addSp delSp modSp add mod">
        <pc:chgData name="Oğuz Öztekin" userId="33c0df0f-d5fe-4bda-8f43-141ad7af67e3" providerId="ADAL" clId="{7671717B-C626-45BA-B33A-078C0D9E0397}" dt="2024-12-13T09:59:59.345" v="1283" actId="120"/>
        <pc:sldMkLst>
          <pc:docMk/>
          <pc:sldMk cId="1902639763" sldId="309"/>
        </pc:sldMkLst>
        <pc:spChg chg="add del mod">
          <ac:chgData name="Oğuz Öztekin" userId="33c0df0f-d5fe-4bda-8f43-141ad7af67e3" providerId="ADAL" clId="{7671717B-C626-45BA-B33A-078C0D9E0397}" dt="2024-12-13T09:55:44.090" v="1266"/>
          <ac:spMkLst>
            <pc:docMk/>
            <pc:sldMk cId="1902639763" sldId="309"/>
            <ac:spMk id="6" creationId="{42F9CA57-9AC9-485D-8E35-AC92F9F2CDF4}"/>
          </ac:spMkLst>
        </pc:spChg>
        <pc:spChg chg="mod">
          <ac:chgData name="Oğuz Öztekin" userId="33c0df0f-d5fe-4bda-8f43-141ad7af67e3" providerId="ADAL" clId="{7671717B-C626-45BA-B33A-078C0D9E0397}" dt="2024-12-13T09:58:13.441" v="1272" actId="20577"/>
          <ac:spMkLst>
            <pc:docMk/>
            <pc:sldMk cId="1902639763" sldId="309"/>
            <ac:spMk id="10" creationId="{FAF7F267-6905-9C9B-EBF8-3709C9D9E30A}"/>
          </ac:spMkLst>
        </pc:spChg>
        <pc:spChg chg="mod">
          <ac:chgData name="Oğuz Öztekin" userId="33c0df0f-d5fe-4bda-8f43-141ad7af67e3" providerId="ADAL" clId="{7671717B-C626-45BA-B33A-078C0D9E0397}" dt="2024-12-13T09:59:59.345" v="1283" actId="120"/>
          <ac:spMkLst>
            <pc:docMk/>
            <pc:sldMk cId="1902639763" sldId="309"/>
            <ac:spMk id="11" creationId="{522605B3-EB7B-2511-CF19-59091C8A175A}"/>
          </ac:spMkLst>
        </pc:spChg>
        <pc:spChg chg="mod">
          <ac:chgData name="Oğuz Öztekin" userId="33c0df0f-d5fe-4bda-8f43-141ad7af67e3" providerId="ADAL" clId="{7671717B-C626-45BA-B33A-078C0D9E0397}" dt="2024-12-13T09:58:39.291" v="1274" actId="20577"/>
          <ac:spMkLst>
            <pc:docMk/>
            <pc:sldMk cId="1902639763" sldId="309"/>
            <ac:spMk id="19" creationId="{712A0505-DDE7-ACA3-3C15-38E3BC93F55F}"/>
          </ac:spMkLst>
        </pc:spChg>
        <pc:spChg chg="add del">
          <ac:chgData name="Oğuz Öztekin" userId="33c0df0f-d5fe-4bda-8f43-141ad7af67e3" providerId="ADAL" clId="{7671717B-C626-45BA-B33A-078C0D9E0397}" dt="2024-12-13T09:55:31.101" v="1264" actId="478"/>
          <ac:spMkLst>
            <pc:docMk/>
            <pc:sldMk cId="1902639763" sldId="309"/>
            <ac:spMk id="21" creationId="{150F8769-E1A1-EE0F-2655-12EBD4EE01D0}"/>
          </ac:spMkLst>
        </pc:spChg>
        <pc:spChg chg="add">
          <ac:chgData name="Oğuz Öztekin" userId="33c0df0f-d5fe-4bda-8f43-141ad7af67e3" providerId="ADAL" clId="{7671717B-C626-45BA-B33A-078C0D9E0397}" dt="2024-12-13T09:55:33.815" v="1265"/>
          <ac:spMkLst>
            <pc:docMk/>
            <pc:sldMk cId="1902639763" sldId="309"/>
            <ac:spMk id="23" creationId="{717F5F8B-D476-7D38-0A83-E896921E5033}"/>
          </ac:spMkLst>
        </pc:spChg>
        <pc:picChg chg="add mod">
          <ac:chgData name="Oğuz Öztekin" userId="33c0df0f-d5fe-4bda-8f43-141ad7af67e3" providerId="ADAL" clId="{7671717B-C626-45BA-B33A-078C0D9E0397}" dt="2024-12-13T09:53:57.692" v="1254" actId="1076"/>
          <ac:picMkLst>
            <pc:docMk/>
            <pc:sldMk cId="1902639763" sldId="309"/>
            <ac:picMk id="15" creationId="{70128AB4-BD33-D1A4-063E-619DC7D65897}"/>
          </ac:picMkLst>
        </pc:picChg>
        <pc:picChg chg="add mod">
          <ac:chgData name="Oğuz Öztekin" userId="33c0df0f-d5fe-4bda-8f43-141ad7af67e3" providerId="ADAL" clId="{7671717B-C626-45BA-B33A-078C0D9E0397}" dt="2024-12-13T09:54:52.310" v="1259" actId="1076"/>
          <ac:picMkLst>
            <pc:docMk/>
            <pc:sldMk cId="1902639763" sldId="309"/>
            <ac:picMk id="20" creationId="{C251216A-E148-9A24-A91C-13437A1E3F46}"/>
          </ac:picMkLst>
        </pc:picChg>
        <pc:picChg chg="del">
          <ac:chgData name="Oğuz Öztekin" userId="33c0df0f-d5fe-4bda-8f43-141ad7af67e3" providerId="ADAL" clId="{7671717B-C626-45BA-B33A-078C0D9E0397}" dt="2024-12-13T09:54:54.512" v="1260" actId="478"/>
          <ac:picMkLst>
            <pc:docMk/>
            <pc:sldMk cId="1902639763" sldId="309"/>
            <ac:picMk id="22" creationId="{9D39AD0A-ECB6-EF7A-2A76-812481A33726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10:12:40.936" v="1424" actId="1076"/>
        <pc:sldMkLst>
          <pc:docMk/>
          <pc:sldMk cId="3251755664" sldId="310"/>
        </pc:sldMkLst>
        <pc:spChg chg="mod">
          <ac:chgData name="Oğuz Öztekin" userId="33c0df0f-d5fe-4bda-8f43-141ad7af67e3" providerId="ADAL" clId="{7671717B-C626-45BA-B33A-078C0D9E0397}" dt="2024-12-13T10:07:28.176" v="1298"/>
          <ac:spMkLst>
            <pc:docMk/>
            <pc:sldMk cId="3251755664" sldId="310"/>
            <ac:spMk id="6" creationId="{5FCC7BD8-90E8-4472-6277-4C2E226C8102}"/>
          </ac:spMkLst>
        </pc:spChg>
        <pc:spChg chg="mod">
          <ac:chgData name="Oğuz Öztekin" userId="33c0df0f-d5fe-4bda-8f43-141ad7af67e3" providerId="ADAL" clId="{7671717B-C626-45BA-B33A-078C0D9E0397}" dt="2024-12-13T10:07:52.246" v="1300"/>
          <ac:spMkLst>
            <pc:docMk/>
            <pc:sldMk cId="3251755664" sldId="310"/>
            <ac:spMk id="10" creationId="{91EEC987-7B96-20DD-DAF0-995BE014610F}"/>
          </ac:spMkLst>
        </pc:spChg>
        <pc:spChg chg="mod">
          <ac:chgData name="Oğuz Öztekin" userId="33c0df0f-d5fe-4bda-8f43-141ad7af67e3" providerId="ADAL" clId="{7671717B-C626-45BA-B33A-078C0D9E0397}" dt="2024-12-13T10:10:35.527" v="1386"/>
          <ac:spMkLst>
            <pc:docMk/>
            <pc:sldMk cId="3251755664" sldId="310"/>
            <ac:spMk id="11" creationId="{A891A715-84AD-8964-FE61-96F0E4349B3F}"/>
          </ac:spMkLst>
        </pc:spChg>
        <pc:spChg chg="mod">
          <ac:chgData name="Oğuz Öztekin" userId="33c0df0f-d5fe-4bda-8f43-141ad7af67e3" providerId="ADAL" clId="{7671717B-C626-45BA-B33A-078C0D9E0397}" dt="2024-12-13T10:00:48.734" v="1289" actId="20577"/>
          <ac:spMkLst>
            <pc:docMk/>
            <pc:sldMk cId="3251755664" sldId="310"/>
            <ac:spMk id="19" creationId="{2B1F84A3-7076-A998-F179-721E85CF295C}"/>
          </ac:spMkLst>
        </pc:spChg>
        <pc:spChg chg="add">
          <ac:chgData name="Oğuz Öztekin" userId="33c0df0f-d5fe-4bda-8f43-141ad7af67e3" providerId="ADAL" clId="{7671717B-C626-45BA-B33A-078C0D9E0397}" dt="2024-12-13T10:07:45.557" v="1299"/>
          <ac:spMkLst>
            <pc:docMk/>
            <pc:sldMk cId="3251755664" sldId="310"/>
            <ac:spMk id="22" creationId="{1D56C7B5-BF33-1C9F-F27A-98D4FA69958F}"/>
          </ac:spMkLst>
        </pc:spChg>
        <pc:spChg chg="add mod">
          <ac:chgData name="Oğuz Öztekin" userId="33c0df0f-d5fe-4bda-8f43-141ad7af67e3" providerId="ADAL" clId="{7671717B-C626-45BA-B33A-078C0D9E0397}" dt="2024-12-13T10:12:40.936" v="1424" actId="1076"/>
          <ac:spMkLst>
            <pc:docMk/>
            <pc:sldMk cId="3251755664" sldId="310"/>
            <ac:spMk id="23" creationId="{4EA7485F-F05C-9052-5585-AC0A62985D56}"/>
          </ac:spMkLst>
        </pc:spChg>
        <pc:picChg chg="add mod">
          <ac:chgData name="Oğuz Öztekin" userId="33c0df0f-d5fe-4bda-8f43-141ad7af67e3" providerId="ADAL" clId="{7671717B-C626-45BA-B33A-078C0D9E0397}" dt="2024-12-13T10:05:57.694" v="1295" actId="1076"/>
          <ac:picMkLst>
            <pc:docMk/>
            <pc:sldMk cId="3251755664" sldId="310"/>
            <ac:picMk id="3" creationId="{736FF474-5BF4-BD84-AA38-D2C594154844}"/>
          </ac:picMkLst>
        </pc:picChg>
        <pc:picChg chg="del">
          <ac:chgData name="Oğuz Öztekin" userId="33c0df0f-d5fe-4bda-8f43-141ad7af67e3" providerId="ADAL" clId="{7671717B-C626-45BA-B33A-078C0D9E0397}" dt="2024-12-13T10:05:53.873" v="1294" actId="478"/>
          <ac:picMkLst>
            <pc:docMk/>
            <pc:sldMk cId="3251755664" sldId="310"/>
            <ac:picMk id="20" creationId="{549DBFF8-639D-44A0-8AFC-B4DFBC076F82}"/>
          </ac:picMkLst>
        </pc:picChg>
        <pc:picChg chg="add mod">
          <ac:chgData name="Oğuz Öztekin" userId="33c0df0f-d5fe-4bda-8f43-141ad7af67e3" providerId="ADAL" clId="{7671717B-C626-45BA-B33A-078C0D9E0397}" dt="2024-12-13T10:07:05.065" v="1297" actId="1076"/>
          <ac:picMkLst>
            <pc:docMk/>
            <pc:sldMk cId="3251755664" sldId="310"/>
            <ac:picMk id="21" creationId="{3FECAC49-8750-EF58-B9E1-CDB57F3242A7}"/>
          </ac:picMkLst>
        </pc:picChg>
      </pc:sldChg>
    </pc:docChg>
  </pc:docChgLst>
  <pc:docChgLst>
    <pc:chgData name="Oğuz Öztekin" userId="S::oguz.oztekin@fintegral.com.tr::33c0df0f-d5fe-4bda-8f43-141ad7af67e3" providerId="AD" clId="Web-{1B90220F-A66B-1038-7D52-F74812BA8E8B}"/>
    <pc:docChg chg="modSld">
      <pc:chgData name="Oğuz Öztekin" userId="S::oguz.oztekin@fintegral.com.tr::33c0df0f-d5fe-4bda-8f43-141ad7af67e3" providerId="AD" clId="Web-{1B90220F-A66B-1038-7D52-F74812BA8E8B}" dt="2024-12-04T12:39:06.232" v="43"/>
      <pc:docMkLst>
        <pc:docMk/>
      </pc:docMkLst>
      <pc:sldChg chg="addSp">
        <pc:chgData name="Oğuz Öztekin" userId="S::oguz.oztekin@fintegral.com.tr::33c0df0f-d5fe-4bda-8f43-141ad7af67e3" providerId="AD" clId="Web-{1B90220F-A66B-1038-7D52-F74812BA8E8B}" dt="2024-12-04T12:39:03.216" v="40"/>
        <pc:sldMkLst>
          <pc:docMk/>
          <pc:sldMk cId="1507332737" sldId="264"/>
        </pc:sldMkLst>
      </pc:sldChg>
      <pc:sldChg chg="addSp">
        <pc:chgData name="Oğuz Öztekin" userId="S::oguz.oztekin@fintegral.com.tr::33c0df0f-d5fe-4bda-8f43-141ad7af67e3" providerId="AD" clId="Web-{1B90220F-A66B-1038-7D52-F74812BA8E8B}" dt="2024-12-04T12:39:03.904" v="41"/>
        <pc:sldMkLst>
          <pc:docMk/>
          <pc:sldMk cId="3866243125" sldId="265"/>
        </pc:sldMkLst>
      </pc:sldChg>
      <pc:sldChg chg="addSp">
        <pc:chgData name="Oğuz Öztekin" userId="S::oguz.oztekin@fintegral.com.tr::33c0df0f-d5fe-4bda-8f43-141ad7af67e3" providerId="AD" clId="Web-{1B90220F-A66B-1038-7D52-F74812BA8E8B}" dt="2024-12-04T12:39:04.841" v="42"/>
        <pc:sldMkLst>
          <pc:docMk/>
          <pc:sldMk cId="173792906" sldId="282"/>
        </pc:sldMkLst>
      </pc:sldChg>
      <pc:sldChg chg="addSp">
        <pc:chgData name="Oğuz Öztekin" userId="S::oguz.oztekin@fintegral.com.tr::33c0df0f-d5fe-4bda-8f43-141ad7af67e3" providerId="AD" clId="Web-{1B90220F-A66B-1038-7D52-F74812BA8E8B}" dt="2024-12-04T12:39:06.232" v="43"/>
        <pc:sldMkLst>
          <pc:docMk/>
          <pc:sldMk cId="2458421258" sldId="283"/>
        </pc:sldMkLst>
      </pc:sldChg>
      <pc:sldChg chg="addSp modSp">
        <pc:chgData name="Oğuz Öztekin" userId="S::oguz.oztekin@fintegral.com.tr::33c0df0f-d5fe-4bda-8f43-141ad7af67e3" providerId="AD" clId="Web-{1B90220F-A66B-1038-7D52-F74812BA8E8B}" dt="2024-12-04T12:38:56.888" v="39" actId="20577"/>
        <pc:sldMkLst>
          <pc:docMk/>
          <pc:sldMk cId="3193571855" sldId="290"/>
        </pc:sldMkLst>
      </pc:sldChg>
    </pc:docChg>
  </pc:docChgLst>
  <pc:docChgLst>
    <pc:chgData name="Batuhan Yelseli" userId="S::batuhan.yelseli@fintegral.com.tr::e1126a1f-d490-470b-80e9-57d2ed9dcaf7" providerId="AD" clId="Web-{5B832214-4DFE-9D95-D9FE-08F31E7EEED1}"/>
    <pc:docChg chg="modSld">
      <pc:chgData name="Batuhan Yelseli" userId="S::batuhan.yelseli@fintegral.com.tr::e1126a1f-d490-470b-80e9-57d2ed9dcaf7" providerId="AD" clId="Web-{5B832214-4DFE-9D95-D9FE-08F31E7EEED1}" dt="2024-12-06T12:42:23.445" v="270"/>
      <pc:docMkLst>
        <pc:docMk/>
      </pc:docMkLst>
      <pc:sldChg chg="addSp modSp">
        <pc:chgData name="Batuhan Yelseli" userId="S::batuhan.yelseli@fintegral.com.tr::e1126a1f-d490-470b-80e9-57d2ed9dcaf7" providerId="AD" clId="Web-{5B832214-4DFE-9D95-D9FE-08F31E7EEED1}" dt="2024-12-06T12:42:23.445" v="270"/>
        <pc:sldMkLst>
          <pc:docMk/>
          <pc:sldMk cId="3259337092" sldId="273"/>
        </pc:sldMkLst>
        <pc:graphicFrameChg chg="add mod modGraphic">
          <ac:chgData name="Batuhan Yelseli" userId="S::batuhan.yelseli@fintegral.com.tr::e1126a1f-d490-470b-80e9-57d2ed9dcaf7" providerId="AD" clId="Web-{5B832214-4DFE-9D95-D9FE-08F31E7EEED1}" dt="2024-12-06T12:42:23.445" v="270"/>
          <ac:graphicFrameMkLst>
            <pc:docMk/>
            <pc:sldMk cId="3259337092" sldId="273"/>
            <ac:graphicFrameMk id="3" creationId="{B3047D55-66B9-32C6-D401-827FEF4B8A06}"/>
          </ac:graphicFrameMkLst>
        </pc:graphicFrameChg>
      </pc:sldChg>
    </pc:docChg>
  </pc:docChgLst>
  <pc:docChgLst>
    <pc:chgData name="Batuhan Yelseli" userId="S::batuhan.yelseli@fintegral.com.tr::e1126a1f-d490-470b-80e9-57d2ed9dcaf7" providerId="AD" clId="Web-{BE8A6BB6-3078-C9F1-ACBB-5A755F9368BB}"/>
    <pc:docChg chg="delSld modSld">
      <pc:chgData name="Batuhan Yelseli" userId="S::batuhan.yelseli@fintegral.com.tr::e1126a1f-d490-470b-80e9-57d2ed9dcaf7" providerId="AD" clId="Web-{BE8A6BB6-3078-C9F1-ACBB-5A755F9368BB}" dt="2024-12-04T12:24:05.377" v="39" actId="20577"/>
      <pc:docMkLst>
        <pc:docMk/>
      </pc:docMkLst>
      <pc:sldChg chg="del">
        <pc:chgData name="Batuhan Yelseli" userId="S::batuhan.yelseli@fintegral.com.tr::e1126a1f-d490-470b-80e9-57d2ed9dcaf7" providerId="AD" clId="Web-{BE8A6BB6-3078-C9F1-ACBB-5A755F9368BB}" dt="2024-12-04T11:20:25.918" v="0"/>
        <pc:sldMkLst>
          <pc:docMk/>
          <pc:sldMk cId="0" sldId="261"/>
        </pc:sldMkLst>
      </pc:sldChg>
      <pc:sldChg chg="modSp">
        <pc:chgData name="Batuhan Yelseli" userId="S::batuhan.yelseli@fintegral.com.tr::e1126a1f-d490-470b-80e9-57d2ed9dcaf7" providerId="AD" clId="Web-{BE8A6BB6-3078-C9F1-ACBB-5A755F9368BB}" dt="2024-12-04T12:22:29.483" v="1" actId="1076"/>
        <pc:sldMkLst>
          <pc:docMk/>
          <pc:sldMk cId="3866243125" sldId="265"/>
        </pc:sldMkLst>
        <pc:picChg chg="mod">
          <ac:chgData name="Batuhan Yelseli" userId="S::batuhan.yelseli@fintegral.com.tr::e1126a1f-d490-470b-80e9-57d2ed9dcaf7" providerId="AD" clId="Web-{BE8A6BB6-3078-C9F1-ACBB-5A755F9368BB}" dt="2024-12-04T12:22:29.483" v="1" actId="1076"/>
          <ac:picMkLst>
            <pc:docMk/>
            <pc:sldMk cId="3866243125" sldId="265"/>
            <ac:picMk id="8" creationId="{8E2DEDDD-6994-65A4-B8E0-F8F82C179CAF}"/>
          </ac:picMkLst>
        </pc:picChg>
      </pc:sldChg>
      <pc:sldChg chg="addSp modSp">
        <pc:chgData name="Batuhan Yelseli" userId="S::batuhan.yelseli@fintegral.com.tr::e1126a1f-d490-470b-80e9-57d2ed9dcaf7" providerId="AD" clId="Web-{BE8A6BB6-3078-C9F1-ACBB-5A755F9368BB}" dt="2024-12-04T12:24:05.377" v="39" actId="20577"/>
        <pc:sldMkLst>
          <pc:docMk/>
          <pc:sldMk cId="173792906" sldId="282"/>
        </pc:sldMkLst>
      </pc:sldChg>
      <pc:sldChg chg="modSp">
        <pc:chgData name="Batuhan Yelseli" userId="S::batuhan.yelseli@fintegral.com.tr::e1126a1f-d490-470b-80e9-57d2ed9dcaf7" providerId="AD" clId="Web-{BE8A6BB6-3078-C9F1-ACBB-5A755F9368BB}" dt="2024-12-04T12:22:34.171" v="2" actId="1076"/>
        <pc:sldMkLst>
          <pc:docMk/>
          <pc:sldMk cId="3193571855" sldId="290"/>
        </pc:sldMkLst>
      </pc:sldChg>
    </pc:docChg>
  </pc:docChgLst>
  <pc:docChgLst>
    <pc:chgData name="Batuhan Yelseli" userId="S::batuhan.yelseli@fintegral.com.tr::e1126a1f-d490-470b-80e9-57d2ed9dcaf7" providerId="AD" clId="Web-{EA99BAC2-647C-628C-4699-C2FD74E1FD35}"/>
    <pc:docChg chg="addSld modSld">
      <pc:chgData name="Batuhan Yelseli" userId="S::batuhan.yelseli@fintegral.com.tr::e1126a1f-d490-470b-80e9-57d2ed9dcaf7" providerId="AD" clId="Web-{EA99BAC2-647C-628C-4699-C2FD74E1FD35}" dt="2024-12-04T11:14:21.289" v="396" actId="1076"/>
      <pc:docMkLst>
        <pc:docMk/>
      </pc:docMkLst>
      <pc:sldChg chg="addSp delSp modSp">
        <pc:chgData name="Batuhan Yelseli" userId="S::batuhan.yelseli@fintegral.com.tr::e1126a1f-d490-470b-80e9-57d2ed9dcaf7" providerId="AD" clId="Web-{EA99BAC2-647C-628C-4699-C2FD74E1FD35}" dt="2024-12-04T11:02:07.938" v="159" actId="20577"/>
        <pc:sldMkLst>
          <pc:docMk/>
          <pc:sldMk cId="0" sldId="257"/>
        </pc:sldMkLst>
        <pc:spChg chg="mod">
          <ac:chgData name="Batuhan Yelseli" userId="S::batuhan.yelseli@fintegral.com.tr::e1126a1f-d490-470b-80e9-57d2ed9dcaf7" providerId="AD" clId="Web-{EA99BAC2-647C-628C-4699-C2FD74E1FD35}" dt="2024-12-04T10:56:50.554" v="12" actId="20577"/>
          <ac:spMkLst>
            <pc:docMk/>
            <pc:sldMk cId="0" sldId="257"/>
            <ac:spMk id="4" creationId="{32E6913F-B29A-099E-A738-7ED96DCE72A9}"/>
          </ac:spMkLst>
        </pc:spChg>
        <pc:spChg chg="mod">
          <ac:chgData name="Batuhan Yelseli" userId="S::batuhan.yelseli@fintegral.com.tr::e1126a1f-d490-470b-80e9-57d2ed9dcaf7" providerId="AD" clId="Web-{EA99BAC2-647C-628C-4699-C2FD74E1FD35}" dt="2024-12-04T10:57:00.992" v="36" actId="20577"/>
          <ac:spMkLst>
            <pc:docMk/>
            <pc:sldMk cId="0" sldId="257"/>
            <ac:spMk id="7" creationId="{896D15E7-BB90-4A37-3DF5-B74860808388}"/>
          </ac:spMkLst>
        </pc:spChg>
        <pc:spChg chg="mod">
          <ac:chgData name="Batuhan Yelseli" userId="S::batuhan.yelseli@fintegral.com.tr::e1126a1f-d490-470b-80e9-57d2ed9dcaf7" providerId="AD" clId="Web-{EA99BAC2-647C-628C-4699-C2FD74E1FD35}" dt="2024-12-04T11:01:23.046" v="145" actId="20577"/>
          <ac:spMkLst>
            <pc:docMk/>
            <pc:sldMk cId="0" sldId="257"/>
            <ac:spMk id="10" creationId="{2D3A8575-5F7F-F089-2FC2-9114FEA0A98B}"/>
          </ac:spMkLst>
        </pc:spChg>
        <pc:spChg chg="mod">
          <ac:chgData name="Batuhan Yelseli" userId="S::batuhan.yelseli@fintegral.com.tr::e1126a1f-d490-470b-80e9-57d2ed9dcaf7" providerId="AD" clId="Web-{EA99BAC2-647C-628C-4699-C2FD74E1FD35}" dt="2024-12-04T11:02:07.938" v="159" actId="20577"/>
          <ac:spMkLst>
            <pc:docMk/>
            <pc:sldMk cId="0" sldId="257"/>
            <ac:spMk id="13" creationId="{993E1443-C725-EB95-2DC0-BCE39F75E2CC}"/>
          </ac:spMkLst>
        </pc:spChg>
        <pc:grpChg chg="mod">
          <ac:chgData name="Batuhan Yelseli" userId="S::batuhan.yelseli@fintegral.com.tr::e1126a1f-d490-470b-80e9-57d2ed9dcaf7" providerId="AD" clId="Web-{EA99BAC2-647C-628C-4699-C2FD74E1FD35}" dt="2024-12-04T11:01:59.891" v="147" actId="1076"/>
          <ac:grpSpMkLst>
            <pc:docMk/>
            <pc:sldMk cId="0" sldId="257"/>
            <ac:grpSpMk id="9" creationId="{88E72CAF-7ACF-B8A3-E95B-09033262E177}"/>
          </ac:grpSpMkLst>
        </pc:grpChg>
        <pc:grpChg chg="add mod">
          <ac:chgData name="Batuhan Yelseli" userId="S::batuhan.yelseli@fintegral.com.tr::e1126a1f-d490-470b-80e9-57d2ed9dcaf7" providerId="AD" clId="Web-{EA99BAC2-647C-628C-4699-C2FD74E1FD35}" dt="2024-12-04T11:02:03.751" v="150" actId="1076"/>
          <ac:grpSpMkLst>
            <pc:docMk/>
            <pc:sldMk cId="0" sldId="257"/>
            <ac:grpSpMk id="12" creationId="{6976BC80-68D3-633D-41E2-04C7BC09A752}"/>
          </ac:grpSpMkLst>
        </pc:grpChg>
        <pc:cxnChg chg="mod">
          <ac:chgData name="Batuhan Yelseli" userId="S::batuhan.yelseli@fintegral.com.tr::e1126a1f-d490-470b-80e9-57d2ed9dcaf7" providerId="AD" clId="Web-{EA99BAC2-647C-628C-4699-C2FD74E1FD35}" dt="2024-12-04T11:02:00.579" v="148"/>
          <ac:cxnSpMkLst>
            <pc:docMk/>
            <pc:sldMk cId="0" sldId="257"/>
            <ac:cxnSpMk id="14" creationId="{07E268E6-6494-F45A-1D6D-A571D74A286C}"/>
          </ac:cxnSpMkLst>
        </pc:cxnChg>
      </pc:sldChg>
      <pc:sldChg chg="addSp modSp">
        <pc:chgData name="Batuhan Yelseli" userId="S::batuhan.yelseli@fintegral.com.tr::e1126a1f-d490-470b-80e9-57d2ed9dcaf7" providerId="AD" clId="Web-{EA99BAC2-647C-628C-4699-C2FD74E1FD35}" dt="2024-12-04T11:14:21.289" v="396" actId="1076"/>
        <pc:sldMkLst>
          <pc:docMk/>
          <pc:sldMk cId="0" sldId="261"/>
        </pc:sldMkLst>
      </pc:sldChg>
      <pc:sldChg chg="modSp">
        <pc:chgData name="Batuhan Yelseli" userId="S::batuhan.yelseli@fintegral.com.tr::e1126a1f-d490-470b-80e9-57d2ed9dcaf7" providerId="AD" clId="Web-{EA99BAC2-647C-628C-4699-C2FD74E1FD35}" dt="2024-12-04T11:14:20.586" v="395" actId="1076"/>
        <pc:sldMkLst>
          <pc:docMk/>
          <pc:sldMk cId="1507332737" sldId="264"/>
        </pc:sldMkLst>
        <pc:spChg chg="mod">
          <ac:chgData name="Batuhan Yelseli" userId="S::batuhan.yelseli@fintegral.com.tr::e1126a1f-d490-470b-80e9-57d2ed9dcaf7" providerId="AD" clId="Web-{EA99BAC2-647C-628C-4699-C2FD74E1FD35}" dt="2024-12-04T11:14:20.586" v="395" actId="1076"/>
          <ac:spMkLst>
            <pc:docMk/>
            <pc:sldMk cId="1507332737" sldId="264"/>
            <ac:spMk id="2" creationId="{3670ECD0-6FB7-2503-EA31-65B17D888D52}"/>
          </ac:spMkLst>
        </pc:spChg>
      </pc:sldChg>
      <pc:sldChg chg="modSp">
        <pc:chgData name="Batuhan Yelseli" userId="S::batuhan.yelseli@fintegral.com.tr::e1126a1f-d490-470b-80e9-57d2ed9dcaf7" providerId="AD" clId="Web-{EA99BAC2-647C-628C-4699-C2FD74E1FD35}" dt="2024-12-04T11:00:26.435" v="116" actId="20577"/>
        <pc:sldMkLst>
          <pc:docMk/>
          <pc:sldMk cId="181281364" sldId="266"/>
        </pc:sldMkLst>
        <pc:spChg chg="mod">
          <ac:chgData name="Batuhan Yelseli" userId="S::batuhan.yelseli@fintegral.com.tr::e1126a1f-d490-470b-80e9-57d2ed9dcaf7" providerId="AD" clId="Web-{EA99BAC2-647C-628C-4699-C2FD74E1FD35}" dt="2024-12-04T11:00:26.435" v="116" actId="20577"/>
          <ac:spMkLst>
            <pc:docMk/>
            <pc:sldMk cId="181281364" sldId="266"/>
            <ac:spMk id="69" creationId="{B80DEEB7-0BE6-8121-AB46-4D9A1782C3C9}"/>
          </ac:spMkLst>
        </pc:spChg>
      </pc:sldChg>
      <pc:sldChg chg="modSp new">
        <pc:chgData name="Batuhan Yelseli" userId="S::batuhan.yelseli@fintegral.com.tr::e1126a1f-d490-470b-80e9-57d2ed9dcaf7" providerId="AD" clId="Web-{EA99BAC2-647C-628C-4699-C2FD74E1FD35}" dt="2024-12-04T10:58:54.511" v="89" actId="20577"/>
        <pc:sldMkLst>
          <pc:docMk/>
          <pc:sldMk cId="173792906" sldId="282"/>
        </pc:sldMkLst>
        <pc:spChg chg="mod">
          <ac:chgData name="Batuhan Yelseli" userId="S::batuhan.yelseli@fintegral.com.tr::e1126a1f-d490-470b-80e9-57d2ed9dcaf7" providerId="AD" clId="Web-{EA99BAC2-647C-628C-4699-C2FD74E1FD35}" dt="2024-12-04T10:58:54.511" v="89" actId="20577"/>
          <ac:spMkLst>
            <pc:docMk/>
            <pc:sldMk cId="173792906" sldId="282"/>
            <ac:spMk id="2" creationId="{BB164071-5427-ED98-0F3B-A2D0AFAA2D33}"/>
          </ac:spMkLst>
        </pc:spChg>
      </pc:sldChg>
      <pc:sldChg chg="add replId">
        <pc:chgData name="Batuhan Yelseli" userId="S::batuhan.yelseli@fintegral.com.tr::e1126a1f-d490-470b-80e9-57d2ed9dcaf7" providerId="AD" clId="Web-{EA99BAC2-647C-628C-4699-C2FD74E1FD35}" dt="2024-12-04T10:59:20.590" v="90"/>
        <pc:sldMkLst>
          <pc:docMk/>
          <pc:sldMk cId="2458421258" sldId="283"/>
        </pc:sldMkLst>
      </pc:sldChg>
      <pc:sldChg chg="add replId">
        <pc:chgData name="Batuhan Yelseli" userId="S::batuhan.yelseli@fintegral.com.tr::e1126a1f-d490-470b-80e9-57d2ed9dcaf7" providerId="AD" clId="Web-{EA99BAC2-647C-628C-4699-C2FD74E1FD35}" dt="2024-12-04T10:59:20.808" v="91"/>
        <pc:sldMkLst>
          <pc:docMk/>
          <pc:sldMk cId="1799373561" sldId="284"/>
        </pc:sldMkLst>
      </pc:sldChg>
      <pc:sldChg chg="modSp new">
        <pc:chgData name="Batuhan Yelseli" userId="S::batuhan.yelseli@fintegral.com.tr::e1126a1f-d490-470b-80e9-57d2ed9dcaf7" providerId="AD" clId="Web-{EA99BAC2-647C-628C-4699-C2FD74E1FD35}" dt="2024-12-04T10:59:38.356" v="105" actId="20577"/>
        <pc:sldMkLst>
          <pc:docMk/>
          <pc:sldMk cId="1730444853" sldId="285"/>
        </pc:sldMkLst>
        <pc:spChg chg="mod">
          <ac:chgData name="Batuhan Yelseli" userId="S::batuhan.yelseli@fintegral.com.tr::e1126a1f-d490-470b-80e9-57d2ed9dcaf7" providerId="AD" clId="Web-{EA99BAC2-647C-628C-4699-C2FD74E1FD35}" dt="2024-12-04T10:59:38.356" v="105" actId="20577"/>
          <ac:spMkLst>
            <pc:docMk/>
            <pc:sldMk cId="1730444853" sldId="285"/>
            <ac:spMk id="2" creationId="{D47425B2-E745-8317-0702-31CCF8CA37D4}"/>
          </ac:spMkLst>
        </pc:spChg>
      </pc:sldChg>
      <pc:sldChg chg="add replId">
        <pc:chgData name="Batuhan Yelseli" userId="S::batuhan.yelseli@fintegral.com.tr::e1126a1f-d490-470b-80e9-57d2ed9dcaf7" providerId="AD" clId="Web-{EA99BAC2-647C-628C-4699-C2FD74E1FD35}" dt="2024-12-04T11:00:12.388" v="106"/>
        <pc:sldMkLst>
          <pc:docMk/>
          <pc:sldMk cId="2972345480" sldId="286"/>
        </pc:sldMkLst>
      </pc:sldChg>
      <pc:sldChg chg="addSp modSp new mod modClrScheme chgLayout">
        <pc:chgData name="Batuhan Yelseli" userId="S::batuhan.yelseli@fintegral.com.tr::e1126a1f-d490-470b-80e9-57d2ed9dcaf7" providerId="AD" clId="Web-{EA99BAC2-647C-628C-4699-C2FD74E1FD35}" dt="2024-12-04T11:00:41.170" v="120"/>
        <pc:sldMkLst>
          <pc:docMk/>
          <pc:sldMk cId="1173608751" sldId="287"/>
        </pc:sldMkLst>
        <pc:spChg chg="add mod">
          <ac:chgData name="Batuhan Yelseli" userId="S::batuhan.yelseli@fintegral.com.tr::e1126a1f-d490-470b-80e9-57d2ed9dcaf7" providerId="AD" clId="Web-{EA99BAC2-647C-628C-4699-C2FD74E1FD35}" dt="2024-12-04T11:00:34.686" v="119" actId="20577"/>
          <ac:spMkLst>
            <pc:docMk/>
            <pc:sldMk cId="1173608751" sldId="287"/>
            <ac:spMk id="3" creationId="{3B884AE8-AD3B-E839-2770-B3E561E81E22}"/>
          </ac:spMkLst>
        </pc:spChg>
        <pc:spChg chg="add mod ord">
          <ac:chgData name="Batuhan Yelseli" userId="S::batuhan.yelseli@fintegral.com.tr::e1126a1f-d490-470b-80e9-57d2ed9dcaf7" providerId="AD" clId="Web-{EA99BAC2-647C-628C-4699-C2FD74E1FD35}" dt="2024-12-04T11:00:41.170" v="120"/>
          <ac:spMkLst>
            <pc:docMk/>
            <pc:sldMk cId="1173608751" sldId="287"/>
            <ac:spMk id="4" creationId="{04F8A6F9-8B7F-00E6-1305-E899E193354E}"/>
          </ac:spMkLst>
        </pc:spChg>
      </pc:sldChg>
      <pc:sldChg chg="add replId">
        <pc:chgData name="Batuhan Yelseli" userId="S::batuhan.yelseli@fintegral.com.tr::e1126a1f-d490-470b-80e9-57d2ed9dcaf7" providerId="AD" clId="Web-{EA99BAC2-647C-628C-4699-C2FD74E1FD35}" dt="2024-12-04T11:00:46.358" v="121"/>
        <pc:sldMkLst>
          <pc:docMk/>
          <pc:sldMk cId="807331676" sldId="288"/>
        </pc:sldMkLst>
      </pc:sldChg>
      <pc:sldChg chg="add replId">
        <pc:chgData name="Batuhan Yelseli" userId="S::batuhan.yelseli@fintegral.com.tr::e1126a1f-d490-470b-80e9-57d2ed9dcaf7" providerId="AD" clId="Web-{EA99BAC2-647C-628C-4699-C2FD74E1FD35}" dt="2024-12-04T11:00:48.030" v="122"/>
        <pc:sldMkLst>
          <pc:docMk/>
          <pc:sldMk cId="1381465311" sldId="289"/>
        </pc:sldMkLst>
      </pc:sldChg>
    </pc:docChg>
  </pc:docChgLst>
  <pc:docChgLst>
    <pc:chgData name="Batuhan Yelseli" userId="S::batuhan.yelseli@fintegral.com.tr::e1126a1f-d490-470b-80e9-57d2ed9dcaf7" providerId="AD" clId="Web-{206B58CE-643E-501E-D527-55D3BB36F8D1}"/>
    <pc:docChg chg="modSld">
      <pc:chgData name="Batuhan Yelseli" userId="S::batuhan.yelseli@fintegral.com.tr::e1126a1f-d490-470b-80e9-57d2ed9dcaf7" providerId="AD" clId="Web-{206B58CE-643E-501E-D527-55D3BB36F8D1}" dt="2024-12-06T11:34:57.929" v="3" actId="14100"/>
      <pc:docMkLst>
        <pc:docMk/>
      </pc:docMkLst>
      <pc:sldChg chg="modSp">
        <pc:chgData name="Batuhan Yelseli" userId="S::batuhan.yelseli@fintegral.com.tr::e1126a1f-d490-470b-80e9-57d2ed9dcaf7" providerId="AD" clId="Web-{206B58CE-643E-501E-D527-55D3BB36F8D1}" dt="2024-12-06T11:34:57.929" v="3" actId="14100"/>
        <pc:sldMkLst>
          <pc:docMk/>
          <pc:sldMk cId="1122526701" sldId="268"/>
        </pc:sldMkLst>
        <pc:spChg chg="mod">
          <ac:chgData name="Batuhan Yelseli" userId="S::batuhan.yelseli@fintegral.com.tr::e1126a1f-d490-470b-80e9-57d2ed9dcaf7" providerId="AD" clId="Web-{206B58CE-643E-501E-D527-55D3BB36F8D1}" dt="2024-12-06T11:34:57.929" v="3" actId="14100"/>
          <ac:spMkLst>
            <pc:docMk/>
            <pc:sldMk cId="1122526701" sldId="268"/>
            <ac:spMk id="6" creationId="{98BE2231-AF47-32B4-4272-64530E7F55A2}"/>
          </ac:spMkLst>
        </pc:spChg>
        <pc:picChg chg="mod">
          <ac:chgData name="Batuhan Yelseli" userId="S::batuhan.yelseli@fintegral.com.tr::e1126a1f-d490-470b-80e9-57d2ed9dcaf7" providerId="AD" clId="Web-{206B58CE-643E-501E-D527-55D3BB36F8D1}" dt="2024-12-06T11:34:51.288" v="0" actId="1076"/>
          <ac:picMkLst>
            <pc:docMk/>
            <pc:sldMk cId="1122526701" sldId="268"/>
            <ac:picMk id="3" creationId="{6BA49D2D-CD86-4AFE-7766-6FAB6BCD9078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306632489586665E-3"/>
          <c:y val="1.7514314584035028E-2"/>
          <c:w val="0.98333867350208271"/>
          <c:h val="0.964971370831929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44057782.968999997</c:v>
                </c:pt>
                <c:pt idx="1">
                  <c:v>49339728.566</c:v>
                </c:pt>
                <c:pt idx="2">
                  <c:v>52004845.452</c:v>
                </c:pt>
                <c:pt idx="3">
                  <c:v>46276005.862999998</c:v>
                </c:pt>
                <c:pt idx="4">
                  <c:v>45864868.027999997</c:v>
                </c:pt>
                <c:pt idx="5">
                  <c:v>46242838.098999999</c:v>
                </c:pt>
                <c:pt idx="6">
                  <c:v>47511100.943000004</c:v>
                </c:pt>
                <c:pt idx="7">
                  <c:v>47759685.836000003</c:v>
                </c:pt>
                <c:pt idx="8">
                  <c:v>44068860.835000001</c:v>
                </c:pt>
                <c:pt idx="9">
                  <c:v>55372204.410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BC-4632-B302-2A51E576C5A3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370432661.03799999</c:v>
                </c:pt>
                <c:pt idx="1">
                  <c:v>404765658.36000001</c:v>
                </c:pt>
                <c:pt idx="2">
                  <c:v>404860279.40100002</c:v>
                </c:pt>
                <c:pt idx="3">
                  <c:v>361425100.16100001</c:v>
                </c:pt>
                <c:pt idx="4">
                  <c:v>358511912.54400003</c:v>
                </c:pt>
                <c:pt idx="5">
                  <c:v>392797816.92699999</c:v>
                </c:pt>
                <c:pt idx="6">
                  <c:v>398575871.12599999</c:v>
                </c:pt>
                <c:pt idx="7">
                  <c:v>385052427.81999999</c:v>
                </c:pt>
                <c:pt idx="8">
                  <c:v>388456798.85699999</c:v>
                </c:pt>
                <c:pt idx="9">
                  <c:v>481522501.038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BC-4632-B302-2A51E576C5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46955800"/>
        <c:axId val="1"/>
      </c:barChart>
      <c:catAx>
        <c:axId val="646955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0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tr-TR"/>
          </a:p>
        </c:txPr>
        <c:crossAx val="646955800"/>
        <c:crosses val="max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105575326215899E-3"/>
          <c:y val="3.1511254019292605E-2"/>
          <c:w val="0.95877817319098457"/>
          <c:h val="0.9369774919614147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7.961140694322097</c:v>
                </c:pt>
                <c:pt idx="1">
                  <c:v>7.4325306415396408</c:v>
                </c:pt>
                <c:pt idx="2">
                  <c:v>7.5163200697684118</c:v>
                </c:pt>
                <c:pt idx="3">
                  <c:v>7.7993488721694773</c:v>
                </c:pt>
                <c:pt idx="4">
                  <c:v>8.0339344008588078</c:v>
                </c:pt>
                <c:pt idx="5">
                  <c:v>8.429286448091224</c:v>
                </c:pt>
                <c:pt idx="6">
                  <c:v>8.8867734688819215</c:v>
                </c:pt>
                <c:pt idx="7">
                  <c:v>9.2392134580795453</c:v>
                </c:pt>
                <c:pt idx="8">
                  <c:v>7.9727622437161996</c:v>
                </c:pt>
                <c:pt idx="9">
                  <c:v>8.53179649352236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9E-47EA-851A-700715966B89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5.8881479086601534</c:v>
                </c:pt>
                <c:pt idx="1">
                  <c:v>5.4739977814423408</c:v>
                </c:pt>
                <c:pt idx="2">
                  <c:v>5.3292497147786531</c:v>
                </c:pt>
                <c:pt idx="3">
                  <c:v>5.6337711691378489</c:v>
                </c:pt>
                <c:pt idx="4">
                  <c:v>5.8048775504521881</c:v>
                </c:pt>
                <c:pt idx="5">
                  <c:v>5.3492489033090589</c:v>
                </c:pt>
                <c:pt idx="6">
                  <c:v>5.1303847566498444</c:v>
                </c:pt>
                <c:pt idx="7">
                  <c:v>4.9706976560317528</c:v>
                </c:pt>
                <c:pt idx="8">
                  <c:v>4.2800475013855168</c:v>
                </c:pt>
                <c:pt idx="9">
                  <c:v>4.2225191525494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9E-47EA-851A-700715966B89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5.3361393433354305</c:v>
                </c:pt>
                <c:pt idx="1">
                  <c:v>5.534168307265471</c:v>
                </c:pt>
                <c:pt idx="2">
                  <c:v>5.6976635770070043</c:v>
                </c:pt>
                <c:pt idx="3">
                  <c:v>5.8003190533415996</c:v>
                </c:pt>
                <c:pt idx="4">
                  <c:v>5.7441421684001401</c:v>
                </c:pt>
                <c:pt idx="5">
                  <c:v>5.928573069337002</c:v>
                </c:pt>
                <c:pt idx="6">
                  <c:v>6.0747703952226857</c:v>
                </c:pt>
                <c:pt idx="7">
                  <c:v>6.3338890036847939</c:v>
                </c:pt>
                <c:pt idx="8">
                  <c:v>6.4446772369466014</c:v>
                </c:pt>
                <c:pt idx="9">
                  <c:v>6.7158721960511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49E-47EA-851A-700715966B89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10.806387051931949</c:v>
                </c:pt>
                <c:pt idx="1">
                  <c:v>10.29967077212833</c:v>
                </c:pt>
                <c:pt idx="2">
                  <c:v>10.564866790124793</c:v>
                </c:pt>
                <c:pt idx="3">
                  <c:v>9.766613585074591</c:v>
                </c:pt>
                <c:pt idx="4">
                  <c:v>9.6413598321455041</c:v>
                </c:pt>
                <c:pt idx="5">
                  <c:v>9.241378316794826</c:v>
                </c:pt>
                <c:pt idx="6">
                  <c:v>8.5300195767442482</c:v>
                </c:pt>
                <c:pt idx="7">
                  <c:v>8.1789238873616235</c:v>
                </c:pt>
                <c:pt idx="8">
                  <c:v>7.0819763470159707</c:v>
                </c:pt>
                <c:pt idx="9">
                  <c:v>6.550602426604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49E-47EA-851A-700715966B89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5.5817364756784258</c:v>
                </c:pt>
                <c:pt idx="1">
                  <c:v>5.6103668864068155</c:v>
                </c:pt>
                <c:pt idx="2">
                  <c:v>5.6325650270761329</c:v>
                </c:pt>
                <c:pt idx="3">
                  <c:v>5.0256052624354481</c:v>
                </c:pt>
                <c:pt idx="4">
                  <c:v>4.8304977654387251</c:v>
                </c:pt>
                <c:pt idx="5">
                  <c:v>5.726902916627477</c:v>
                </c:pt>
                <c:pt idx="6">
                  <c:v>5.5293958097797464</c:v>
                </c:pt>
                <c:pt idx="7">
                  <c:v>6.0044647473775257</c:v>
                </c:pt>
                <c:pt idx="8">
                  <c:v>6.63252774687545</c:v>
                </c:pt>
                <c:pt idx="9">
                  <c:v>6.43773532799117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9E-47EA-851A-700715966B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45889640"/>
        <c:axId val="1"/>
      </c:areaChart>
      <c:catAx>
        <c:axId val="645889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45889640"/>
        <c:crosses val="max"/>
        <c:crossBetween val="midCat"/>
        <c:majorUnit val="2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340514246004169E-3"/>
          <c:y val="3.1511254019292605E-2"/>
          <c:w val="0.94475330090340515"/>
          <c:h val="0.9369774919614147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2.0335537384309168</c:v>
                </c:pt>
                <c:pt idx="1">
                  <c:v>1.9691875797710749</c:v>
                </c:pt>
                <c:pt idx="2">
                  <c:v>1.9439839337486089</c:v>
                </c:pt>
                <c:pt idx="3">
                  <c:v>2.1263349481020781</c:v>
                </c:pt>
                <c:pt idx="4">
                  <c:v>2.026828355310883</c:v>
                </c:pt>
                <c:pt idx="5">
                  <c:v>1.8512676828165939</c:v>
                </c:pt>
                <c:pt idx="6">
                  <c:v>2.0701494656218848</c:v>
                </c:pt>
                <c:pt idx="7">
                  <c:v>2.1367172286797671</c:v>
                </c:pt>
                <c:pt idx="8">
                  <c:v>1.474504550275362</c:v>
                </c:pt>
                <c:pt idx="9">
                  <c:v>1.7039362987957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5C-49D5-B52E-518FDE67D6FE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19.006827592381349</c:v>
                </c:pt>
                <c:pt idx="1">
                  <c:v>18.949986364214428</c:v>
                </c:pt>
                <c:pt idx="2">
                  <c:v>19.39463677770037</c:v>
                </c:pt>
                <c:pt idx="3">
                  <c:v>19.704144543413619</c:v>
                </c:pt>
                <c:pt idx="4">
                  <c:v>20.081786106864541</c:v>
                </c:pt>
                <c:pt idx="5">
                  <c:v>20.333126932181958</c:v>
                </c:pt>
                <c:pt idx="6">
                  <c:v>20.378185813053399</c:v>
                </c:pt>
                <c:pt idx="7">
                  <c:v>20.445520964449429</c:v>
                </c:pt>
                <c:pt idx="8">
                  <c:v>21.096919632267429</c:v>
                </c:pt>
                <c:pt idx="9">
                  <c:v>22.430743611429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5C-49D5-B52E-518FDE67D6FE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0.55943899519160567</c:v>
                </c:pt>
                <c:pt idx="1">
                  <c:v>0.55351376101120309</c:v>
                </c:pt>
                <c:pt idx="2">
                  <c:v>0.55892911307948623</c:v>
                </c:pt>
                <c:pt idx="3">
                  <c:v>0.57737754611467196</c:v>
                </c:pt>
                <c:pt idx="4">
                  <c:v>0.53996081967799014</c:v>
                </c:pt>
                <c:pt idx="5">
                  <c:v>0.58114988055926631</c:v>
                </c:pt>
                <c:pt idx="6">
                  <c:v>0.59219597510560007</c:v>
                </c:pt>
                <c:pt idx="7">
                  <c:v>0.64429920703176435</c:v>
                </c:pt>
                <c:pt idx="8">
                  <c:v>0.64562948487491312</c:v>
                </c:pt>
                <c:pt idx="9">
                  <c:v>0.77584554044213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5C-49D5-B52E-518FDE67D6FE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0.31811737526221151</c:v>
                </c:pt>
                <c:pt idx="1">
                  <c:v>0.29450772770642786</c:v>
                </c:pt>
                <c:pt idx="2">
                  <c:v>0.29806138207413468</c:v>
                </c:pt>
                <c:pt idx="3">
                  <c:v>0.31604315391277638</c:v>
                </c:pt>
                <c:pt idx="4">
                  <c:v>0.30150032385423486</c:v>
                </c:pt>
                <c:pt idx="5">
                  <c:v>0.28016909453856442</c:v>
                </c:pt>
                <c:pt idx="6">
                  <c:v>0.27999235694078806</c:v>
                </c:pt>
                <c:pt idx="7">
                  <c:v>0.28406511733732387</c:v>
                </c:pt>
                <c:pt idx="8">
                  <c:v>0.25889939193305267</c:v>
                </c:pt>
                <c:pt idx="9">
                  <c:v>0.27762415483391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85C-49D5-B52E-518FDE67D6FE}"/>
            </c:ext>
          </c:extLst>
        </c:ser>
        <c:ser>
          <c:idx val="4"/>
          <c:order val="4"/>
          <c:spPr>
            <a:solidFill>
              <a:schemeClr val="accent4"/>
            </a:solidFill>
            <a:ln>
              <a:noFill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0.73985948409019997</c:v>
                </c:pt>
                <c:pt idx="1">
                  <c:v>0.73223093797327365</c:v>
                </c:pt>
                <c:pt idx="2">
                  <c:v>0.77498615155225181</c:v>
                </c:pt>
                <c:pt idx="3">
                  <c:v>0.78676441577704281</c:v>
                </c:pt>
                <c:pt idx="4">
                  <c:v>0.81335400293714955</c:v>
                </c:pt>
                <c:pt idx="5">
                  <c:v>0.82041753403933271</c:v>
                </c:pt>
                <c:pt idx="6">
                  <c:v>0.82854526550533691</c:v>
                </c:pt>
                <c:pt idx="7">
                  <c:v>0.85389448637793564</c:v>
                </c:pt>
                <c:pt idx="8">
                  <c:v>0.84082845433271913</c:v>
                </c:pt>
                <c:pt idx="9">
                  <c:v>0.92758856687776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5C-49D5-B52E-518FDE67D6FE}"/>
            </c:ext>
          </c:extLst>
        </c:ser>
        <c:ser>
          <c:idx val="5"/>
          <c:order val="5"/>
          <c:spPr>
            <a:solidFill>
              <a:schemeClr val="accent3"/>
            </a:solidFill>
            <a:ln>
              <a:noFill/>
            </a:ln>
          </c:spPr>
          <c:val>
            <c:numRef>
              <c:f>Sheet1!$A$6:$J$6</c:f>
              <c:numCache>
                <c:formatCode>General</c:formatCode>
                <c:ptCount val="10"/>
                <c:pt idx="0">
                  <c:v>11.08050568573135</c:v>
                </c:pt>
                <c:pt idx="1">
                  <c:v>11.203584154529029</c:v>
                </c:pt>
                <c:pt idx="2">
                  <c:v>11.463532066172522</c:v>
                </c:pt>
                <c:pt idx="3">
                  <c:v>11.699349527108673</c:v>
                </c:pt>
                <c:pt idx="4">
                  <c:v>11.733265819248203</c:v>
                </c:pt>
                <c:pt idx="5">
                  <c:v>11.729676980914842</c:v>
                </c:pt>
                <c:pt idx="6">
                  <c:v>11.542349461847603</c:v>
                </c:pt>
                <c:pt idx="7">
                  <c:v>11.759228739578877</c:v>
                </c:pt>
                <c:pt idx="8">
                  <c:v>10.5527802605577</c:v>
                </c:pt>
                <c:pt idx="9">
                  <c:v>10.751172937973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85C-49D5-B52E-518FDE67D6FE}"/>
            </c:ext>
          </c:extLst>
        </c:ser>
        <c:ser>
          <c:idx val="6"/>
          <c:order val="6"/>
          <c:spPr>
            <a:solidFill>
              <a:schemeClr val="accent2"/>
            </a:solidFill>
            <a:ln>
              <a:noFill/>
            </a:ln>
          </c:spPr>
          <c:val>
            <c:numRef>
              <c:f>Sheet1!$A$7:$J$7</c:f>
              <c:numCache>
                <c:formatCode>General</c:formatCode>
                <c:ptCount val="10"/>
                <c:pt idx="0">
                  <c:v>5.1210715634129755</c:v>
                </c:pt>
                <c:pt idx="1">
                  <c:v>5.106598642702096</c:v>
                </c:pt>
                <c:pt idx="2">
                  <c:v>5.213570961107358</c:v>
                </c:pt>
                <c:pt idx="3">
                  <c:v>5.1310035783076557</c:v>
                </c:pt>
                <c:pt idx="4">
                  <c:v>5.1781756641762229</c:v>
                </c:pt>
                <c:pt idx="5">
                  <c:v>5.1508343984178637</c:v>
                </c:pt>
                <c:pt idx="6">
                  <c:v>5.2041042796828378</c:v>
                </c:pt>
                <c:pt idx="7">
                  <c:v>5.2528366296865983</c:v>
                </c:pt>
                <c:pt idx="8">
                  <c:v>10.676470679149162</c:v>
                </c:pt>
                <c:pt idx="9">
                  <c:v>6.4570437486895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85C-49D5-B52E-518FDE67D6FE}"/>
            </c:ext>
          </c:extLst>
        </c:ser>
        <c:ser>
          <c:idx val="7"/>
          <c:order val="7"/>
          <c:spPr>
            <a:solidFill>
              <a:schemeClr val="accent1"/>
            </a:solidFill>
            <a:ln>
              <a:noFill/>
            </a:ln>
          </c:spPr>
          <c:val>
            <c:numRef>
              <c:f>Sheet1!$A$8:$J$8</c:f>
              <c:numCache>
                <c:formatCode>General</c:formatCode>
                <c:ptCount val="10"/>
                <c:pt idx="0">
                  <c:v>18.185358832265592</c:v>
                </c:pt>
                <c:pt idx="1">
                  <c:v>17.981093387378017</c:v>
                </c:pt>
                <c:pt idx="2">
                  <c:v>18.197453708760435</c:v>
                </c:pt>
                <c:pt idx="3">
                  <c:v>18.440214585824847</c:v>
                </c:pt>
                <c:pt idx="4">
                  <c:v>18.349233669201631</c:v>
                </c:pt>
                <c:pt idx="5">
                  <c:v>18.318655934482067</c:v>
                </c:pt>
                <c:pt idx="6">
                  <c:v>18.204389947509796</c:v>
                </c:pt>
                <c:pt idx="7">
                  <c:v>18.219866307568864</c:v>
                </c:pt>
                <c:pt idx="8">
                  <c:v>17.193764730438815</c:v>
                </c:pt>
                <c:pt idx="9">
                  <c:v>16.214202359751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85C-49D5-B52E-518FDE67D6FE}"/>
            </c:ext>
          </c:extLst>
        </c:ser>
        <c:ser>
          <c:idx val="8"/>
          <c:order val="8"/>
          <c:spPr>
            <a:solidFill>
              <a:schemeClr val="accent6"/>
            </a:solidFill>
            <a:ln>
              <a:noFill/>
            </a:ln>
          </c:spPr>
          <c:val>
            <c:numRef>
              <c:f>Sheet1!$A$9:$J$9</c:f>
              <c:numCache>
                <c:formatCode>General</c:formatCode>
                <c:ptCount val="10"/>
                <c:pt idx="0">
                  <c:v>18.530925234634026</c:v>
                </c:pt>
                <c:pt idx="1">
                  <c:v>18.481843921093258</c:v>
                </c:pt>
                <c:pt idx="2">
                  <c:v>18.371416309513407</c:v>
                </c:pt>
                <c:pt idx="3">
                  <c:v>18.500768012702537</c:v>
                </c:pt>
                <c:pt idx="4">
                  <c:v>18.452213106195607</c:v>
                </c:pt>
                <c:pt idx="5">
                  <c:v>18.161862494788991</c:v>
                </c:pt>
                <c:pt idx="6">
                  <c:v>18.223322548688188</c:v>
                </c:pt>
                <c:pt idx="7">
                  <c:v>18.450736958584443</c:v>
                </c:pt>
                <c:pt idx="8">
                  <c:v>17.156206401820413</c:v>
                </c:pt>
                <c:pt idx="9">
                  <c:v>18.5452082527533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85C-49D5-B52E-518FDE67D6FE}"/>
            </c:ext>
          </c:extLst>
        </c:ser>
        <c:ser>
          <c:idx val="9"/>
          <c:order val="9"/>
          <c:spPr>
            <a:solidFill>
              <a:schemeClr val="accent5"/>
            </a:solidFill>
            <a:ln>
              <a:noFill/>
            </a:ln>
          </c:spPr>
          <c:val>
            <c:numRef>
              <c:f>Sheet1!$A$10:$J$10</c:f>
              <c:numCache>
                <c:formatCode>General</c:formatCode>
                <c:ptCount val="10"/>
                <c:pt idx="0">
                  <c:v>2.4429681856492351</c:v>
                </c:pt>
                <c:pt idx="1">
                  <c:v>2.5727668836924096</c:v>
                </c:pt>
                <c:pt idx="2">
                  <c:v>2.6763869133538662</c:v>
                </c:pt>
                <c:pt idx="3">
                  <c:v>2.5701355489392483</c:v>
                </c:pt>
                <c:pt idx="4">
                  <c:v>2.6146066115957751</c:v>
                </c:pt>
                <c:pt idx="5">
                  <c:v>2.7817663883170525</c:v>
                </c:pt>
                <c:pt idx="6">
                  <c:v>2.6839716033006908</c:v>
                </c:pt>
                <c:pt idx="7">
                  <c:v>2.6987306080811635</c:v>
                </c:pt>
                <c:pt idx="8">
                  <c:v>2.5117301095848035</c:v>
                </c:pt>
                <c:pt idx="9">
                  <c:v>2.8627060570016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85C-49D5-B52E-518FDE67D6FE}"/>
            </c:ext>
          </c:extLst>
        </c:ser>
        <c:ser>
          <c:idx val="10"/>
          <c:order val="10"/>
          <c:spPr>
            <a:solidFill>
              <a:schemeClr val="accent4"/>
            </a:solidFill>
            <a:ln>
              <a:noFill/>
            </a:ln>
          </c:spPr>
          <c:val>
            <c:numRef>
              <c:f>Sheet1!$A$11:$J$11</c:f>
              <c:numCache>
                <c:formatCode>General</c:formatCode>
                <c:ptCount val="10"/>
                <c:pt idx="0">
                  <c:v>2.0884518244177883</c:v>
                </c:pt>
                <c:pt idx="1">
                  <c:v>2.0520710647143972</c:v>
                </c:pt>
                <c:pt idx="2">
                  <c:v>1.9711677692791767</c:v>
                </c:pt>
                <c:pt idx="3">
                  <c:v>1.9212539305842427</c:v>
                </c:pt>
                <c:pt idx="4">
                  <c:v>2.0410653046562004</c:v>
                </c:pt>
                <c:pt idx="5">
                  <c:v>2.0753444960391221</c:v>
                </c:pt>
                <c:pt idx="6">
                  <c:v>2.0389449383558969</c:v>
                </c:pt>
                <c:pt idx="7">
                  <c:v>1.9829457561563117</c:v>
                </c:pt>
                <c:pt idx="8">
                  <c:v>1.8680961713905049</c:v>
                </c:pt>
                <c:pt idx="9">
                  <c:v>1.9726277839073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85C-49D5-B52E-518FDE67D6FE}"/>
            </c:ext>
          </c:extLst>
        </c:ser>
        <c:ser>
          <c:idx val="11"/>
          <c:order val="11"/>
          <c:spPr>
            <a:solidFill>
              <a:schemeClr val="accent3"/>
            </a:solidFill>
            <a:ln>
              <a:noFill/>
            </a:ln>
          </c:spPr>
          <c:val>
            <c:numRef>
              <c:f>Sheet1!$A$12:$J$12</c:f>
              <c:numCache>
                <c:formatCode>General</c:formatCode>
                <c:ptCount val="10"/>
                <c:pt idx="0">
                  <c:v>1.0301260110114896</c:v>
                </c:pt>
                <c:pt idx="1">
                  <c:v>1.0440410612823285</c:v>
                </c:pt>
                <c:pt idx="2">
                  <c:v>1.0314752315395879</c:v>
                </c:pt>
                <c:pt idx="3">
                  <c:v>0.99386941634145387</c:v>
                </c:pt>
                <c:pt idx="4">
                  <c:v>1.0247089579709723</c:v>
                </c:pt>
                <c:pt idx="5">
                  <c:v>1.0009959768483014</c:v>
                </c:pt>
                <c:pt idx="6">
                  <c:v>0.96797091974258365</c:v>
                </c:pt>
                <c:pt idx="7">
                  <c:v>0.93491974073810979</c:v>
                </c:pt>
                <c:pt idx="8">
                  <c:v>0.8134061688755736</c:v>
                </c:pt>
                <c:pt idx="9">
                  <c:v>0.87431446998640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85C-49D5-B52E-518FDE67D6FE}"/>
            </c:ext>
          </c:extLst>
        </c:ser>
        <c:ser>
          <c:idx val="12"/>
          <c:order val="12"/>
          <c:spPr>
            <a:solidFill>
              <a:schemeClr val="accent2"/>
            </a:solidFill>
            <a:ln>
              <a:noFill/>
            </a:ln>
          </c:spPr>
          <c:val>
            <c:numRef>
              <c:f>Sheet1!$A$13:$J$13</c:f>
              <c:numCache>
                <c:formatCode>General</c:formatCode>
                <c:ptCount val="10"/>
                <c:pt idx="0">
                  <c:v>1.3559441861066688</c:v>
                </c:pt>
                <c:pt idx="1">
                  <c:v>1.3766315151289348</c:v>
                </c:pt>
                <c:pt idx="2">
                  <c:v>1.369888227735828</c:v>
                </c:pt>
                <c:pt idx="3">
                  <c:v>1.3067159221045443</c:v>
                </c:pt>
                <c:pt idx="4">
                  <c:v>1.312342456965979</c:v>
                </c:pt>
                <c:pt idx="5">
                  <c:v>1.2886926157692784</c:v>
                </c:pt>
                <c:pt idx="6">
                  <c:v>1.2896266007756907</c:v>
                </c:pt>
                <c:pt idx="7">
                  <c:v>1.2541797261071395</c:v>
                </c:pt>
                <c:pt idx="8">
                  <c:v>1.2430590692632109</c:v>
                </c:pt>
                <c:pt idx="9">
                  <c:v>1.3194664726737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85C-49D5-B52E-518FDE67D6FE}"/>
            </c:ext>
          </c:extLst>
        </c:ser>
        <c:ser>
          <c:idx val="13"/>
          <c:order val="13"/>
          <c:spPr>
            <a:solidFill>
              <a:schemeClr val="accent1"/>
            </a:solidFill>
            <a:ln>
              <a:noFill/>
            </a:ln>
          </c:spPr>
          <c:val>
            <c:numRef>
              <c:f>Sheet1!$A$14:$J$14</c:f>
              <c:numCache>
                <c:formatCode>General</c:formatCode>
                <c:ptCount val="10"/>
                <c:pt idx="0">
                  <c:v>1.9785637794055901</c:v>
                </c:pt>
                <c:pt idx="1">
                  <c:v>2.0185895863385781</c:v>
                </c:pt>
                <c:pt idx="2">
                  <c:v>2.0196072083615917</c:v>
                </c:pt>
                <c:pt idx="3">
                  <c:v>2.0226943753140603</c:v>
                </c:pt>
                <c:pt idx="4">
                  <c:v>2.077854222862257</c:v>
                </c:pt>
                <c:pt idx="5">
                  <c:v>2.0695745575109186</c:v>
                </c:pt>
                <c:pt idx="6">
                  <c:v>2.1270609164009784</c:v>
                </c:pt>
                <c:pt idx="7">
                  <c:v>2.1196815117832841</c:v>
                </c:pt>
                <c:pt idx="8">
                  <c:v>2.4475561384967648</c:v>
                </c:pt>
                <c:pt idx="9">
                  <c:v>2.3361818493426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85C-49D5-B52E-518FDE67D6FE}"/>
            </c:ext>
          </c:extLst>
        </c:ser>
        <c:ser>
          <c:idx val="14"/>
          <c:order val="14"/>
          <c:spPr>
            <a:solidFill>
              <a:schemeClr val="accent6"/>
            </a:solidFill>
            <a:ln>
              <a:noFill/>
            </a:ln>
          </c:spPr>
          <c:val>
            <c:numRef>
              <c:f>Sheet1!$A$15:$J$15</c:f>
              <c:numCache>
                <c:formatCode>General</c:formatCode>
                <c:ptCount val="10"/>
                <c:pt idx="0">
                  <c:v>3.6053056661638152</c:v>
                </c:pt>
                <c:pt idx="1">
                  <c:v>3.5802845706557918</c:v>
                </c:pt>
                <c:pt idx="2">
                  <c:v>3.4423507331432148</c:v>
                </c:pt>
                <c:pt idx="3">
                  <c:v>3.3253231516503661</c:v>
                </c:pt>
                <c:pt idx="4">
                  <c:v>3.2531385780344522</c:v>
                </c:pt>
                <c:pt idx="5">
                  <c:v>3.2457562737103558</c:v>
                </c:pt>
                <c:pt idx="6">
                  <c:v>3.2158536007439977</c:v>
                </c:pt>
                <c:pt idx="7">
                  <c:v>3.0932374258024282</c:v>
                </c:pt>
                <c:pt idx="8">
                  <c:v>2.69238279965532</c:v>
                </c:pt>
                <c:pt idx="9">
                  <c:v>2.8963532182571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85C-49D5-B52E-518FDE67D6FE}"/>
            </c:ext>
          </c:extLst>
        </c:ser>
        <c:ser>
          <c:idx val="15"/>
          <c:order val="15"/>
          <c:spPr>
            <a:solidFill>
              <a:schemeClr val="accent5"/>
            </a:solidFill>
            <a:ln>
              <a:noFill/>
            </a:ln>
          </c:spPr>
          <c:val>
            <c:numRef>
              <c:f>Sheet1!$A$16:$J$16</c:f>
              <c:numCache>
                <c:formatCode>General</c:formatCode>
                <c:ptCount val="10"/>
                <c:pt idx="0">
                  <c:v>4.1302920054119312</c:v>
                </c:pt>
                <c:pt idx="1">
                  <c:v>4.1615575969211562</c:v>
                </c:pt>
                <c:pt idx="2">
                  <c:v>4.2135349649167324</c:v>
                </c:pt>
                <c:pt idx="3">
                  <c:v>3.9585565021685341</c:v>
                </c:pt>
                <c:pt idx="4">
                  <c:v>3.8823675608504686</c:v>
                </c:pt>
                <c:pt idx="5">
                  <c:v>3.9399545896025927</c:v>
                </c:pt>
                <c:pt idx="6">
                  <c:v>3.964885192664994</c:v>
                </c:pt>
                <c:pt idx="7">
                  <c:v>3.9122884323661111</c:v>
                </c:pt>
                <c:pt idx="8">
                  <c:v>3.3697982608615717</c:v>
                </c:pt>
                <c:pt idx="9">
                  <c:v>3.8048070447318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85C-49D5-B52E-518FDE67D6FE}"/>
            </c:ext>
          </c:extLst>
        </c:ser>
        <c:ser>
          <c:idx val="16"/>
          <c:order val="16"/>
          <c:spPr>
            <a:solidFill>
              <a:schemeClr val="accent4"/>
            </a:solidFill>
            <a:ln>
              <a:noFill/>
            </a:ln>
          </c:spPr>
          <c:val>
            <c:numRef>
              <c:f>Sheet1!$A$17:$J$17</c:f>
              <c:numCache>
                <c:formatCode>General</c:formatCode>
                <c:ptCount val="10"/>
                <c:pt idx="0">
                  <c:v>0.32118781831327681</c:v>
                </c:pt>
                <c:pt idx="1">
                  <c:v>0.3147933569507444</c:v>
                </c:pt>
                <c:pt idx="2">
                  <c:v>0.32603358080075395</c:v>
                </c:pt>
                <c:pt idx="3">
                  <c:v>0.34040913617000967</c:v>
                </c:pt>
                <c:pt idx="4">
                  <c:v>0.33877776748320798</c:v>
                </c:pt>
                <c:pt idx="5">
                  <c:v>0.32231769523828291</c:v>
                </c:pt>
                <c:pt idx="6">
                  <c:v>0.33535441747578432</c:v>
                </c:pt>
                <c:pt idx="7">
                  <c:v>0.38444174971901646</c:v>
                </c:pt>
                <c:pt idx="8">
                  <c:v>0.35258961599119232</c:v>
                </c:pt>
                <c:pt idx="9">
                  <c:v>0.401699248049538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85C-49D5-B52E-518FDE67D6FE}"/>
            </c:ext>
          </c:extLst>
        </c:ser>
        <c:ser>
          <c:idx val="17"/>
          <c:order val="17"/>
          <c:spPr>
            <a:solidFill>
              <a:schemeClr val="accent3"/>
            </a:solidFill>
            <a:ln>
              <a:noFill/>
            </a:ln>
          </c:spPr>
          <c:val>
            <c:numRef>
              <c:f>Sheet1!$A$18:$J$18</c:f>
              <c:numCache>
                <c:formatCode>General</c:formatCode>
                <c:ptCount val="10"/>
                <c:pt idx="0">
                  <c:v>5.9175854461880988</c:v>
                </c:pt>
                <c:pt idx="1">
                  <c:v>6.1014884648117231</c:v>
                </c:pt>
                <c:pt idx="2">
                  <c:v>5.3077442963485311</c:v>
                </c:pt>
                <c:pt idx="3">
                  <c:v>4.9554946264336763</c:v>
                </c:pt>
                <c:pt idx="4">
                  <c:v>4.6657701601042874</c:v>
                </c:pt>
                <c:pt idx="5">
                  <c:v>4.7633100458457562</c:v>
                </c:pt>
                <c:pt idx="6">
                  <c:v>4.6971113394689183</c:v>
                </c:pt>
                <c:pt idx="7">
                  <c:v>4.3692978102462376</c:v>
                </c:pt>
                <c:pt idx="8">
                  <c:v>3.9417578825527784</c:v>
                </c:pt>
                <c:pt idx="9">
                  <c:v>4.5187459106032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685C-49D5-B52E-518FDE67D6FE}"/>
            </c:ext>
          </c:extLst>
        </c:ser>
        <c:ser>
          <c:idx val="18"/>
          <c:order val="18"/>
          <c:spPr>
            <a:solidFill>
              <a:schemeClr val="accent2"/>
            </a:solidFill>
            <a:ln>
              <a:noFill/>
            </a:ln>
          </c:spPr>
          <c:val>
            <c:numRef>
              <c:f>Sheet1!$A$19:$J$19</c:f>
              <c:numCache>
                <c:formatCode>General</c:formatCode>
                <c:ptCount val="10"/>
                <c:pt idx="0">
                  <c:v>1.3014785287177659</c:v>
                </c:pt>
                <c:pt idx="1">
                  <c:v>1.2654986729538678</c:v>
                </c:pt>
                <c:pt idx="2">
                  <c:v>1.2065526246652354</c:v>
                </c:pt>
                <c:pt idx="3">
                  <c:v>1.1366358119544344</c:v>
                </c:pt>
                <c:pt idx="4">
                  <c:v>1.1401506814294322</c:v>
                </c:pt>
                <c:pt idx="5">
                  <c:v>1.1191827887100203</c:v>
                </c:pt>
                <c:pt idx="6">
                  <c:v>1.1899280953170717</c:v>
                </c:pt>
                <c:pt idx="7">
                  <c:v>1.0495369998916289</c:v>
                </c:pt>
                <c:pt idx="8">
                  <c:v>0.75748205884191577</c:v>
                </c:pt>
                <c:pt idx="9">
                  <c:v>0.82083348161539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85C-49D5-B52E-518FDE67D6FE}"/>
            </c:ext>
          </c:extLst>
        </c:ser>
        <c:ser>
          <c:idx val="19"/>
          <c:order val="19"/>
          <c:spPr>
            <a:solidFill>
              <a:schemeClr val="accent1"/>
            </a:solidFill>
            <a:ln>
              <a:noFill/>
            </a:ln>
          </c:spPr>
          <c:val>
            <c:numRef>
              <c:f>Sheet1!$A$20:$J$20</c:f>
              <c:numCache>
                <c:formatCode>General</c:formatCode>
                <c:ptCount val="10"/>
                <c:pt idx="0">
                  <c:v>0.25243804721414165</c:v>
                </c:pt>
                <c:pt idx="1">
                  <c:v>0.23973075017127599</c:v>
                </c:pt>
                <c:pt idx="2">
                  <c:v>0.21868804614692294</c:v>
                </c:pt>
                <c:pt idx="3">
                  <c:v>0.18691126707555838</c:v>
                </c:pt>
                <c:pt idx="4">
                  <c:v>0.17289983058053338</c:v>
                </c:pt>
                <c:pt idx="5">
                  <c:v>0.16594363966883918</c:v>
                </c:pt>
                <c:pt idx="6">
                  <c:v>0.16605726179797387</c:v>
                </c:pt>
                <c:pt idx="7">
                  <c:v>0.15357459981359511</c:v>
                </c:pt>
                <c:pt idx="8">
                  <c:v>0.10613813883679768</c:v>
                </c:pt>
                <c:pt idx="9">
                  <c:v>0.10889899228310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85C-49D5-B52E-518FDE67D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8201936"/>
        <c:axId val="1"/>
      </c:areaChart>
      <c:catAx>
        <c:axId val="858201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858201936"/>
        <c:crosses val="max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229997212155006E-2"/>
          <c:y val="3.017241379310345E-2"/>
          <c:w val="0.9350432115974352"/>
          <c:h val="0.89716748768472909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A8F-4551-BF4E-60A3E6AC078D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A8F-4551-BF4E-60A3E6AC078D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A8F-4551-BF4E-60A3E6AC078D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A8F-4551-BF4E-60A3E6AC078D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A8F-4551-BF4E-60A3E6AC078D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A8F-4551-BF4E-60A3E6AC078D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A8F-4551-BF4E-60A3E6AC078D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A8F-4551-BF4E-60A3E6AC078D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A8F-4551-BF4E-60A3E6AC078D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A8F-4551-BF4E-60A3E6AC078D}"/>
              </c:ext>
            </c:extLst>
          </c:dPt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0.58088280351598476</c:v>
                </c:pt>
                <c:pt idx="1">
                  <c:v>0.61623308901363116</c:v>
                </c:pt>
                <c:pt idx="2">
                  <c:v>0.58351935783551312</c:v>
                </c:pt>
                <c:pt idx="3">
                  <c:v>0.55764826485875396</c:v>
                </c:pt>
                <c:pt idx="4">
                  <c:v>0.56506286760670843</c:v>
                </c:pt>
                <c:pt idx="5">
                  <c:v>0.99696128100173065</c:v>
                </c:pt>
                <c:pt idx="6">
                  <c:v>1.005999528868849</c:v>
                </c:pt>
                <c:pt idx="7">
                  <c:v>1.0200510904984841</c:v>
                </c:pt>
                <c:pt idx="8">
                  <c:v>0.94598284460746318</c:v>
                </c:pt>
                <c:pt idx="9">
                  <c:v>1.0126674002667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7A8F-4551-BF4E-60A3E6AC07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.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.00;&quot;-&quot;#,##0.0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0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229997212155006E-2"/>
          <c:y val="3.017241379310345E-2"/>
          <c:w val="0.9350432115974352"/>
          <c:h val="0.89716748768472909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324-410D-BC93-675AAD79CDD5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324-410D-BC93-675AAD79CDD5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324-410D-BC93-675AAD79CDD5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324-410D-BC93-675AAD79CDD5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324-410D-BC93-675AAD79CDD5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324-410D-BC93-675AAD79CDD5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324-410D-BC93-675AAD79CDD5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324-410D-BC93-675AAD79CDD5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324-410D-BC93-675AAD79CDD5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324-410D-BC93-675AAD79CDD5}"/>
              </c:ext>
            </c:extLst>
          </c:dPt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0.56077895401669842</c:v>
                </c:pt>
                <c:pt idx="1">
                  <c:v>0.5826059172106568</c:v>
                </c:pt>
                <c:pt idx="2">
                  <c:v>0.5699509380542318</c:v>
                </c:pt>
                <c:pt idx="3">
                  <c:v>0.57057073256056157</c:v>
                </c:pt>
                <c:pt idx="4">
                  <c:v>0.56360385467386254</c:v>
                </c:pt>
                <c:pt idx="5">
                  <c:v>1.17229601329138</c:v>
                </c:pt>
                <c:pt idx="6">
                  <c:v>1.2073222884494781</c:v>
                </c:pt>
                <c:pt idx="7">
                  <c:v>1.241632316243773</c:v>
                </c:pt>
                <c:pt idx="8">
                  <c:v>1.017392630300306</c:v>
                </c:pt>
                <c:pt idx="9">
                  <c:v>1.064901439269378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8324-410D-BC93-675AAD79CD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.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.00;&quot;-&quot;#,##0.0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0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80451602715932E-2"/>
          <c:y val="3.017241379310345E-2"/>
          <c:w val="0.93573345965577137"/>
          <c:h val="0.89716748768472909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5.0843424146067644</c:v>
                </c:pt>
                <c:pt idx="1">
                  <c:v>5.1815178557369874</c:v>
                </c:pt>
                <c:pt idx="2">
                  <c:v>4.6333227082898496</c:v>
                </c:pt>
                <c:pt idx="3">
                  <c:v>4.0799955529983603</c:v>
                </c:pt>
                <c:pt idx="4">
                  <c:v>3.594369067388635</c:v>
                </c:pt>
                <c:pt idx="5">
                  <c:v>3.64230914368739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307-402C-93DE-A341E3269E64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0">
                  <c:v>4.1455627293304316</c:v>
                </c:pt>
                <c:pt idx="1">
                  <c:v>4.4888636887851847</c:v>
                </c:pt>
                <c:pt idx="2">
                  <c:v>4.1465701942926794</c:v>
                </c:pt>
                <c:pt idx="3">
                  <c:v>3.6875016195437809</c:v>
                </c:pt>
                <c:pt idx="4">
                  <c:v>3.6861399443395579</c:v>
                </c:pt>
                <c:pt idx="5">
                  <c:v>3.5898738268110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307-402C-93DE-A341E3269E64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4:$J$4</c:f>
              <c:numCache>
                <c:formatCode>General</c:formatCode>
                <c:ptCount val="10"/>
                <c:pt idx="0">
                  <c:v>0.51132752361115219</c:v>
                </c:pt>
                <c:pt idx="1">
                  <c:v>0.58128983468271722</c:v>
                </c:pt>
                <c:pt idx="2">
                  <c:v>0.55836691695388263</c:v>
                </c:pt>
                <c:pt idx="3">
                  <c:v>0.5336155458926306</c:v>
                </c:pt>
                <c:pt idx="4">
                  <c:v>0.55621797740557199</c:v>
                </c:pt>
                <c:pt idx="5">
                  <c:v>0.571727740406935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307-402C-93DE-A341E3269E64}"/>
            </c:ext>
          </c:extLst>
        </c:ser>
        <c:ser>
          <c:idx val="3"/>
          <c:order val="3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5:$J$5</c:f>
              <c:numCache>
                <c:formatCode>General</c:formatCode>
                <c:ptCount val="10"/>
                <c:pt idx="0">
                  <c:v>0.30013323717435642</c:v>
                </c:pt>
                <c:pt idx="1">
                  <c:v>0.34187730990055681</c:v>
                </c:pt>
                <c:pt idx="2">
                  <c:v>0.35682634752640319</c:v>
                </c:pt>
                <c:pt idx="3">
                  <c:v>0.34538318924012701</c:v>
                </c:pt>
                <c:pt idx="4">
                  <c:v>0.35966278140475771</c:v>
                </c:pt>
                <c:pt idx="5">
                  <c:v>0.409158971690642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307-402C-93DE-A341E3269E64}"/>
            </c:ext>
          </c:extLst>
        </c:ser>
        <c:ser>
          <c:idx val="4"/>
          <c:order val="4"/>
          <c:spPr>
            <a:ln w="28575" cmpd="sng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6:$J$6</c:f>
              <c:numCache>
                <c:formatCode>General</c:formatCode>
                <c:ptCount val="10"/>
                <c:pt idx="5">
                  <c:v>3.3766850403759792</c:v>
                </c:pt>
                <c:pt idx="6">
                  <c:v>3.2630394839170909</c:v>
                </c:pt>
                <c:pt idx="7">
                  <c:v>3.0726550456458841</c:v>
                </c:pt>
                <c:pt idx="8">
                  <c:v>3.3063335810343149</c:v>
                </c:pt>
                <c:pt idx="9">
                  <c:v>3.443265589944053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307-402C-93DE-A341E3269E64}"/>
            </c:ext>
          </c:extLst>
        </c:ser>
        <c:ser>
          <c:idx val="5"/>
          <c:order val="5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7:$J$7</c:f>
              <c:numCache>
                <c:formatCode>General</c:formatCode>
                <c:ptCount val="10"/>
                <c:pt idx="5">
                  <c:v>3.5093224760758428</c:v>
                </c:pt>
                <c:pt idx="6">
                  <c:v>3.693285726748476</c:v>
                </c:pt>
                <c:pt idx="7">
                  <c:v>3.592387232926471</c:v>
                </c:pt>
                <c:pt idx="8">
                  <c:v>3.594239815438649</c:v>
                </c:pt>
                <c:pt idx="9">
                  <c:v>4.160381068183266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7307-402C-93DE-A341E3269E64}"/>
            </c:ext>
          </c:extLst>
        </c:ser>
        <c:ser>
          <c:idx val="6"/>
          <c:order val="6"/>
          <c:spPr>
            <a:ln w="28575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8:$J$8</c:f>
              <c:numCache>
                <c:formatCode>General</c:formatCode>
                <c:ptCount val="10"/>
                <c:pt idx="5">
                  <c:v>14.21917293691142</c:v>
                </c:pt>
                <c:pt idx="6">
                  <c:v>14.16159124919567</c:v>
                </c:pt>
                <c:pt idx="7">
                  <c:v>15.663799023525</c:v>
                </c:pt>
                <c:pt idx="8">
                  <c:v>17.065617881726538</c:v>
                </c:pt>
                <c:pt idx="9">
                  <c:v>16.5404543659562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7307-402C-93DE-A341E3269E64}"/>
            </c:ext>
          </c:extLst>
        </c:ser>
        <c:ser>
          <c:idx val="7"/>
          <c:order val="7"/>
          <c:spPr>
            <a:ln w="28575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9:$J$9</c:f>
              <c:numCache>
                <c:formatCode>General</c:formatCode>
                <c:ptCount val="10"/>
                <c:pt idx="5">
                  <c:v>4.5087110763332063</c:v>
                </c:pt>
                <c:pt idx="6">
                  <c:v>4.5681443271094473</c:v>
                </c:pt>
                <c:pt idx="7">
                  <c:v>4.2705964959990537</c:v>
                </c:pt>
                <c:pt idx="8">
                  <c:v>4.740826994978681</c:v>
                </c:pt>
                <c:pt idx="9">
                  <c:v>4.9497525607600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7307-402C-93DE-A341E3269E64}"/>
            </c:ext>
          </c:extLst>
        </c:ser>
        <c:ser>
          <c:idx val="8"/>
          <c:order val="8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10:$J$10</c:f>
              <c:numCache>
                <c:formatCode>General</c:formatCode>
                <c:ptCount val="10"/>
                <c:pt idx="5">
                  <c:v>3.589873826811091</c:v>
                </c:pt>
                <c:pt idx="6">
                  <c:v>3.4375175135048011</c:v>
                </c:pt>
                <c:pt idx="7">
                  <c:v>3.234862168791286</c:v>
                </c:pt>
                <c:pt idx="8">
                  <c:v>1.955296376585157</c:v>
                </c:pt>
                <c:pt idx="9">
                  <c:v>3.09657613937368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7307-402C-93DE-A341E3269E64}"/>
            </c:ext>
          </c:extLst>
        </c:ser>
        <c:ser>
          <c:idx val="9"/>
          <c:order val="9"/>
          <c:spPr>
            <a:ln w="28575" cmpd="sng" algn="ctr">
              <a:solidFill>
                <a:srgbClr val="6F8DB9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11:$J$11</c:f>
              <c:numCache>
                <c:formatCode>General</c:formatCode>
                <c:ptCount val="10"/>
                <c:pt idx="5">
                  <c:v>1.2010101202818859</c:v>
                </c:pt>
                <c:pt idx="6">
                  <c:v>1.384538400349544</c:v>
                </c:pt>
                <c:pt idx="7">
                  <c:v>1.4707202089338649</c:v>
                </c:pt>
                <c:pt idx="8">
                  <c:v>1.4762473697055929</c:v>
                </c:pt>
                <c:pt idx="9">
                  <c:v>1.456786005979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7307-402C-93DE-A341E3269E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8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494962216624686E-2"/>
          <c:y val="3.017241379310345E-2"/>
          <c:w val="0.93293450881612094"/>
          <c:h val="0.89716748768472909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1.4345167922627551</c:v>
                </c:pt>
                <c:pt idx="1">
                  <c:v>1.57188349262623</c:v>
                </c:pt>
                <c:pt idx="2">
                  <c:v>1.948909491695527</c:v>
                </c:pt>
                <c:pt idx="3">
                  <c:v>1.5691045506296519</c:v>
                </c:pt>
                <c:pt idx="4">
                  <c:v>1.5863934158089119</c:v>
                </c:pt>
                <c:pt idx="5">
                  <c:v>1.374106131282945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7F3-4C4E-91B8-CA2E368800F8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0">
                  <c:v>0.31706326976251992</c:v>
                </c:pt>
                <c:pt idx="1">
                  <c:v>0.34521895973404132</c:v>
                </c:pt>
                <c:pt idx="2">
                  <c:v>0.37613344315735708</c:v>
                </c:pt>
                <c:pt idx="3">
                  <c:v>0.41526062076744702</c:v>
                </c:pt>
                <c:pt idx="4">
                  <c:v>0.38990649228826663</c:v>
                </c:pt>
                <c:pt idx="5">
                  <c:v>0.346531725131893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7F3-4C4E-91B8-CA2E368800F8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4:$J$4</c:f>
              <c:numCache>
                <c:formatCode>General</c:formatCode>
                <c:ptCount val="10"/>
                <c:pt idx="0">
                  <c:v>0.67782095617514504</c:v>
                </c:pt>
                <c:pt idx="1">
                  <c:v>0.6686883719563258</c:v>
                </c:pt>
                <c:pt idx="2">
                  <c:v>0.63147107069584285</c:v>
                </c:pt>
                <c:pt idx="3">
                  <c:v>0.5482461459530138</c:v>
                </c:pt>
                <c:pt idx="4">
                  <c:v>0.51823292700773094</c:v>
                </c:pt>
                <c:pt idx="5">
                  <c:v>0.424170200236437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7F3-4C4E-91B8-CA2E368800F8}"/>
            </c:ext>
          </c:extLst>
        </c:ser>
        <c:ser>
          <c:idx val="3"/>
          <c:order val="3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5:$J$5</c:f>
              <c:numCache>
                <c:formatCode>General</c:formatCode>
                <c:ptCount val="10"/>
                <c:pt idx="0">
                  <c:v>0.57802770929971614</c:v>
                </c:pt>
                <c:pt idx="1">
                  <c:v>0.57378780139767116</c:v>
                </c:pt>
                <c:pt idx="2">
                  <c:v>0.61416754608183866</c:v>
                </c:pt>
                <c:pt idx="3">
                  <c:v>0.65756193365943183</c:v>
                </c:pt>
                <c:pt idx="4">
                  <c:v>0.62553315388809727</c:v>
                </c:pt>
                <c:pt idx="5">
                  <c:v>0.443920223996673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7F3-4C4E-91B8-CA2E368800F8}"/>
            </c:ext>
          </c:extLst>
        </c:ser>
        <c:ser>
          <c:idx val="4"/>
          <c:order val="4"/>
          <c:spPr>
            <a:ln w="28575" cmpd="sng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6:$J$6</c:f>
              <c:numCache>
                <c:formatCode>General</c:formatCode>
                <c:ptCount val="10"/>
                <c:pt idx="5">
                  <c:v>3.6052788895224901</c:v>
                </c:pt>
                <c:pt idx="6">
                  <c:v>3.9818882279213632</c:v>
                </c:pt>
                <c:pt idx="7">
                  <c:v>4.5131499183025952</c:v>
                </c:pt>
                <c:pt idx="8">
                  <c:v>3.6689586478463658</c:v>
                </c:pt>
                <c:pt idx="9">
                  <c:v>3.85870523731838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E7F3-4C4E-91B8-CA2E368800F8}"/>
            </c:ext>
          </c:extLst>
        </c:ser>
        <c:ser>
          <c:idx val="5"/>
          <c:order val="5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7:$J$7</c:f>
              <c:numCache>
                <c:formatCode>General</c:formatCode>
                <c:ptCount val="10"/>
                <c:pt idx="5">
                  <c:v>4.1086135221407076</c:v>
                </c:pt>
                <c:pt idx="6">
                  <c:v>4.4408198872819078</c:v>
                </c:pt>
                <c:pt idx="7">
                  <c:v>4.5866122506986091</c:v>
                </c:pt>
                <c:pt idx="8">
                  <c:v>3.3423154898793421</c:v>
                </c:pt>
                <c:pt idx="9">
                  <c:v>4.014907782530838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7F3-4C4E-91B8-CA2E368800F8}"/>
            </c:ext>
          </c:extLst>
        </c:ser>
        <c:ser>
          <c:idx val="6"/>
          <c:order val="6"/>
          <c:spPr>
            <a:ln w="28575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8:$J$8</c:f>
              <c:numCache>
                <c:formatCode>General</c:formatCode>
                <c:ptCount val="10"/>
                <c:pt idx="5">
                  <c:v>0.31866875426708913</c:v>
                </c:pt>
                <c:pt idx="6">
                  <c:v>0.37486665849028789</c:v>
                </c:pt>
                <c:pt idx="7">
                  <c:v>0.40054558384469802</c:v>
                </c:pt>
                <c:pt idx="8">
                  <c:v>0.3239785426456735</c:v>
                </c:pt>
                <c:pt idx="9">
                  <c:v>0.307979179878914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E7F3-4C4E-91B8-CA2E368800F8}"/>
            </c:ext>
          </c:extLst>
        </c:ser>
        <c:ser>
          <c:idx val="7"/>
          <c:order val="7"/>
          <c:spPr>
            <a:ln w="28575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9:$J$9</c:f>
              <c:numCache>
                <c:formatCode>General</c:formatCode>
                <c:ptCount val="10"/>
                <c:pt idx="5">
                  <c:v>1.0888496524887401</c:v>
                </c:pt>
                <c:pt idx="6">
                  <c:v>1.121817493030062</c:v>
                </c:pt>
                <c:pt idx="7">
                  <c:v>1.1877640018899951</c:v>
                </c:pt>
                <c:pt idx="8">
                  <c:v>0.96128766240750929</c:v>
                </c:pt>
                <c:pt idx="9">
                  <c:v>0.997305838141741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E7F3-4C4E-91B8-CA2E368800F8}"/>
            </c:ext>
          </c:extLst>
        </c:ser>
        <c:ser>
          <c:idx val="8"/>
          <c:order val="8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10:$J$10</c:f>
              <c:numCache>
                <c:formatCode>General</c:formatCode>
                <c:ptCount val="10"/>
                <c:pt idx="5">
                  <c:v>0.34653172513189351</c:v>
                </c:pt>
                <c:pt idx="6">
                  <c:v>0.32856478942770612</c:v>
                </c:pt>
                <c:pt idx="7">
                  <c:v>0.29779205456570979</c:v>
                </c:pt>
                <c:pt idx="8">
                  <c:v>0.14787319038219379</c:v>
                </c:pt>
                <c:pt idx="9">
                  <c:v>0.245395226586346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E7F3-4C4E-91B8-CA2E368800F8}"/>
            </c:ext>
          </c:extLst>
        </c:ser>
        <c:ser>
          <c:idx val="9"/>
          <c:order val="9"/>
          <c:spPr>
            <a:ln w="28575" cmpd="sng" algn="ctr">
              <a:solidFill>
                <a:srgbClr val="6F8DB9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11:$J$11</c:f>
              <c:numCache>
                <c:formatCode>General</c:formatCode>
                <c:ptCount val="10"/>
                <c:pt idx="5">
                  <c:v>0.30851008396229079</c:v>
                </c:pt>
                <c:pt idx="6">
                  <c:v>0.31833496253737181</c:v>
                </c:pt>
                <c:pt idx="7">
                  <c:v>0.3051061624312324</c:v>
                </c:pt>
                <c:pt idx="8">
                  <c:v>0.27461734451497011</c:v>
                </c:pt>
                <c:pt idx="9">
                  <c:v>0.248271144586086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E7F3-4C4E-91B8-CA2E368800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4.600000000000000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786088257292448E-3"/>
          <c:y val="4.0957781978575927E-2"/>
          <c:w val="0.94689603590127147"/>
          <c:h val="0.91808443604284817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11.89360107868038</c:v>
                </c:pt>
                <c:pt idx="1">
                  <c:v>12.18970225041104</c:v>
                </c:pt>
                <c:pt idx="2">
                  <c:v>12.845134012391229</c:v>
                </c:pt>
                <c:pt idx="3">
                  <c:v>12.80376095694127</c:v>
                </c:pt>
                <c:pt idx="4">
                  <c:v>12.793122466292109</c:v>
                </c:pt>
                <c:pt idx="5">
                  <c:v>11.772682053269669</c:v>
                </c:pt>
                <c:pt idx="6">
                  <c:v>11.920215041813339</c:v>
                </c:pt>
                <c:pt idx="7">
                  <c:v>12.40342415353531</c:v>
                </c:pt>
                <c:pt idx="8">
                  <c:v>11.34459763985822</c:v>
                </c:pt>
                <c:pt idx="9">
                  <c:v>11.499401230788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71C-4A31-B771-957852B221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2383264"/>
        <c:axId val="1"/>
      </c:lineChart>
      <c:catAx>
        <c:axId val="472383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72383264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16157267900704E-3"/>
          <c:y val="8.6898395721925134E-2"/>
          <c:w val="0.94906012340364476"/>
          <c:h val="0.8262032085561497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18.78870221790449</c:v>
                </c:pt>
                <c:pt idx="1">
                  <c:v>19.736116670703531</c:v>
                </c:pt>
                <c:pt idx="2">
                  <c:v>20.09000099531886</c:v>
                </c:pt>
                <c:pt idx="3">
                  <c:v>19.968089050626809</c:v>
                </c:pt>
                <c:pt idx="4">
                  <c:v>19.927004715848351</c:v>
                </c:pt>
                <c:pt idx="5">
                  <c:v>18.85367236837812</c:v>
                </c:pt>
                <c:pt idx="6">
                  <c:v>18.24143356721229</c:v>
                </c:pt>
                <c:pt idx="7">
                  <c:v>18.442103422155739</c:v>
                </c:pt>
                <c:pt idx="8">
                  <c:v>18.57366408137765</c:v>
                </c:pt>
                <c:pt idx="9">
                  <c:v>17.89623358892065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7E3-4060-913E-DA02F6235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48196520"/>
        <c:axId val="1"/>
      </c:lineChart>
      <c:catAx>
        <c:axId val="648196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48196520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16157267900704E-3"/>
          <c:y val="8.5751978891820582E-2"/>
          <c:w val="0.94906012340364476"/>
          <c:h val="0.82849604221635886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6.6406173000057684</c:v>
                </c:pt>
                <c:pt idx="1">
                  <c:v>6.7308362148967884</c:v>
                </c:pt>
                <c:pt idx="2">
                  <c:v>7.2672155958346876</c:v>
                </c:pt>
                <c:pt idx="3">
                  <c:v>7.0291230178517461</c:v>
                </c:pt>
                <c:pt idx="4">
                  <c:v>6.9098854318418983</c:v>
                </c:pt>
                <c:pt idx="5">
                  <c:v>6.3563664948956244</c:v>
                </c:pt>
                <c:pt idx="6">
                  <c:v>6.2571493936886986</c:v>
                </c:pt>
                <c:pt idx="7">
                  <c:v>6.4801034695264947</c:v>
                </c:pt>
                <c:pt idx="8">
                  <c:v>5.1425387561439422</c:v>
                </c:pt>
                <c:pt idx="9">
                  <c:v>5.491299664332787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0E7-4F1E-8E87-585BA8E376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96339400"/>
        <c:axId val="1"/>
      </c:lineChart>
      <c:catAx>
        <c:axId val="696339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96339400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120314290391234E-3"/>
          <c:y val="4.1401273885350316E-2"/>
          <c:w val="0.98297593714192177"/>
          <c:h val="0.917197452229299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60179713.31900001</c:v>
                </c:pt>
                <c:pt idx="1">
                  <c:v>169897259.215</c:v>
                </c:pt>
                <c:pt idx="2">
                  <c:v>176114435.222</c:v>
                </c:pt>
                <c:pt idx="3">
                  <c:v>161303390.877</c:v>
                </c:pt>
                <c:pt idx="4">
                  <c:v>162033589.39500001</c:v>
                </c:pt>
                <c:pt idx="5">
                  <c:v>170238045.59599999</c:v>
                </c:pt>
                <c:pt idx="6">
                  <c:v>188343441.39899999</c:v>
                </c:pt>
                <c:pt idx="7">
                  <c:v>190669538.46900001</c:v>
                </c:pt>
                <c:pt idx="8">
                  <c:v>179376774.61500001</c:v>
                </c:pt>
                <c:pt idx="9">
                  <c:v>233216566.115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42-4DBF-9D95-0A2D29B97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0718056"/>
        <c:axId val="1"/>
      </c:barChart>
      <c:catAx>
        <c:axId val="700718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tr-TR"/>
          </a:p>
        </c:txPr>
        <c:crossAx val="700718056"/>
        <c:crosses val="max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120314290391234E-3"/>
          <c:y val="3.6312849162011177E-2"/>
          <c:w val="0.98297593714192177"/>
          <c:h val="0.927374301675977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210252947.71900001</c:v>
                </c:pt>
                <c:pt idx="1">
                  <c:v>234868399.14500001</c:v>
                </c:pt>
                <c:pt idx="2">
                  <c:v>228745844.17899999</c:v>
                </c:pt>
                <c:pt idx="3">
                  <c:v>200121709.28400001</c:v>
                </c:pt>
                <c:pt idx="4">
                  <c:v>196478323.14899999</c:v>
                </c:pt>
                <c:pt idx="5">
                  <c:v>222559771.331</c:v>
                </c:pt>
                <c:pt idx="6">
                  <c:v>210232429.727</c:v>
                </c:pt>
                <c:pt idx="7">
                  <c:v>194382889.35100001</c:v>
                </c:pt>
                <c:pt idx="8">
                  <c:v>209080024.24200001</c:v>
                </c:pt>
                <c:pt idx="9">
                  <c:v>248305934.923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3A-4739-B12A-FAA44825B0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2051800"/>
        <c:axId val="1"/>
      </c:barChart>
      <c:catAx>
        <c:axId val="852051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tr-TR"/>
          </a:p>
        </c:txPr>
        <c:crossAx val="852051800"/>
        <c:crosses val="max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867341202922993E-2"/>
          <c:y val="4.0148239654107472E-2"/>
          <c:w val="0.91975829117481733"/>
          <c:h val="0.86102532427424339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A37-4985-BCDC-BA4BBA41614F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A37-4985-BCDC-BA4BBA41614F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A37-4985-BCDC-BA4BBA41614F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A37-4985-BCDC-BA4BBA41614F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A37-4985-BCDC-BA4BBA41614F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A37-4985-BCDC-BA4BBA41614F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A37-4985-BCDC-BA4BBA41614F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A37-4985-BCDC-BA4BBA41614F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A37-4985-BCDC-BA4BBA41614F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A37-4985-BCDC-BA4BBA41614F}"/>
              </c:ext>
            </c:extLst>
          </c:dPt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6.0621813936177809</c:v>
                </c:pt>
                <c:pt idx="1">
                  <c:v>6.2677245573582754</c:v>
                </c:pt>
                <c:pt idx="2">
                  <c:v>6.5512059856875791</c:v>
                </c:pt>
                <c:pt idx="3">
                  <c:v>7.0272873112472682</c:v>
                </c:pt>
                <c:pt idx="4">
                  <c:v>7.134962749745231</c:v>
                </c:pt>
                <c:pt idx="5">
                  <c:v>7.0129839392599829</c:v>
                </c:pt>
                <c:pt idx="6">
                  <c:v>6.6456512046926637</c:v>
                </c:pt>
                <c:pt idx="7">
                  <c:v>6.8029426456164366</c:v>
                </c:pt>
                <c:pt idx="8">
                  <c:v>6.8965495538371524</c:v>
                </c:pt>
                <c:pt idx="9">
                  <c:v>6.33272152611043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CA37-4985-BCDC-BA4BBA416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8"/>
          <c:min val="5"/>
        </c:scaling>
        <c:delete val="0"/>
        <c:axPos val="r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340514246004169E-3"/>
          <c:y val="3.1511254019292605E-2"/>
          <c:w val="0.94475330090340515"/>
          <c:h val="0.9369774919614147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0.10162041694856939</c:v>
                </c:pt>
                <c:pt idx="1">
                  <c:v>0.1885216466109805</c:v>
                </c:pt>
                <c:pt idx="2">
                  <c:v>0.1117243924030419</c:v>
                </c:pt>
                <c:pt idx="3">
                  <c:v>0.12819329239438859</c:v>
                </c:pt>
                <c:pt idx="4">
                  <c:v>0.24409281017934559</c:v>
                </c:pt>
                <c:pt idx="5">
                  <c:v>0.100296545585657</c:v>
                </c:pt>
                <c:pt idx="6">
                  <c:v>0.1031503030897383</c:v>
                </c:pt>
                <c:pt idx="7">
                  <c:v>0.69411129462441568</c:v>
                </c:pt>
                <c:pt idx="8">
                  <c:v>6.4997968858814356E-2</c:v>
                </c:pt>
                <c:pt idx="9">
                  <c:v>4.97707651183698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33-455C-941B-90B7A84DCD83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8.6457356926647613</c:v>
                </c:pt>
                <c:pt idx="1">
                  <c:v>9.0143677840267866</c:v>
                </c:pt>
                <c:pt idx="2">
                  <c:v>8.7343067096664466</c:v>
                </c:pt>
                <c:pt idx="3">
                  <c:v>8.8827118142334385</c:v>
                </c:pt>
                <c:pt idx="4">
                  <c:v>9.0417840365844846</c:v>
                </c:pt>
                <c:pt idx="5">
                  <c:v>9.0835942616077112</c:v>
                </c:pt>
                <c:pt idx="6">
                  <c:v>10.278958228809341</c:v>
                </c:pt>
                <c:pt idx="7">
                  <c:v>11.0921209741391</c:v>
                </c:pt>
                <c:pt idx="8">
                  <c:v>11.564116537549889</c:v>
                </c:pt>
                <c:pt idx="9">
                  <c:v>11.562937638261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33-455C-941B-90B7A84DCD83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5.9372788550504652E-3</c:v>
                </c:pt>
                <c:pt idx="1">
                  <c:v>7.4714650239702252E-3</c:v>
                </c:pt>
                <c:pt idx="2">
                  <c:v>6.5435780870544136E-3</c:v>
                </c:pt>
                <c:pt idx="3">
                  <c:v>7.5700751393519283E-3</c:v>
                </c:pt>
                <c:pt idx="4">
                  <c:v>1.22090936505721E-2</c:v>
                </c:pt>
                <c:pt idx="5">
                  <c:v>9.1561244539200004E-3</c:v>
                </c:pt>
                <c:pt idx="6">
                  <c:v>1.1143073729593667E-2</c:v>
                </c:pt>
                <c:pt idx="7">
                  <c:v>1.2533673621954122E-2</c:v>
                </c:pt>
                <c:pt idx="8">
                  <c:v>1.3193130136128772E-2</c:v>
                </c:pt>
                <c:pt idx="9">
                  <c:v>1.734659946696837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33-455C-941B-90B7A84DCD83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2.7203453973291047E-2</c:v>
                </c:pt>
                <c:pt idx="1">
                  <c:v>2.0894696415085789E-2</c:v>
                </c:pt>
                <c:pt idx="2">
                  <c:v>1.9128340231386431E-2</c:v>
                </c:pt>
                <c:pt idx="3">
                  <c:v>1.8418321872150756E-2</c:v>
                </c:pt>
                <c:pt idx="4">
                  <c:v>2.34647718048695E-2</c:v>
                </c:pt>
                <c:pt idx="5">
                  <c:v>2.086869159943916E-2</c:v>
                </c:pt>
                <c:pt idx="6">
                  <c:v>2.352067210519948E-2</c:v>
                </c:pt>
                <c:pt idx="7">
                  <c:v>2.221992945226603E-2</c:v>
                </c:pt>
                <c:pt idx="8">
                  <c:v>2.4217110948342224E-2</c:v>
                </c:pt>
                <c:pt idx="9">
                  <c:v>2.744411455933004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33-455C-941B-90B7A84DCD83}"/>
            </c:ext>
          </c:extLst>
        </c:ser>
        <c:ser>
          <c:idx val="4"/>
          <c:order val="4"/>
          <c:spPr>
            <a:solidFill>
              <a:schemeClr val="accent4"/>
            </a:solidFill>
            <a:ln>
              <a:noFill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7.1646582837672668E-2</c:v>
                </c:pt>
                <c:pt idx="1">
                  <c:v>7.9499894328899146E-2</c:v>
                </c:pt>
                <c:pt idx="2">
                  <c:v>9.0176246288647732E-2</c:v>
                </c:pt>
                <c:pt idx="3">
                  <c:v>9.5630650481098201E-2</c:v>
                </c:pt>
                <c:pt idx="4">
                  <c:v>0.10474294810331664</c:v>
                </c:pt>
                <c:pt idx="5">
                  <c:v>0.12486303889957995</c:v>
                </c:pt>
                <c:pt idx="6">
                  <c:v>0.13291063951088411</c:v>
                </c:pt>
                <c:pt idx="7">
                  <c:v>0.12839357871446566</c:v>
                </c:pt>
                <c:pt idx="8">
                  <c:v>0.17619861541658821</c:v>
                </c:pt>
                <c:pt idx="9">
                  <c:v>0.16825041624284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33-455C-941B-90B7A84DCD83}"/>
            </c:ext>
          </c:extLst>
        </c:ser>
        <c:ser>
          <c:idx val="5"/>
          <c:order val="5"/>
          <c:spPr>
            <a:solidFill>
              <a:schemeClr val="accent3"/>
            </a:solidFill>
            <a:ln>
              <a:noFill/>
            </a:ln>
          </c:spPr>
          <c:val>
            <c:numRef>
              <c:f>Sheet1!$A$6:$J$6</c:f>
              <c:numCache>
                <c:formatCode>General</c:formatCode>
                <c:ptCount val="10"/>
                <c:pt idx="0">
                  <c:v>1.8280618915887388</c:v>
                </c:pt>
                <c:pt idx="1">
                  <c:v>2.068225592028389</c:v>
                </c:pt>
                <c:pt idx="2">
                  <c:v>2.0872738172770244</c:v>
                </c:pt>
                <c:pt idx="3">
                  <c:v>2.197057356392726</c:v>
                </c:pt>
                <c:pt idx="4">
                  <c:v>2.3367573522673339</c:v>
                </c:pt>
                <c:pt idx="5">
                  <c:v>2.494492518442156</c:v>
                </c:pt>
                <c:pt idx="6">
                  <c:v>2.7548530962109261</c:v>
                </c:pt>
                <c:pt idx="7">
                  <c:v>2.8206959491426407</c:v>
                </c:pt>
                <c:pt idx="8">
                  <c:v>2.6091248706612724</c:v>
                </c:pt>
                <c:pt idx="9">
                  <c:v>2.7596909030323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B33-455C-941B-90B7A84DCD83}"/>
            </c:ext>
          </c:extLst>
        </c:ser>
        <c:ser>
          <c:idx val="6"/>
          <c:order val="6"/>
          <c:spPr>
            <a:solidFill>
              <a:schemeClr val="accent2"/>
            </a:solidFill>
            <a:ln>
              <a:noFill/>
            </a:ln>
          </c:spPr>
          <c:val>
            <c:numRef>
              <c:f>Sheet1!$A$7:$J$7</c:f>
              <c:numCache>
                <c:formatCode>General</c:formatCode>
                <c:ptCount val="10"/>
                <c:pt idx="0">
                  <c:v>6.8497777409059317</c:v>
                </c:pt>
                <c:pt idx="1">
                  <c:v>7.2797479339672329</c:v>
                </c:pt>
                <c:pt idx="2">
                  <c:v>7.0496183724899666</c:v>
                </c:pt>
                <c:pt idx="3">
                  <c:v>6.6586431762136442</c:v>
                </c:pt>
                <c:pt idx="4">
                  <c:v>6.8343668218604918</c:v>
                </c:pt>
                <c:pt idx="5">
                  <c:v>6.8780235825765441</c:v>
                </c:pt>
                <c:pt idx="6">
                  <c:v>6.5173266376265211</c:v>
                </c:pt>
                <c:pt idx="7">
                  <c:v>6.2681016547364177</c:v>
                </c:pt>
                <c:pt idx="8">
                  <c:v>7.7513006375702531</c:v>
                </c:pt>
                <c:pt idx="9">
                  <c:v>7.0752899637583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B33-455C-941B-90B7A84DCD83}"/>
            </c:ext>
          </c:extLst>
        </c:ser>
        <c:ser>
          <c:idx val="7"/>
          <c:order val="7"/>
          <c:spPr>
            <a:solidFill>
              <a:schemeClr val="accent1"/>
            </a:solidFill>
            <a:ln>
              <a:noFill/>
            </a:ln>
          </c:spPr>
          <c:val>
            <c:numRef>
              <c:f>Sheet1!$A$8:$J$8</c:f>
              <c:numCache>
                <c:formatCode>General</c:formatCode>
                <c:ptCount val="10"/>
                <c:pt idx="0">
                  <c:v>20.308955871127399</c:v>
                </c:pt>
                <c:pt idx="1">
                  <c:v>19.485873722316761</c:v>
                </c:pt>
                <c:pt idx="2">
                  <c:v>20.015702932866905</c:v>
                </c:pt>
                <c:pt idx="3">
                  <c:v>21.275977895199897</c:v>
                </c:pt>
                <c:pt idx="4">
                  <c:v>21.412570730807349</c:v>
                </c:pt>
                <c:pt idx="5">
                  <c:v>21.104147240437563</c:v>
                </c:pt>
                <c:pt idx="6">
                  <c:v>20.90491210100679</c:v>
                </c:pt>
                <c:pt idx="7">
                  <c:v>20.862692439588386</c:v>
                </c:pt>
                <c:pt idx="8">
                  <c:v>21.176518396738636</c:v>
                </c:pt>
                <c:pt idx="9">
                  <c:v>19.130427164403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B33-455C-941B-90B7A84DCD83}"/>
            </c:ext>
          </c:extLst>
        </c:ser>
        <c:ser>
          <c:idx val="8"/>
          <c:order val="8"/>
          <c:spPr>
            <a:solidFill>
              <a:schemeClr val="accent6"/>
            </a:solidFill>
            <a:ln>
              <a:noFill/>
            </a:ln>
          </c:spPr>
          <c:val>
            <c:numRef>
              <c:f>Sheet1!$A$9:$J$9</c:f>
              <c:numCache>
                <c:formatCode>General</c:formatCode>
                <c:ptCount val="10"/>
                <c:pt idx="0">
                  <c:v>30.200765297645546</c:v>
                </c:pt>
                <c:pt idx="1">
                  <c:v>29.727583700868593</c:v>
                </c:pt>
                <c:pt idx="2">
                  <c:v>30.399402002450159</c:v>
                </c:pt>
                <c:pt idx="3">
                  <c:v>30.000978355108799</c:v>
                </c:pt>
                <c:pt idx="4">
                  <c:v>29.727500838457949</c:v>
                </c:pt>
                <c:pt idx="5">
                  <c:v>28.665472552383775</c:v>
                </c:pt>
                <c:pt idx="6">
                  <c:v>28.021693266284835</c:v>
                </c:pt>
                <c:pt idx="7">
                  <c:v>27.903170518292697</c:v>
                </c:pt>
                <c:pt idx="8">
                  <c:v>26.605240250459573</c:v>
                </c:pt>
                <c:pt idx="9">
                  <c:v>27.017541834477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B33-455C-941B-90B7A84DCD83}"/>
            </c:ext>
          </c:extLst>
        </c:ser>
        <c:ser>
          <c:idx val="9"/>
          <c:order val="9"/>
          <c:spPr>
            <a:solidFill>
              <a:schemeClr val="accent5"/>
            </a:solidFill>
            <a:ln>
              <a:noFill/>
            </a:ln>
          </c:spPr>
          <c:val>
            <c:numRef>
              <c:f>Sheet1!$A$10:$J$10</c:f>
              <c:numCache>
                <c:formatCode>General</c:formatCode>
                <c:ptCount val="10"/>
                <c:pt idx="0">
                  <c:v>4.7539670063996766</c:v>
                </c:pt>
                <c:pt idx="1">
                  <c:v>4.7479068677833851</c:v>
                </c:pt>
                <c:pt idx="2">
                  <c:v>4.6350282057300376</c:v>
                </c:pt>
                <c:pt idx="3">
                  <c:v>4.2078292502934573</c:v>
                </c:pt>
                <c:pt idx="4">
                  <c:v>4.2875054729338018</c:v>
                </c:pt>
                <c:pt idx="5">
                  <c:v>4.6653040152698395</c:v>
                </c:pt>
                <c:pt idx="6">
                  <c:v>4.4667979805215765</c:v>
                </c:pt>
                <c:pt idx="7">
                  <c:v>4.2514241031756939</c:v>
                </c:pt>
                <c:pt idx="8">
                  <c:v>4.4214157422698861</c:v>
                </c:pt>
                <c:pt idx="9">
                  <c:v>5.0140538864997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B33-455C-941B-90B7A84DCD83}"/>
            </c:ext>
          </c:extLst>
        </c:ser>
        <c:ser>
          <c:idx val="10"/>
          <c:order val="10"/>
          <c:spPr>
            <a:solidFill>
              <a:schemeClr val="accent4"/>
            </a:solidFill>
            <a:ln>
              <a:noFill/>
            </a:ln>
          </c:spPr>
          <c:val>
            <c:numRef>
              <c:f>Sheet1!$A$11:$J$11</c:f>
              <c:numCache>
                <c:formatCode>General</c:formatCode>
                <c:ptCount val="10"/>
                <c:pt idx="0">
                  <c:v>1.082579392755548</c:v>
                </c:pt>
                <c:pt idx="1">
                  <c:v>1.0507865390427895</c:v>
                </c:pt>
                <c:pt idx="2">
                  <c:v>1.0021327937422626</c:v>
                </c:pt>
                <c:pt idx="3">
                  <c:v>0.99320340151763276</c:v>
                </c:pt>
                <c:pt idx="4">
                  <c:v>0.96349776379726393</c:v>
                </c:pt>
                <c:pt idx="5">
                  <c:v>0.9995221677450985</c:v>
                </c:pt>
                <c:pt idx="6">
                  <c:v>0.93839699485037897</c:v>
                </c:pt>
                <c:pt idx="7">
                  <c:v>0.88226256767629252</c:v>
                </c:pt>
                <c:pt idx="8">
                  <c:v>0.80868452284931891</c:v>
                </c:pt>
                <c:pt idx="9">
                  <c:v>0.800168043968639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B33-455C-941B-90B7A84DCD83}"/>
            </c:ext>
          </c:extLst>
        </c:ser>
        <c:ser>
          <c:idx val="11"/>
          <c:order val="11"/>
          <c:spPr>
            <a:solidFill>
              <a:schemeClr val="accent3"/>
            </a:solidFill>
            <a:ln>
              <a:noFill/>
            </a:ln>
          </c:spPr>
          <c:val>
            <c:numRef>
              <c:f>Sheet1!$A$12:$J$12</c:f>
              <c:numCache>
                <c:formatCode>General</c:formatCode>
                <c:ptCount val="10"/>
                <c:pt idx="0">
                  <c:v>1.6898855351087008</c:v>
                </c:pt>
                <c:pt idx="1">
                  <c:v>1.7179984882198909</c:v>
                </c:pt>
                <c:pt idx="2">
                  <c:v>1.558449199195806</c:v>
                </c:pt>
                <c:pt idx="3">
                  <c:v>1.4270533899377682</c:v>
                </c:pt>
                <c:pt idx="4">
                  <c:v>1.318781625288139</c:v>
                </c:pt>
                <c:pt idx="5">
                  <c:v>1.3561759065949559</c:v>
                </c:pt>
                <c:pt idx="6">
                  <c:v>1.2576991191472615</c:v>
                </c:pt>
                <c:pt idx="7">
                  <c:v>1.2071875614151395</c:v>
                </c:pt>
                <c:pt idx="8">
                  <c:v>1.1586015964677472</c:v>
                </c:pt>
                <c:pt idx="9">
                  <c:v>1.11283305829795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B33-455C-941B-90B7A84DCD83}"/>
            </c:ext>
          </c:extLst>
        </c:ser>
        <c:ser>
          <c:idx val="12"/>
          <c:order val="12"/>
          <c:spPr>
            <a:solidFill>
              <a:schemeClr val="accent2"/>
            </a:solidFill>
            <a:ln>
              <a:noFill/>
            </a:ln>
          </c:spPr>
          <c:val>
            <c:numRef>
              <c:f>Sheet1!$A$13:$J$13</c:f>
              <c:numCache>
                <c:formatCode>General</c:formatCode>
                <c:ptCount val="10"/>
                <c:pt idx="0">
                  <c:v>6.749099279453759</c:v>
                </c:pt>
                <c:pt idx="1">
                  <c:v>6.6445089775940289</c:v>
                </c:pt>
                <c:pt idx="2">
                  <c:v>6.701903484015034</c:v>
                </c:pt>
                <c:pt idx="3">
                  <c:v>6.1883372085239188</c:v>
                </c:pt>
                <c:pt idx="4">
                  <c:v>5.9603902399623507</c:v>
                </c:pt>
                <c:pt idx="5">
                  <c:v>6.8160154273395079</c:v>
                </c:pt>
                <c:pt idx="6">
                  <c:v>6.6535682408356962</c:v>
                </c:pt>
                <c:pt idx="7">
                  <c:v>7.2467492567872114</c:v>
                </c:pt>
                <c:pt idx="8">
                  <c:v>7.8767680695230524</c:v>
                </c:pt>
                <c:pt idx="9">
                  <c:v>7.72279569770438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B33-455C-941B-90B7A84DCD83}"/>
            </c:ext>
          </c:extLst>
        </c:ser>
        <c:ser>
          <c:idx val="13"/>
          <c:order val="13"/>
          <c:spPr>
            <a:solidFill>
              <a:schemeClr val="accent1"/>
            </a:solidFill>
            <a:ln>
              <a:noFill/>
            </a:ln>
          </c:spPr>
          <c:val>
            <c:numRef>
              <c:f>Sheet1!$A$14:$J$14</c:f>
              <c:numCache>
                <c:formatCode>General</c:formatCode>
                <c:ptCount val="10"/>
                <c:pt idx="0">
                  <c:v>1.5469239717397301</c:v>
                </c:pt>
                <c:pt idx="1">
                  <c:v>1.5392661831902217</c:v>
                </c:pt>
                <c:pt idx="2">
                  <c:v>1.6494158779289023</c:v>
                </c:pt>
                <c:pt idx="3">
                  <c:v>1.7898249671071653</c:v>
                </c:pt>
                <c:pt idx="4">
                  <c:v>1.9603031623608018</c:v>
                </c:pt>
                <c:pt idx="5">
                  <c:v>2.0894243532634391</c:v>
                </c:pt>
                <c:pt idx="6">
                  <c:v>2.4003385387566283</c:v>
                </c:pt>
                <c:pt idx="7">
                  <c:v>2.3647890061162684</c:v>
                </c:pt>
                <c:pt idx="8">
                  <c:v>2.9426207678633745</c:v>
                </c:pt>
                <c:pt idx="9">
                  <c:v>2.657213329129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B33-455C-941B-90B7A84DCD83}"/>
            </c:ext>
          </c:extLst>
        </c:ser>
        <c:ser>
          <c:idx val="14"/>
          <c:order val="14"/>
          <c:spPr>
            <a:solidFill>
              <a:schemeClr val="accent6"/>
            </a:solidFill>
            <a:ln>
              <a:noFill/>
            </a:ln>
          </c:spPr>
          <c:val>
            <c:numRef>
              <c:f>Sheet1!$A$15:$J$15</c:f>
              <c:numCache>
                <c:formatCode>General</c:formatCode>
                <c:ptCount val="10"/>
                <c:pt idx="0">
                  <c:v>4.2726258371706791</c:v>
                </c:pt>
                <c:pt idx="1">
                  <c:v>4.4123831434295795</c:v>
                </c:pt>
                <c:pt idx="2">
                  <c:v>4.2701503123732891</c:v>
                </c:pt>
                <c:pt idx="3">
                  <c:v>4.46283741855909</c:v>
                </c:pt>
                <c:pt idx="4">
                  <c:v>4.4155732573152164</c:v>
                </c:pt>
                <c:pt idx="5">
                  <c:v>4.2368791010058402</c:v>
                </c:pt>
                <c:pt idx="6">
                  <c:v>4.327008567005322</c:v>
                </c:pt>
                <c:pt idx="7">
                  <c:v>4.099045666978256</c:v>
                </c:pt>
                <c:pt idx="8">
                  <c:v>3.5931730407738485</c:v>
                </c:pt>
                <c:pt idx="9">
                  <c:v>4.26396260007058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B33-455C-941B-90B7A84DCD83}"/>
            </c:ext>
          </c:extLst>
        </c:ser>
        <c:ser>
          <c:idx val="15"/>
          <c:order val="15"/>
          <c:spPr>
            <a:solidFill>
              <a:schemeClr val="accent5"/>
            </a:solidFill>
            <a:ln>
              <a:noFill/>
            </a:ln>
          </c:spPr>
          <c:val>
            <c:numRef>
              <c:f>Sheet1!$A$16:$J$16</c:f>
              <c:numCache>
                <c:formatCode>General</c:formatCode>
                <c:ptCount val="10"/>
                <c:pt idx="0">
                  <c:v>4.9213591183257392</c:v>
                </c:pt>
                <c:pt idx="1">
                  <c:v>5.0320401961932646</c:v>
                </c:pt>
                <c:pt idx="2">
                  <c:v>4.9842872222688328</c:v>
                </c:pt>
                <c:pt idx="3">
                  <c:v>4.9542419450506969</c:v>
                </c:pt>
                <c:pt idx="4">
                  <c:v>4.8206066901774562</c:v>
                </c:pt>
                <c:pt idx="5">
                  <c:v>4.9486718755293992</c:v>
                </c:pt>
                <c:pt idx="6">
                  <c:v>4.7133698901950964</c:v>
                </c:pt>
                <c:pt idx="7">
                  <c:v>4.4343608202733833</c:v>
                </c:pt>
                <c:pt idx="8">
                  <c:v>4.1369935543913527</c:v>
                </c:pt>
                <c:pt idx="9">
                  <c:v>4.635877064520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DB33-455C-941B-90B7A84DCD83}"/>
            </c:ext>
          </c:extLst>
        </c:ser>
        <c:ser>
          <c:idx val="16"/>
          <c:order val="16"/>
          <c:spPr>
            <a:solidFill>
              <a:schemeClr val="accent4"/>
            </a:solidFill>
            <a:ln>
              <a:noFill/>
            </a:ln>
          </c:spPr>
          <c:val>
            <c:numRef>
              <c:f>Sheet1!$A$17:$J$17</c:f>
              <c:numCache>
                <c:formatCode>General</c:formatCode>
                <c:ptCount val="10"/>
                <c:pt idx="0">
                  <c:v>8.5306864721658826E-2</c:v>
                </c:pt>
                <c:pt idx="1">
                  <c:v>9.3952125009721499E-2</c:v>
                </c:pt>
                <c:pt idx="2">
                  <c:v>8.725955774752947E-2</c:v>
                </c:pt>
                <c:pt idx="3">
                  <c:v>9.0228471152300926E-2</c:v>
                </c:pt>
                <c:pt idx="4">
                  <c:v>0.10001318118766278</c:v>
                </c:pt>
                <c:pt idx="5">
                  <c:v>0.10386971542622803</c:v>
                </c:pt>
                <c:pt idx="6">
                  <c:v>0.125783278218492</c:v>
                </c:pt>
                <c:pt idx="7">
                  <c:v>0.15142346796825734</c:v>
                </c:pt>
                <c:pt idx="8">
                  <c:v>0.14451432560890964</c:v>
                </c:pt>
                <c:pt idx="9">
                  <c:v>0.160162854843960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B33-455C-941B-90B7A84DCD83}"/>
            </c:ext>
          </c:extLst>
        </c:ser>
        <c:ser>
          <c:idx val="17"/>
          <c:order val="17"/>
          <c:spPr>
            <a:solidFill>
              <a:schemeClr val="accent3"/>
            </a:solidFill>
            <a:ln>
              <a:noFill/>
            </a:ln>
          </c:spPr>
          <c:val>
            <c:numRef>
              <c:f>Sheet1!$A$18:$J$18</c:f>
              <c:numCache>
                <c:formatCode>General</c:formatCode>
                <c:ptCount val="10"/>
                <c:pt idx="0">
                  <c:v>6.1866730893202373</c:v>
                </c:pt>
                <c:pt idx="1">
                  <c:v>6.2419188769044212</c:v>
                </c:pt>
                <c:pt idx="2">
                  <c:v>5.9850527068818025</c:v>
                </c:pt>
                <c:pt idx="3">
                  <c:v>6.0702855263529898</c:v>
                </c:pt>
                <c:pt idx="4">
                  <c:v>5.9968979549059043</c:v>
                </c:pt>
                <c:pt idx="5">
                  <c:v>5.8105432637696737</c:v>
                </c:pt>
                <c:pt idx="6">
                  <c:v>5.8726639041755817</c:v>
                </c:pt>
                <c:pt idx="7">
                  <c:v>5.2189839325628213</c:v>
                </c:pt>
                <c:pt idx="8">
                  <c:v>4.6379065107793167</c:v>
                </c:pt>
                <c:pt idx="9">
                  <c:v>5.5809225718648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DB33-455C-941B-90B7A84DCD83}"/>
            </c:ext>
          </c:extLst>
        </c:ser>
        <c:ser>
          <c:idx val="18"/>
          <c:order val="18"/>
          <c:spPr>
            <a:solidFill>
              <a:schemeClr val="accent2"/>
            </a:solidFill>
            <a:ln>
              <a:noFill/>
            </a:ln>
          </c:spPr>
          <c:val>
            <c:numRef>
              <c:f>Sheet1!$A$19:$J$19</c:f>
              <c:numCache>
                <c:formatCode>General</c:formatCode>
                <c:ptCount val="10"/>
                <c:pt idx="0">
                  <c:v>0.65772844976078204</c:v>
                </c:pt>
                <c:pt idx="1">
                  <c:v>0.63444290187320007</c:v>
                </c:pt>
                <c:pt idx="2">
                  <c:v>0.59698487063380412</c:v>
                </c:pt>
                <c:pt idx="3">
                  <c:v>0.53257963811063291</c:v>
                </c:pt>
                <c:pt idx="4">
                  <c:v>0.42474293819265085</c:v>
                </c:pt>
                <c:pt idx="5">
                  <c:v>0.47134399780628655</c:v>
                </c:pt>
                <c:pt idx="6">
                  <c:v>0.47289774322122469</c:v>
                </c:pt>
                <c:pt idx="7">
                  <c:v>0.29976564761996372</c:v>
                </c:pt>
                <c:pt idx="8">
                  <c:v>0.23587776945514349</c:v>
                </c:pt>
                <c:pt idx="9">
                  <c:v>0.226291194862227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B33-455C-941B-90B7A84DCD83}"/>
            </c:ext>
          </c:extLst>
        </c:ser>
        <c:ser>
          <c:idx val="19"/>
          <c:order val="19"/>
          <c:spPr>
            <a:solidFill>
              <a:schemeClr val="accent1"/>
            </a:solidFill>
            <a:ln>
              <a:noFill/>
            </a:ln>
          </c:spPr>
          <c:val>
            <c:numRef>
              <c:f>Sheet1!$A$20:$J$20</c:f>
              <c:numCache>
                <c:formatCode>General</c:formatCode>
                <c:ptCount val="10"/>
                <c:pt idx="0">
                  <c:v>1.4147228696529623E-2</c:v>
                </c:pt>
                <c:pt idx="1">
                  <c:v>1.260926517278449E-2</c:v>
                </c:pt>
                <c:pt idx="2">
                  <c:v>1.545937772210948E-2</c:v>
                </c:pt>
                <c:pt idx="3">
                  <c:v>1.8397846358851666E-2</c:v>
                </c:pt>
                <c:pt idx="4">
                  <c:v>1.4198310163067163E-2</c:v>
                </c:pt>
                <c:pt idx="5">
                  <c:v>2.1335620263400301E-2</c:v>
                </c:pt>
                <c:pt idx="6">
                  <c:v>2.3007724698942411E-2</c:v>
                </c:pt>
                <c:pt idx="7">
                  <c:v>3.9967957114342312E-2</c:v>
                </c:pt>
                <c:pt idx="8">
                  <c:v>5.853658167856679E-2</c:v>
                </c:pt>
                <c:pt idx="9">
                  <c:v>1.70202989169467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B33-455C-941B-90B7A84DCD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99218560"/>
        <c:axId val="1"/>
      </c:areaChart>
      <c:catAx>
        <c:axId val="6992185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99218560"/>
        <c:crosses val="max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340514246004169E-3"/>
          <c:y val="3.1511254019292605E-2"/>
          <c:w val="0.94475330090340515"/>
          <c:h val="0.9369774919614147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0.34807330707470219</c:v>
                </c:pt>
                <c:pt idx="1">
                  <c:v>0.38104266860841107</c:v>
                </c:pt>
                <c:pt idx="2">
                  <c:v>0.35307646768155221</c:v>
                </c:pt>
                <c:pt idx="3">
                  <c:v>0.2766546824511299</c:v>
                </c:pt>
                <c:pt idx="4">
                  <c:v>0.32995639359024431</c:v>
                </c:pt>
                <c:pt idx="5">
                  <c:v>0.37039695065496092</c:v>
                </c:pt>
                <c:pt idx="6">
                  <c:v>0.2143140553276375</c:v>
                </c:pt>
                <c:pt idx="7">
                  <c:v>0.13178637775803259</c:v>
                </c:pt>
                <c:pt idx="8">
                  <c:v>8.6869312834334231E-2</c:v>
                </c:pt>
                <c:pt idx="9">
                  <c:v>0.1141728964250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4B-43BB-B5DA-B98E0D4E80A6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8.5238356896220271</c:v>
                </c:pt>
                <c:pt idx="1">
                  <c:v>9.3727300196330461</c:v>
                </c:pt>
                <c:pt idx="2">
                  <c:v>9.4776675710098495</c:v>
                </c:pt>
                <c:pt idx="3">
                  <c:v>9.6597709055932484</c:v>
                </c:pt>
                <c:pt idx="4">
                  <c:v>7.628960755756216</c:v>
                </c:pt>
                <c:pt idx="5">
                  <c:v>6.9209777059294773</c:v>
                </c:pt>
                <c:pt idx="6">
                  <c:v>6.8898676107638401</c:v>
                </c:pt>
                <c:pt idx="7">
                  <c:v>6.5488347180935049</c:v>
                </c:pt>
                <c:pt idx="8">
                  <c:v>7.7696472077238399</c:v>
                </c:pt>
                <c:pt idx="9">
                  <c:v>6.4222197896025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4B-43BB-B5DA-B98E0D4E80A6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0.21033075553893887</c:v>
                </c:pt>
                <c:pt idx="1">
                  <c:v>0.16919759311014815</c:v>
                </c:pt>
                <c:pt idx="2">
                  <c:v>0.25869902772201137</c:v>
                </c:pt>
                <c:pt idx="3">
                  <c:v>0.3027998803944989</c:v>
                </c:pt>
                <c:pt idx="4">
                  <c:v>0.30161163106868116</c:v>
                </c:pt>
                <c:pt idx="5">
                  <c:v>0.22366651615219268</c:v>
                </c:pt>
                <c:pt idx="6">
                  <c:v>0.21535467568374678</c:v>
                </c:pt>
                <c:pt idx="7">
                  <c:v>0.21424210893843032</c:v>
                </c:pt>
                <c:pt idx="8">
                  <c:v>0.19251416514914421</c:v>
                </c:pt>
                <c:pt idx="9">
                  <c:v>0.19188682910171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4B-43BB-B5DA-B98E0D4E80A6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0.22636190431159697</c:v>
                </c:pt>
                <c:pt idx="1">
                  <c:v>0.21730870037939276</c:v>
                </c:pt>
                <c:pt idx="2">
                  <c:v>0.18988339390783082</c:v>
                </c:pt>
                <c:pt idx="3">
                  <c:v>0.26599125594761297</c:v>
                </c:pt>
                <c:pt idx="4">
                  <c:v>0.24553985324156891</c:v>
                </c:pt>
                <c:pt idx="5">
                  <c:v>0.1293551778027453</c:v>
                </c:pt>
                <c:pt idx="6">
                  <c:v>6.9970679048022788E-2</c:v>
                </c:pt>
                <c:pt idx="7">
                  <c:v>8.6582852772716379E-2</c:v>
                </c:pt>
                <c:pt idx="8">
                  <c:v>9.6203408945671143E-2</c:v>
                </c:pt>
                <c:pt idx="9">
                  <c:v>5.770236406645956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4B-43BB-B5DA-B98E0D4E80A6}"/>
            </c:ext>
          </c:extLst>
        </c:ser>
        <c:ser>
          <c:idx val="4"/>
          <c:order val="4"/>
          <c:spPr>
            <a:solidFill>
              <a:schemeClr val="accent4"/>
            </a:solidFill>
            <a:ln>
              <a:noFill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0.39040770305334682</c:v>
                </c:pt>
                <c:pt idx="1">
                  <c:v>0.39123731113940963</c:v>
                </c:pt>
                <c:pt idx="2">
                  <c:v>0.42907579523476613</c:v>
                </c:pt>
                <c:pt idx="3">
                  <c:v>0.51721122181548829</c:v>
                </c:pt>
                <c:pt idx="4">
                  <c:v>0.52535250145639445</c:v>
                </c:pt>
                <c:pt idx="5">
                  <c:v>0.40182206300763212</c:v>
                </c:pt>
                <c:pt idx="6">
                  <c:v>0.33964488742507459</c:v>
                </c:pt>
                <c:pt idx="7">
                  <c:v>0.23529218276103059</c:v>
                </c:pt>
                <c:pt idx="8">
                  <c:v>0.32048731219038018</c:v>
                </c:pt>
                <c:pt idx="9">
                  <c:v>0.32159751324392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4B-43BB-B5DA-B98E0D4E80A6}"/>
            </c:ext>
          </c:extLst>
        </c:ser>
        <c:ser>
          <c:idx val="5"/>
          <c:order val="5"/>
          <c:spPr>
            <a:solidFill>
              <a:schemeClr val="accent3"/>
            </a:solidFill>
            <a:ln>
              <a:noFill/>
            </a:ln>
          </c:spPr>
          <c:val>
            <c:numRef>
              <c:f>Sheet1!$A$6:$J$6</c:f>
              <c:numCache>
                <c:formatCode>General</c:formatCode>
                <c:ptCount val="10"/>
                <c:pt idx="0">
                  <c:v>6.8563826533058325</c:v>
                </c:pt>
                <c:pt idx="1">
                  <c:v>6.9762435132547083</c:v>
                </c:pt>
                <c:pt idx="2">
                  <c:v>6.5256701765560194</c:v>
                </c:pt>
                <c:pt idx="3">
                  <c:v>6.4124481934427937</c:v>
                </c:pt>
                <c:pt idx="4">
                  <c:v>6.2786283478118659</c:v>
                </c:pt>
                <c:pt idx="5">
                  <c:v>5.4893398749593612</c:v>
                </c:pt>
                <c:pt idx="6">
                  <c:v>5.5335428081861169</c:v>
                </c:pt>
                <c:pt idx="7">
                  <c:v>4.6035973716952148</c:v>
                </c:pt>
                <c:pt idx="8">
                  <c:v>5.0156235749220226</c:v>
                </c:pt>
                <c:pt idx="9">
                  <c:v>4.4436760608071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64B-43BB-B5DA-B98E0D4E80A6}"/>
            </c:ext>
          </c:extLst>
        </c:ser>
        <c:ser>
          <c:idx val="6"/>
          <c:order val="6"/>
          <c:spPr>
            <a:solidFill>
              <a:schemeClr val="accent2"/>
            </a:solidFill>
            <a:ln>
              <a:noFill/>
            </a:ln>
          </c:spPr>
          <c:val>
            <c:numRef>
              <c:f>Sheet1!$A$7:$J$7</c:f>
              <c:numCache>
                <c:formatCode>General</c:formatCode>
                <c:ptCount val="10"/>
                <c:pt idx="0">
                  <c:v>1.4822697772456266</c:v>
                </c:pt>
                <c:pt idx="1">
                  <c:v>1.641599627449331</c:v>
                </c:pt>
                <c:pt idx="2">
                  <c:v>1.7677890885820062</c:v>
                </c:pt>
                <c:pt idx="3">
                  <c:v>2.1301472823103644</c:v>
                </c:pt>
                <c:pt idx="4">
                  <c:v>2.0847698103209673</c:v>
                </c:pt>
                <c:pt idx="5">
                  <c:v>1.9693118875935749</c:v>
                </c:pt>
                <c:pt idx="6">
                  <c:v>1.8160509573342303</c:v>
                </c:pt>
                <c:pt idx="7">
                  <c:v>1.6421841990068327</c:v>
                </c:pt>
                <c:pt idx="8">
                  <c:v>2.1172465912599545</c:v>
                </c:pt>
                <c:pt idx="9">
                  <c:v>1.82732201394816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64B-43BB-B5DA-B98E0D4E80A6}"/>
            </c:ext>
          </c:extLst>
        </c:ser>
        <c:ser>
          <c:idx val="7"/>
          <c:order val="7"/>
          <c:spPr>
            <a:solidFill>
              <a:schemeClr val="accent1"/>
            </a:solidFill>
            <a:ln>
              <a:noFill/>
            </a:ln>
          </c:spPr>
          <c:val>
            <c:numRef>
              <c:f>Sheet1!$A$8:$J$8</c:f>
              <c:numCache>
                <c:formatCode>General</c:formatCode>
                <c:ptCount val="10"/>
                <c:pt idx="0">
                  <c:v>10.808397723664598</c:v>
                </c:pt>
                <c:pt idx="1">
                  <c:v>11.736592716001461</c:v>
                </c:pt>
                <c:pt idx="2">
                  <c:v>11.392785003608068</c:v>
                </c:pt>
                <c:pt idx="3">
                  <c:v>12.86023605618001</c:v>
                </c:pt>
                <c:pt idx="4">
                  <c:v>12.926608697417578</c:v>
                </c:pt>
                <c:pt idx="5">
                  <c:v>10.841177139856908</c:v>
                </c:pt>
                <c:pt idx="6">
                  <c:v>10.624974520522059</c:v>
                </c:pt>
                <c:pt idx="7">
                  <c:v>9.0509962970450406</c:v>
                </c:pt>
                <c:pt idx="8">
                  <c:v>8.2595797668026147</c:v>
                </c:pt>
                <c:pt idx="9">
                  <c:v>7.2275041273323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64B-43BB-B5DA-B98E0D4E80A6}"/>
            </c:ext>
          </c:extLst>
        </c:ser>
        <c:ser>
          <c:idx val="8"/>
          <c:order val="8"/>
          <c:spPr>
            <a:solidFill>
              <a:schemeClr val="accent6"/>
            </a:solidFill>
            <a:ln>
              <a:noFill/>
            </a:ln>
          </c:spPr>
          <c:val>
            <c:numRef>
              <c:f>Sheet1!$A$9:$J$9</c:f>
              <c:numCache>
                <c:formatCode>General</c:formatCode>
                <c:ptCount val="10"/>
                <c:pt idx="0">
                  <c:v>7.0765447567597661</c:v>
                </c:pt>
                <c:pt idx="1">
                  <c:v>6.5566609030999103</c:v>
                </c:pt>
                <c:pt idx="2">
                  <c:v>6.6465609998915411</c:v>
                </c:pt>
                <c:pt idx="3">
                  <c:v>6.875604453300781</c:v>
                </c:pt>
                <c:pt idx="4">
                  <c:v>6.6929349830112059</c:v>
                </c:pt>
                <c:pt idx="5">
                  <c:v>6.2035814065488353</c:v>
                </c:pt>
                <c:pt idx="6">
                  <c:v>6.5605839919019751</c:v>
                </c:pt>
                <c:pt idx="7">
                  <c:v>5.8611998835484549</c:v>
                </c:pt>
                <c:pt idx="8">
                  <c:v>6.1835252443219737</c:v>
                </c:pt>
                <c:pt idx="9">
                  <c:v>6.0798338374308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4B-43BB-B5DA-B98E0D4E80A6}"/>
            </c:ext>
          </c:extLst>
        </c:ser>
        <c:ser>
          <c:idx val="9"/>
          <c:order val="9"/>
          <c:spPr>
            <a:solidFill>
              <a:schemeClr val="accent5"/>
            </a:solidFill>
            <a:ln>
              <a:noFill/>
            </a:ln>
          </c:spPr>
          <c:val>
            <c:numRef>
              <c:f>Sheet1!$A$10:$J$10</c:f>
              <c:numCache>
                <c:formatCode>General</c:formatCode>
                <c:ptCount val="10"/>
                <c:pt idx="0">
                  <c:v>2.507948410390334</c:v>
                </c:pt>
                <c:pt idx="1">
                  <c:v>2.8326556630625888</c:v>
                </c:pt>
                <c:pt idx="2">
                  <c:v>2.9458204108930346</c:v>
                </c:pt>
                <c:pt idx="3">
                  <c:v>2.9817188221682258</c:v>
                </c:pt>
                <c:pt idx="4">
                  <c:v>2.9660642168186229</c:v>
                </c:pt>
                <c:pt idx="5">
                  <c:v>3.3418156358023268</c:v>
                </c:pt>
                <c:pt idx="6">
                  <c:v>3.1978724980270883</c:v>
                </c:pt>
                <c:pt idx="7">
                  <c:v>3.3651510468894195</c:v>
                </c:pt>
                <c:pt idx="8">
                  <c:v>3.2380282088202925</c:v>
                </c:pt>
                <c:pt idx="9">
                  <c:v>3.29245892021577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64B-43BB-B5DA-B98E0D4E80A6}"/>
            </c:ext>
          </c:extLst>
        </c:ser>
        <c:ser>
          <c:idx val="10"/>
          <c:order val="10"/>
          <c:spPr>
            <a:solidFill>
              <a:schemeClr val="accent4"/>
            </a:solidFill>
            <a:ln>
              <a:noFill/>
            </a:ln>
          </c:spPr>
          <c:val>
            <c:numRef>
              <c:f>Sheet1!$A$11:$J$11</c:f>
              <c:numCache>
                <c:formatCode>General</c:formatCode>
                <c:ptCount val="10"/>
                <c:pt idx="0">
                  <c:v>2.5741421221038934</c:v>
                </c:pt>
                <c:pt idx="1">
                  <c:v>2.6020655207159322</c:v>
                </c:pt>
                <c:pt idx="2">
                  <c:v>2.6975845638990563</c:v>
                </c:pt>
                <c:pt idx="3">
                  <c:v>2.6724060609028868</c:v>
                </c:pt>
                <c:pt idx="4">
                  <c:v>2.9960106010301288</c:v>
                </c:pt>
                <c:pt idx="5">
                  <c:v>2.9719588953758631</c:v>
                </c:pt>
                <c:pt idx="6">
                  <c:v>3.270048473654434</c:v>
                </c:pt>
                <c:pt idx="7">
                  <c:v>3.3012016248592033</c:v>
                </c:pt>
                <c:pt idx="8">
                  <c:v>3.4633276141476017</c:v>
                </c:pt>
                <c:pt idx="9">
                  <c:v>3.3264549906127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64B-43BB-B5DA-B98E0D4E80A6}"/>
            </c:ext>
          </c:extLst>
        </c:ser>
        <c:ser>
          <c:idx val="11"/>
          <c:order val="11"/>
          <c:spPr>
            <a:solidFill>
              <a:schemeClr val="accent3"/>
            </a:solidFill>
            <a:ln>
              <a:noFill/>
            </a:ln>
          </c:spPr>
          <c:val>
            <c:numRef>
              <c:f>Sheet1!$A$12:$J$12</c:f>
              <c:numCache>
                <c:formatCode>General</c:formatCode>
                <c:ptCount val="10"/>
                <c:pt idx="0">
                  <c:v>1.349014024158933</c:v>
                </c:pt>
                <c:pt idx="1">
                  <c:v>1.5281951339527851</c:v>
                </c:pt>
                <c:pt idx="2">
                  <c:v>1.8121898139043751</c:v>
                </c:pt>
                <c:pt idx="3">
                  <c:v>1.5590777530556394</c:v>
                </c:pt>
                <c:pt idx="4">
                  <c:v>1.678542318461318</c:v>
                </c:pt>
                <c:pt idx="5">
                  <c:v>1.5175622821719728</c:v>
                </c:pt>
                <c:pt idx="6">
                  <c:v>1.7197869645175459</c:v>
                </c:pt>
                <c:pt idx="7">
                  <c:v>2.0166828075015104</c:v>
                </c:pt>
                <c:pt idx="8">
                  <c:v>1.3342684718596942</c:v>
                </c:pt>
                <c:pt idx="9">
                  <c:v>1.1496949652632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64B-43BB-B5DA-B98E0D4E80A6}"/>
            </c:ext>
          </c:extLst>
        </c:ser>
        <c:ser>
          <c:idx val="12"/>
          <c:order val="12"/>
          <c:spPr>
            <a:solidFill>
              <a:schemeClr val="accent2"/>
            </a:solidFill>
            <a:ln>
              <a:noFill/>
            </a:ln>
          </c:spPr>
          <c:val>
            <c:numRef>
              <c:f>Sheet1!$A$13:$J$13</c:f>
              <c:numCache>
                <c:formatCode>General</c:formatCode>
                <c:ptCount val="10"/>
                <c:pt idx="0">
                  <c:v>1.2759669204968418</c:v>
                </c:pt>
                <c:pt idx="1">
                  <c:v>1.2155657089485459</c:v>
                </c:pt>
                <c:pt idx="2">
                  <c:v>1.0983377985188767</c:v>
                </c:pt>
                <c:pt idx="3">
                  <c:v>0.79689724732769207</c:v>
                </c:pt>
                <c:pt idx="4">
                  <c:v>0.53201766452274057</c:v>
                </c:pt>
                <c:pt idx="5">
                  <c:v>0.45308818475633927</c:v>
                </c:pt>
                <c:pt idx="6">
                  <c:v>0.51345432584938067</c:v>
                </c:pt>
                <c:pt idx="7">
                  <c:v>0.52738356672022491</c:v>
                </c:pt>
                <c:pt idx="8">
                  <c:v>0.5400852314049871</c:v>
                </c:pt>
                <c:pt idx="9">
                  <c:v>0.46863526277424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64B-43BB-B5DA-B98E0D4E80A6}"/>
            </c:ext>
          </c:extLst>
        </c:ser>
        <c:ser>
          <c:idx val="13"/>
          <c:order val="13"/>
          <c:spPr>
            <a:solidFill>
              <a:schemeClr val="accent1"/>
            </a:solidFill>
            <a:ln>
              <a:noFill/>
            </a:ln>
          </c:spPr>
          <c:val>
            <c:numRef>
              <c:f>Sheet1!$A$14:$J$14</c:f>
              <c:numCache>
                <c:formatCode>General</c:formatCode>
                <c:ptCount val="10"/>
                <c:pt idx="0">
                  <c:v>2.4950596198623671</c:v>
                </c:pt>
                <c:pt idx="1">
                  <c:v>2.7020094166781092</c:v>
                </c:pt>
                <c:pt idx="2">
                  <c:v>2.7548030528654621</c:v>
                </c:pt>
                <c:pt idx="3">
                  <c:v>3.0092850183765094</c:v>
                </c:pt>
                <c:pt idx="4">
                  <c:v>2.6140845619252886</c:v>
                </c:pt>
                <c:pt idx="5">
                  <c:v>2.7276903097369427</c:v>
                </c:pt>
                <c:pt idx="6">
                  <c:v>2.8126107425626472</c:v>
                </c:pt>
                <c:pt idx="7">
                  <c:v>2.846980162260536</c:v>
                </c:pt>
                <c:pt idx="8">
                  <c:v>4.0734267787969642</c:v>
                </c:pt>
                <c:pt idx="9">
                  <c:v>2.9639556966508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64B-43BB-B5DA-B98E0D4E80A6}"/>
            </c:ext>
          </c:extLst>
        </c:ser>
        <c:ser>
          <c:idx val="14"/>
          <c:order val="14"/>
          <c:spPr>
            <a:solidFill>
              <a:schemeClr val="accent6"/>
            </a:solidFill>
            <a:ln>
              <a:noFill/>
            </a:ln>
          </c:spPr>
          <c:val>
            <c:numRef>
              <c:f>Sheet1!$A$15:$J$15</c:f>
              <c:numCache>
                <c:formatCode>General</c:formatCode>
                <c:ptCount val="10"/>
                <c:pt idx="0">
                  <c:v>15.731602256653538</c:v>
                </c:pt>
                <c:pt idx="1">
                  <c:v>13.811119848347872</c:v>
                </c:pt>
                <c:pt idx="2">
                  <c:v>13.084939640680247</c:v>
                </c:pt>
                <c:pt idx="3">
                  <c:v>13.522990097641134</c:v>
                </c:pt>
                <c:pt idx="4">
                  <c:v>14.332011721397961</c:v>
                </c:pt>
                <c:pt idx="5">
                  <c:v>14.713131308877479</c:v>
                </c:pt>
                <c:pt idx="6">
                  <c:v>15.167725080830891</c:v>
                </c:pt>
                <c:pt idx="7">
                  <c:v>14.89430188081419</c:v>
                </c:pt>
                <c:pt idx="8">
                  <c:v>12.068089900965688</c:v>
                </c:pt>
                <c:pt idx="9">
                  <c:v>13.410418941362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64B-43BB-B5DA-B98E0D4E80A6}"/>
            </c:ext>
          </c:extLst>
        </c:ser>
        <c:ser>
          <c:idx val="15"/>
          <c:order val="15"/>
          <c:spPr>
            <a:solidFill>
              <a:schemeClr val="accent5"/>
            </a:solidFill>
            <a:ln>
              <a:noFill/>
            </a:ln>
          </c:spPr>
          <c:val>
            <c:numRef>
              <c:f>Sheet1!$A$16:$J$16</c:f>
              <c:numCache>
                <c:formatCode>General</c:formatCode>
                <c:ptCount val="10"/>
                <c:pt idx="0">
                  <c:v>16.607797212292297</c:v>
                </c:pt>
                <c:pt idx="1">
                  <c:v>13.823952319708155</c:v>
                </c:pt>
                <c:pt idx="2">
                  <c:v>14.957609407811063</c:v>
                </c:pt>
                <c:pt idx="3">
                  <c:v>14.98765676265819</c:v>
                </c:pt>
                <c:pt idx="4">
                  <c:v>15.977898305100361</c:v>
                </c:pt>
                <c:pt idx="5">
                  <c:v>15.671984608257389</c:v>
                </c:pt>
                <c:pt idx="6">
                  <c:v>16.76797821567601</c:v>
                </c:pt>
                <c:pt idx="7">
                  <c:v>18.536404363669305</c:v>
                </c:pt>
                <c:pt idx="8">
                  <c:v>16.580629175722876</c:v>
                </c:pt>
                <c:pt idx="9">
                  <c:v>16.931268164151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64B-43BB-B5DA-B98E0D4E80A6}"/>
            </c:ext>
          </c:extLst>
        </c:ser>
        <c:ser>
          <c:idx val="16"/>
          <c:order val="16"/>
          <c:spPr>
            <a:solidFill>
              <a:schemeClr val="accent4"/>
            </a:solidFill>
            <a:ln>
              <a:noFill/>
            </a:ln>
          </c:spPr>
          <c:val>
            <c:numRef>
              <c:f>Sheet1!$A$17:$J$17</c:f>
              <c:numCache>
                <c:formatCode>General</c:formatCode>
                <c:ptCount val="10"/>
                <c:pt idx="0">
                  <c:v>1.4969788320327808</c:v>
                </c:pt>
                <c:pt idx="1">
                  <c:v>1.6464992621035321</c:v>
                </c:pt>
                <c:pt idx="2">
                  <c:v>1.646803212796371</c:v>
                </c:pt>
                <c:pt idx="3">
                  <c:v>1.7841936675062584</c:v>
                </c:pt>
                <c:pt idx="4">
                  <c:v>1.7389305633440983</c:v>
                </c:pt>
                <c:pt idx="5">
                  <c:v>2.1639333775564467</c:v>
                </c:pt>
                <c:pt idx="6">
                  <c:v>1.974065230873137</c:v>
                </c:pt>
                <c:pt idx="7">
                  <c:v>2.4304366052535613</c:v>
                </c:pt>
                <c:pt idx="8">
                  <c:v>3.1797213208602813</c:v>
                </c:pt>
                <c:pt idx="9">
                  <c:v>2.5244684500729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64B-43BB-B5DA-B98E0D4E80A6}"/>
            </c:ext>
          </c:extLst>
        </c:ser>
        <c:ser>
          <c:idx val="17"/>
          <c:order val="17"/>
          <c:spPr>
            <a:solidFill>
              <a:schemeClr val="accent3"/>
            </a:solidFill>
            <a:ln>
              <a:noFill/>
            </a:ln>
          </c:spPr>
          <c:val>
            <c:numRef>
              <c:f>Sheet1!$A$18:$J$18</c:f>
              <c:numCache>
                <c:formatCode>General</c:formatCode>
                <c:ptCount val="10"/>
                <c:pt idx="0">
                  <c:v>16.623177255274697</c:v>
                </c:pt>
                <c:pt idx="1">
                  <c:v>19.418333653009711</c:v>
                </c:pt>
                <c:pt idx="2">
                  <c:v>19.120791373664389</c:v>
                </c:pt>
                <c:pt idx="3">
                  <c:v>16.558214531567899</c:v>
                </c:pt>
                <c:pt idx="4">
                  <c:v>17.601818571789835</c:v>
                </c:pt>
                <c:pt idx="5">
                  <c:v>21.280315000196396</c:v>
                </c:pt>
                <c:pt idx="6">
                  <c:v>19.392172543916246</c:v>
                </c:pt>
                <c:pt idx="7">
                  <c:v>21.098571083736132</c:v>
                </c:pt>
                <c:pt idx="8">
                  <c:v>23.382996247824195</c:v>
                </c:pt>
                <c:pt idx="9">
                  <c:v>27.3409021394726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64B-43BB-B5DA-B98E0D4E80A6}"/>
            </c:ext>
          </c:extLst>
        </c:ser>
        <c:ser>
          <c:idx val="18"/>
          <c:order val="18"/>
          <c:spPr>
            <a:solidFill>
              <a:schemeClr val="accent2"/>
            </a:solidFill>
            <a:ln>
              <a:noFill/>
            </a:ln>
          </c:spPr>
          <c:val>
            <c:numRef>
              <c:f>Sheet1!$A$19:$J$19</c:f>
              <c:numCache>
                <c:formatCode>General</c:formatCode>
                <c:ptCount val="10"/>
                <c:pt idx="0">
                  <c:v>3.1532165016380986</c:v>
                </c:pt>
                <c:pt idx="1">
                  <c:v>2.6769114752023739</c:v>
                </c:pt>
                <c:pt idx="2">
                  <c:v>2.5338575397092598</c:v>
                </c:pt>
                <c:pt idx="3">
                  <c:v>2.5270731965962625</c:v>
                </c:pt>
                <c:pt idx="4">
                  <c:v>2.2841917196654578</c:v>
                </c:pt>
                <c:pt idx="5">
                  <c:v>2.3531257059483579</c:v>
                </c:pt>
                <c:pt idx="6">
                  <c:v>2.6459691470806774</c:v>
                </c:pt>
                <c:pt idx="7">
                  <c:v>2.3392698665980447</c:v>
                </c:pt>
                <c:pt idx="8">
                  <c:v>1.8871606998692982</c:v>
                </c:pt>
                <c:pt idx="9">
                  <c:v>1.7461859663490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64B-43BB-B5DA-B98E0D4E80A6}"/>
            </c:ext>
          </c:extLst>
        </c:ser>
        <c:ser>
          <c:idx val="19"/>
          <c:order val="19"/>
          <c:spPr>
            <a:solidFill>
              <a:schemeClr val="accent1"/>
            </a:solidFill>
            <a:ln>
              <a:noFill/>
            </a:ln>
          </c:spPr>
          <c:val>
            <c:numRef>
              <c:f>Sheet1!$A$20:$J$20</c:f>
              <c:numCache>
                <c:formatCode>General</c:formatCode>
                <c:ptCount val="10"/>
                <c:pt idx="0">
                  <c:v>0.26249257451978281</c:v>
                </c:pt>
                <c:pt idx="1">
                  <c:v>0.30007894559456361</c:v>
                </c:pt>
                <c:pt idx="2">
                  <c:v>0.30605566106422089</c:v>
                </c:pt>
                <c:pt idx="3">
                  <c:v>0.29962291076338943</c:v>
                </c:pt>
                <c:pt idx="4">
                  <c:v>0.26406678226945246</c:v>
                </c:pt>
                <c:pt idx="5">
                  <c:v>0.25576596881482772</c:v>
                </c:pt>
                <c:pt idx="6">
                  <c:v>0.27401259081923968</c:v>
                </c:pt>
                <c:pt idx="7">
                  <c:v>0.26890100007862827</c:v>
                </c:pt>
                <c:pt idx="8">
                  <c:v>0.21056976557817109</c:v>
                </c:pt>
                <c:pt idx="9">
                  <c:v>0.159641071116297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B64B-43BB-B5DA-B98E0D4E80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8203736"/>
        <c:axId val="1"/>
      </c:areaChart>
      <c:catAx>
        <c:axId val="858203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858203736"/>
        <c:crosses val="max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" name="Google Shape;3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" name="Google Shape;4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iriş">
  <p:cSld name="Giriş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7;p10"/>
          <p:cNvSpPr/>
          <p:nvPr/>
        </p:nvSpPr>
        <p:spPr>
          <a:xfrm>
            <a:off x="-12095" y="0"/>
            <a:ext cx="12204095" cy="6880981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 t="-964" b="-17254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8;p10"/>
          <p:cNvSpPr/>
          <p:nvPr/>
        </p:nvSpPr>
        <p:spPr>
          <a:xfrm>
            <a:off x="10091145" y="5184371"/>
            <a:ext cx="1694163" cy="1351513"/>
          </a:xfrm>
          <a:custGeom>
            <a:avLst/>
            <a:gdLst/>
            <a:ahLst/>
            <a:cxnLst/>
            <a:rect l="l" t="t" r="r" b="b"/>
            <a:pathLst>
              <a:path w="2541245" h="2027269" extrusionOk="0">
                <a:moveTo>
                  <a:pt x="0" y="0"/>
                </a:moveTo>
                <a:lnTo>
                  <a:pt x="2541245" y="0"/>
                </a:lnTo>
                <a:lnTo>
                  <a:pt x="2541245" y="2027268"/>
                </a:lnTo>
                <a:lnTo>
                  <a:pt x="0" y="202726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" name="Google Shape;9;p10"/>
          <p:cNvGrpSpPr/>
          <p:nvPr/>
        </p:nvGrpSpPr>
        <p:grpSpPr>
          <a:xfrm>
            <a:off x="0" y="1838216"/>
            <a:ext cx="4539898" cy="2892246"/>
            <a:chOff x="0" y="-114300"/>
            <a:chExt cx="1793540" cy="1142616"/>
          </a:xfrm>
        </p:grpSpPr>
        <p:sp>
          <p:nvSpPr>
            <p:cNvPr id="10" name="Google Shape;10;p10"/>
            <p:cNvSpPr/>
            <p:nvPr/>
          </p:nvSpPr>
          <p:spPr>
            <a:xfrm>
              <a:off x="0" y="0"/>
              <a:ext cx="1793540" cy="1028316"/>
            </a:xfrm>
            <a:custGeom>
              <a:avLst/>
              <a:gdLst/>
              <a:ahLst/>
              <a:cxnLst/>
              <a:rect l="l" t="t" r="r" b="b"/>
              <a:pathLst>
                <a:path w="1793540" h="1028316" extrusionOk="0">
                  <a:moveTo>
                    <a:pt x="0" y="0"/>
                  </a:moveTo>
                  <a:lnTo>
                    <a:pt x="1793540" y="0"/>
                  </a:lnTo>
                  <a:lnTo>
                    <a:pt x="1793540" y="1028316"/>
                  </a:lnTo>
                  <a:lnTo>
                    <a:pt x="0" y="1028316"/>
                  </a:lnTo>
                  <a:close/>
                </a:path>
              </a:pathLst>
            </a:custGeom>
            <a:solidFill>
              <a:srgbClr val="13173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89D56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  <p:sp>
          <p:nvSpPr>
            <p:cNvPr id="11" name="Google Shape;11;p10"/>
            <p:cNvSpPr txBox="1"/>
            <p:nvPr/>
          </p:nvSpPr>
          <p:spPr>
            <a:xfrm>
              <a:off x="0" y="-114300"/>
              <a:ext cx="1793540" cy="11426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31325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89D56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sp>
        <p:nvSpPr>
          <p:cNvPr id="12" name="Google Shape;12;p10"/>
          <p:cNvSpPr txBox="1">
            <a:spLocks noGrp="1"/>
          </p:cNvSpPr>
          <p:nvPr>
            <p:ph type="title"/>
          </p:nvPr>
        </p:nvSpPr>
        <p:spPr>
          <a:xfrm>
            <a:off x="176264" y="2493493"/>
            <a:ext cx="4187371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39979"/>
              </a:lnSpc>
              <a:spcBef>
                <a:spcPts val="0"/>
              </a:spcBef>
              <a:spcAft>
                <a:spcPts val="0"/>
              </a:spcAft>
              <a:buClr>
                <a:srgbClr val="F89D56"/>
              </a:buClr>
              <a:buSzPts val="1961"/>
              <a:buFont typeface="Proxima Nova"/>
              <a:buNone/>
              <a:defRPr sz="1961" b="0" i="0" u="none" strike="noStrike" cap="none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10"/>
          <p:cNvSpPr txBox="1">
            <a:spLocks noGrp="1"/>
          </p:cNvSpPr>
          <p:nvPr>
            <p:ph type="body" idx="1"/>
          </p:nvPr>
        </p:nvSpPr>
        <p:spPr>
          <a:xfrm>
            <a:off x="198035" y="3987800"/>
            <a:ext cx="4165600" cy="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spcBef>
                <a:spcPts val="267"/>
              </a:spcBef>
              <a:spcAft>
                <a:spcPts val="0"/>
              </a:spcAft>
              <a:buClr>
                <a:srgbClr val="F89D56"/>
              </a:buClr>
              <a:buSzPts val="1333"/>
              <a:buFont typeface="Arial"/>
              <a:buNone/>
              <a:defRPr sz="1333" b="0" i="0" u="none" strike="noStrike" cap="none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defRPr>
            </a:lvl1pPr>
            <a:lvl2pPr marL="914400" marR="0" lvl="1" indent="-228600" algn="l" rtl="0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213"/>
              </a:spcBef>
              <a:spcAft>
                <a:spcPts val="0"/>
              </a:spcAft>
              <a:buClr>
                <a:srgbClr val="888888"/>
              </a:buClr>
              <a:buSzPts val="1067"/>
              <a:buFont typeface="Arial"/>
              <a:buNone/>
              <a:defRPr sz="10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İçindekiler">
  <p:cSld name="İçindekil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11"/>
          <p:cNvSpPr/>
          <p:nvPr/>
        </p:nvSpPr>
        <p:spPr>
          <a:xfrm>
            <a:off x="605802" y="771273"/>
            <a:ext cx="167379" cy="167650"/>
          </a:xfrm>
          <a:custGeom>
            <a:avLst/>
            <a:gdLst/>
            <a:ahLst/>
            <a:cxnLst/>
            <a:rect l="l" t="t" r="r" b="b"/>
            <a:pathLst>
              <a:path w="251069" h="251475" extrusionOk="0">
                <a:moveTo>
                  <a:pt x="0" y="0"/>
                </a:moveTo>
                <a:lnTo>
                  <a:pt x="251069" y="0"/>
                </a:lnTo>
                <a:lnTo>
                  <a:pt x="251069" y="251475"/>
                </a:lnTo>
                <a:lnTo>
                  <a:pt x="0" y="251475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11"/>
          <p:cNvSpPr txBox="1"/>
          <p:nvPr/>
        </p:nvSpPr>
        <p:spPr>
          <a:xfrm>
            <a:off x="928130" y="686211"/>
            <a:ext cx="2233712" cy="405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21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84" b="1">
                <a:solidFill>
                  <a:srgbClr val="132052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  <a:sym typeface="Proxima Nova"/>
              </a:rPr>
              <a:t>İÇİNDEKİLER</a:t>
            </a:r>
            <a:endParaRPr>
              <a:latin typeface="+mj-lt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İçerik">
  <p:cSld name="İçerik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4780306-8FDB-37DB-CC83-A9D3E550B9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5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780306-8FDB-37DB-CC83-A9D3E550B9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Google Shape;20;p13"/>
          <p:cNvSpPr/>
          <p:nvPr/>
        </p:nvSpPr>
        <p:spPr>
          <a:xfrm>
            <a:off x="10763605" y="6172200"/>
            <a:ext cx="742595" cy="592403"/>
          </a:xfrm>
          <a:custGeom>
            <a:avLst/>
            <a:gdLst/>
            <a:ahLst/>
            <a:cxnLst/>
            <a:rect l="l" t="t" r="r" b="b"/>
            <a:pathLst>
              <a:path w="1113893" h="888604" extrusionOk="0">
                <a:moveTo>
                  <a:pt x="0" y="0"/>
                </a:moveTo>
                <a:lnTo>
                  <a:pt x="1113893" y="0"/>
                </a:lnTo>
                <a:lnTo>
                  <a:pt x="1113893" y="888604"/>
                </a:lnTo>
                <a:lnTo>
                  <a:pt x="0" y="88860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1" name="Google Shape;21;p13"/>
          <p:cNvCxnSpPr>
            <a:cxnSpLocks/>
          </p:cNvCxnSpPr>
          <p:nvPr/>
        </p:nvCxnSpPr>
        <p:spPr>
          <a:xfrm>
            <a:off x="355600" y="889000"/>
            <a:ext cx="11318783" cy="0"/>
          </a:xfrm>
          <a:prstGeom prst="straightConnector1">
            <a:avLst/>
          </a:prstGeom>
          <a:noFill/>
          <a:ln w="38100" cap="flat" cmpd="sng">
            <a:solidFill>
              <a:srgbClr val="F89D5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22;p13"/>
          <p:cNvSpPr txBox="1"/>
          <p:nvPr/>
        </p:nvSpPr>
        <p:spPr>
          <a:xfrm>
            <a:off x="355600" y="6415841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87">
                <a:solidFill>
                  <a:schemeClr val="dk1"/>
                </a:solidFill>
                <a:latin typeface="+mj-lt"/>
                <a:ea typeface="Proxima Nova"/>
                <a:cs typeface="Proxima Nova"/>
                <a:sym typeface="Proxima Nova"/>
              </a:rPr>
              <a:t>‹#›</a:t>
            </a:fld>
            <a:endParaRPr sz="1487">
              <a:solidFill>
                <a:schemeClr val="dk1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sp>
        <p:nvSpPr>
          <p:cNvPr id="23" name="Google Shape;23;p13"/>
          <p:cNvSpPr txBox="1">
            <a:spLocks noGrp="1"/>
          </p:cNvSpPr>
          <p:nvPr>
            <p:ph type="title" hasCustomPrompt="1"/>
          </p:nvPr>
        </p:nvSpPr>
        <p:spPr>
          <a:xfrm>
            <a:off x="355600" y="164996"/>
            <a:ext cx="11318783" cy="586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Proxima Nova"/>
              <a:buNone/>
              <a:defRPr sz="2200" b="0" i="0" u="none" strike="noStrike" cap="none">
                <a:solidFill>
                  <a:schemeClr val="dk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tr-TR"/>
              <a:t>J</a:t>
            </a:r>
            <a:br>
              <a:rPr lang="tr-TR"/>
            </a:br>
            <a:r>
              <a:rPr lang="tr-TR" err="1"/>
              <a:t>j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şekkürler">
  <p:cSld name="Teşekkürler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6;p14"/>
          <p:cNvSpPr txBox="1"/>
          <p:nvPr/>
        </p:nvSpPr>
        <p:spPr>
          <a:xfrm>
            <a:off x="4818931" y="4189542"/>
            <a:ext cx="2554139" cy="4203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997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TEŞEKKÜRLER</a:t>
            </a:r>
            <a:endParaRPr>
              <a:latin typeface="+mj-lt"/>
            </a:endParaRPr>
          </a:p>
        </p:txBody>
      </p:sp>
      <p:sp>
        <p:nvSpPr>
          <p:cNvPr id="27" name="Google Shape;27;p14"/>
          <p:cNvSpPr/>
          <p:nvPr/>
        </p:nvSpPr>
        <p:spPr>
          <a:xfrm>
            <a:off x="4818931" y="1337187"/>
            <a:ext cx="2554139" cy="2037555"/>
          </a:xfrm>
          <a:custGeom>
            <a:avLst/>
            <a:gdLst/>
            <a:ahLst/>
            <a:cxnLst/>
            <a:rect l="l" t="t" r="r" b="b"/>
            <a:pathLst>
              <a:path w="3831208" h="3056332" extrusionOk="0">
                <a:moveTo>
                  <a:pt x="0" y="0"/>
                </a:moveTo>
                <a:lnTo>
                  <a:pt x="3831208" y="0"/>
                </a:lnTo>
                <a:lnTo>
                  <a:pt x="3831208" y="3056332"/>
                </a:lnTo>
                <a:lnTo>
                  <a:pt x="0" y="305633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pak">
  <p:cSld name="Kapak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5"/>
          <p:cNvSpPr/>
          <p:nvPr/>
        </p:nvSpPr>
        <p:spPr>
          <a:xfrm flipH="1"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18288000" y="0"/>
                </a:moveTo>
                <a:lnTo>
                  <a:pt x="0" y="0"/>
                </a:lnTo>
                <a:lnTo>
                  <a:pt x="0" y="10287000"/>
                </a:lnTo>
                <a:lnTo>
                  <a:pt x="18288000" y="10287000"/>
                </a:lnTo>
                <a:lnTo>
                  <a:pt x="1828800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Google Shape;30;p15"/>
          <p:cNvSpPr txBox="1"/>
          <p:nvPr/>
        </p:nvSpPr>
        <p:spPr>
          <a:xfrm>
            <a:off x="6908800" y="736600"/>
            <a:ext cx="4781705" cy="44283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7689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Consulting,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şletmeleri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büyüm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hedeflerin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ulaşmalar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dünyasında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rekabet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avantaj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kazanmalar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çi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stratejik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suna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bi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danışmanlık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firmasıdı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Kurums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liştir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ijit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önüşüm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tedari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zinci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önetim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z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le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ib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irço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land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uzmanlaşmı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l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müşterilerin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enilikç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dürülebil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eçlerin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yileştir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mkan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ağl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Consulting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eneyimiy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ünyasınd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dürülebil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üyü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aşarıy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daklan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un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Uzm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ekibimiz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her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rojed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titizlik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alışara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müşte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dakl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liştir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letmeniz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kârlılığın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rtırma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z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yınız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nişletme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perasyone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rimliliğiniz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ükseltme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ç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etk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un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sp>
        <p:nvSpPr>
          <p:cNvPr id="31" name="Google Shape;31;p15"/>
          <p:cNvSpPr/>
          <p:nvPr/>
        </p:nvSpPr>
        <p:spPr>
          <a:xfrm>
            <a:off x="469723" y="5677876"/>
            <a:ext cx="1239302" cy="988649"/>
          </a:xfrm>
          <a:custGeom>
            <a:avLst/>
            <a:gdLst/>
            <a:ahLst/>
            <a:cxnLst/>
            <a:rect l="l" t="t" r="r" b="b"/>
            <a:pathLst>
              <a:path w="1858953" h="1482973" extrusionOk="0">
                <a:moveTo>
                  <a:pt x="0" y="0"/>
                </a:moveTo>
                <a:lnTo>
                  <a:pt x="1858953" y="0"/>
                </a:lnTo>
                <a:lnTo>
                  <a:pt x="1858953" y="1482974"/>
                </a:lnTo>
                <a:lnTo>
                  <a:pt x="0" y="148297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2;p15"/>
          <p:cNvSpPr txBox="1"/>
          <p:nvPr/>
        </p:nvSpPr>
        <p:spPr>
          <a:xfrm>
            <a:off x="7569200" y="5481177"/>
            <a:ext cx="4219575" cy="494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34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taköy 7-8-9-10. Kısım Mh. Çobançeşme E5 Yanyol Cd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No: 8/2 A Ofis Kt: 13 No:51 Bakırköy/İSTANBUL</a:t>
            </a:r>
            <a:endParaRPr>
              <a:latin typeface="+mj-lt"/>
            </a:endParaRPr>
          </a:p>
        </p:txBody>
      </p:sp>
      <p:sp>
        <p:nvSpPr>
          <p:cNvPr id="33" name="Google Shape;33;p15"/>
          <p:cNvSpPr txBox="1"/>
          <p:nvPr/>
        </p:nvSpPr>
        <p:spPr>
          <a:xfrm>
            <a:off x="9617280" y="6200166"/>
            <a:ext cx="2073225" cy="291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3997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51">
                <a:solidFill>
                  <a:schemeClr val="lt1"/>
                </a:solidFill>
                <a:latin typeface="+mj-lt"/>
                <a:ea typeface="Proxima Nova"/>
                <a:cs typeface="Proxima Nova"/>
                <a:sym typeface="Proxima Nova"/>
              </a:rPr>
              <a:t>fintegral.com.tr</a:t>
            </a:r>
            <a:endParaRPr>
              <a:latin typeface="+mj-lt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A8AD157-0C87-4E5F-B1E0-E84EC195E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78838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8AD157-0C87-4E5F-B1E0-E84EC195E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3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tags" Target="../tags/tag196.xml"/><Relationship Id="rId18" Type="http://schemas.openxmlformats.org/officeDocument/2006/relationships/tags" Target="../tags/tag201.xml"/><Relationship Id="rId26" Type="http://schemas.openxmlformats.org/officeDocument/2006/relationships/tags" Target="../tags/tag209.xml"/><Relationship Id="rId39" Type="http://schemas.openxmlformats.org/officeDocument/2006/relationships/slideLayout" Target="../slideLayouts/slideLayout3.xml"/><Relationship Id="rId3" Type="http://schemas.openxmlformats.org/officeDocument/2006/relationships/tags" Target="../tags/tag186.xml"/><Relationship Id="rId21" Type="http://schemas.openxmlformats.org/officeDocument/2006/relationships/tags" Target="../tags/tag204.xml"/><Relationship Id="rId34" Type="http://schemas.openxmlformats.org/officeDocument/2006/relationships/tags" Target="../tags/tag217.xml"/><Relationship Id="rId42" Type="http://schemas.openxmlformats.org/officeDocument/2006/relationships/chart" Target="../charts/chart8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17" Type="http://schemas.openxmlformats.org/officeDocument/2006/relationships/tags" Target="../tags/tag200.xml"/><Relationship Id="rId25" Type="http://schemas.openxmlformats.org/officeDocument/2006/relationships/tags" Target="../tags/tag208.xml"/><Relationship Id="rId33" Type="http://schemas.openxmlformats.org/officeDocument/2006/relationships/tags" Target="../tags/tag216.xml"/><Relationship Id="rId38" Type="http://schemas.openxmlformats.org/officeDocument/2006/relationships/tags" Target="../tags/tag221.xml"/><Relationship Id="rId2" Type="http://schemas.openxmlformats.org/officeDocument/2006/relationships/tags" Target="../tags/tag185.xml"/><Relationship Id="rId16" Type="http://schemas.openxmlformats.org/officeDocument/2006/relationships/tags" Target="../tags/tag199.xml"/><Relationship Id="rId20" Type="http://schemas.openxmlformats.org/officeDocument/2006/relationships/tags" Target="../tags/tag203.xml"/><Relationship Id="rId29" Type="http://schemas.openxmlformats.org/officeDocument/2006/relationships/tags" Target="../tags/tag212.xml"/><Relationship Id="rId41" Type="http://schemas.openxmlformats.org/officeDocument/2006/relationships/image" Target="../media/image1.emf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24" Type="http://schemas.openxmlformats.org/officeDocument/2006/relationships/tags" Target="../tags/tag207.xml"/><Relationship Id="rId32" Type="http://schemas.openxmlformats.org/officeDocument/2006/relationships/tags" Target="../tags/tag215.xml"/><Relationship Id="rId37" Type="http://schemas.openxmlformats.org/officeDocument/2006/relationships/tags" Target="../tags/tag220.xml"/><Relationship Id="rId40" Type="http://schemas.openxmlformats.org/officeDocument/2006/relationships/oleObject" Target="../embeddings/oleObject13.bin"/><Relationship Id="rId5" Type="http://schemas.openxmlformats.org/officeDocument/2006/relationships/tags" Target="../tags/tag188.xml"/><Relationship Id="rId15" Type="http://schemas.openxmlformats.org/officeDocument/2006/relationships/tags" Target="../tags/tag198.xml"/><Relationship Id="rId23" Type="http://schemas.openxmlformats.org/officeDocument/2006/relationships/tags" Target="../tags/tag206.xml"/><Relationship Id="rId28" Type="http://schemas.openxmlformats.org/officeDocument/2006/relationships/tags" Target="../tags/tag211.xml"/><Relationship Id="rId36" Type="http://schemas.openxmlformats.org/officeDocument/2006/relationships/tags" Target="../tags/tag219.xml"/><Relationship Id="rId10" Type="http://schemas.openxmlformats.org/officeDocument/2006/relationships/tags" Target="../tags/tag193.xml"/><Relationship Id="rId19" Type="http://schemas.openxmlformats.org/officeDocument/2006/relationships/tags" Target="../tags/tag202.xml"/><Relationship Id="rId31" Type="http://schemas.openxmlformats.org/officeDocument/2006/relationships/tags" Target="../tags/tag214.xml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tags" Target="../tags/tag197.xml"/><Relationship Id="rId22" Type="http://schemas.openxmlformats.org/officeDocument/2006/relationships/tags" Target="../tags/tag205.xml"/><Relationship Id="rId27" Type="http://schemas.openxmlformats.org/officeDocument/2006/relationships/tags" Target="../tags/tag210.xml"/><Relationship Id="rId30" Type="http://schemas.openxmlformats.org/officeDocument/2006/relationships/tags" Target="../tags/tag213.xml"/><Relationship Id="rId35" Type="http://schemas.openxmlformats.org/officeDocument/2006/relationships/tags" Target="../tags/tag218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234.xml"/><Relationship Id="rId18" Type="http://schemas.openxmlformats.org/officeDocument/2006/relationships/tags" Target="../tags/tag239.xml"/><Relationship Id="rId26" Type="http://schemas.openxmlformats.org/officeDocument/2006/relationships/tags" Target="../tags/tag247.xml"/><Relationship Id="rId39" Type="http://schemas.openxmlformats.org/officeDocument/2006/relationships/tags" Target="../tags/tag260.xml"/><Relationship Id="rId3" Type="http://schemas.openxmlformats.org/officeDocument/2006/relationships/tags" Target="../tags/tag224.xml"/><Relationship Id="rId21" Type="http://schemas.openxmlformats.org/officeDocument/2006/relationships/tags" Target="../tags/tag242.xml"/><Relationship Id="rId34" Type="http://schemas.openxmlformats.org/officeDocument/2006/relationships/tags" Target="../tags/tag255.xml"/><Relationship Id="rId42" Type="http://schemas.openxmlformats.org/officeDocument/2006/relationships/tags" Target="../tags/tag263.xml"/><Relationship Id="rId47" Type="http://schemas.openxmlformats.org/officeDocument/2006/relationships/tags" Target="../tags/tag268.xml"/><Relationship Id="rId50" Type="http://schemas.openxmlformats.org/officeDocument/2006/relationships/tags" Target="../tags/tag271.xml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17" Type="http://schemas.openxmlformats.org/officeDocument/2006/relationships/tags" Target="../tags/tag238.xml"/><Relationship Id="rId25" Type="http://schemas.openxmlformats.org/officeDocument/2006/relationships/tags" Target="../tags/tag246.xml"/><Relationship Id="rId33" Type="http://schemas.openxmlformats.org/officeDocument/2006/relationships/tags" Target="../tags/tag254.xml"/><Relationship Id="rId38" Type="http://schemas.openxmlformats.org/officeDocument/2006/relationships/tags" Target="../tags/tag259.xml"/><Relationship Id="rId46" Type="http://schemas.openxmlformats.org/officeDocument/2006/relationships/tags" Target="../tags/tag267.xml"/><Relationship Id="rId2" Type="http://schemas.openxmlformats.org/officeDocument/2006/relationships/tags" Target="../tags/tag223.xml"/><Relationship Id="rId16" Type="http://schemas.openxmlformats.org/officeDocument/2006/relationships/tags" Target="../tags/tag237.xml"/><Relationship Id="rId20" Type="http://schemas.openxmlformats.org/officeDocument/2006/relationships/tags" Target="../tags/tag241.xml"/><Relationship Id="rId29" Type="http://schemas.openxmlformats.org/officeDocument/2006/relationships/tags" Target="../tags/tag250.xml"/><Relationship Id="rId41" Type="http://schemas.openxmlformats.org/officeDocument/2006/relationships/tags" Target="../tags/tag262.xml"/><Relationship Id="rId54" Type="http://schemas.openxmlformats.org/officeDocument/2006/relationships/chart" Target="../charts/chart9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24" Type="http://schemas.openxmlformats.org/officeDocument/2006/relationships/tags" Target="../tags/tag245.xml"/><Relationship Id="rId32" Type="http://schemas.openxmlformats.org/officeDocument/2006/relationships/tags" Target="../tags/tag253.xml"/><Relationship Id="rId37" Type="http://schemas.openxmlformats.org/officeDocument/2006/relationships/tags" Target="../tags/tag258.xml"/><Relationship Id="rId40" Type="http://schemas.openxmlformats.org/officeDocument/2006/relationships/tags" Target="../tags/tag261.xml"/><Relationship Id="rId45" Type="http://schemas.openxmlformats.org/officeDocument/2006/relationships/tags" Target="../tags/tag266.xml"/><Relationship Id="rId53" Type="http://schemas.openxmlformats.org/officeDocument/2006/relationships/image" Target="../media/image1.emf"/><Relationship Id="rId5" Type="http://schemas.openxmlformats.org/officeDocument/2006/relationships/tags" Target="../tags/tag226.xml"/><Relationship Id="rId15" Type="http://schemas.openxmlformats.org/officeDocument/2006/relationships/tags" Target="../tags/tag236.xml"/><Relationship Id="rId23" Type="http://schemas.openxmlformats.org/officeDocument/2006/relationships/tags" Target="../tags/tag244.xml"/><Relationship Id="rId28" Type="http://schemas.openxmlformats.org/officeDocument/2006/relationships/tags" Target="../tags/tag249.xml"/><Relationship Id="rId36" Type="http://schemas.openxmlformats.org/officeDocument/2006/relationships/tags" Target="../tags/tag257.xml"/><Relationship Id="rId49" Type="http://schemas.openxmlformats.org/officeDocument/2006/relationships/tags" Target="../tags/tag270.xml"/><Relationship Id="rId10" Type="http://schemas.openxmlformats.org/officeDocument/2006/relationships/tags" Target="../tags/tag231.xml"/><Relationship Id="rId19" Type="http://schemas.openxmlformats.org/officeDocument/2006/relationships/tags" Target="../tags/tag240.xml"/><Relationship Id="rId31" Type="http://schemas.openxmlformats.org/officeDocument/2006/relationships/tags" Target="../tags/tag252.xml"/><Relationship Id="rId44" Type="http://schemas.openxmlformats.org/officeDocument/2006/relationships/tags" Target="../tags/tag265.xml"/><Relationship Id="rId52" Type="http://schemas.openxmlformats.org/officeDocument/2006/relationships/oleObject" Target="../embeddings/oleObject14.bin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tags" Target="../tags/tag235.xml"/><Relationship Id="rId22" Type="http://schemas.openxmlformats.org/officeDocument/2006/relationships/tags" Target="../tags/tag243.xml"/><Relationship Id="rId27" Type="http://schemas.openxmlformats.org/officeDocument/2006/relationships/tags" Target="../tags/tag248.xml"/><Relationship Id="rId30" Type="http://schemas.openxmlformats.org/officeDocument/2006/relationships/tags" Target="../tags/tag251.xml"/><Relationship Id="rId35" Type="http://schemas.openxmlformats.org/officeDocument/2006/relationships/tags" Target="../tags/tag256.xml"/><Relationship Id="rId43" Type="http://schemas.openxmlformats.org/officeDocument/2006/relationships/tags" Target="../tags/tag264.xml"/><Relationship Id="rId48" Type="http://schemas.openxmlformats.org/officeDocument/2006/relationships/tags" Target="../tags/tag269.xml"/><Relationship Id="rId8" Type="http://schemas.openxmlformats.org/officeDocument/2006/relationships/tags" Target="../tags/tag229.xml"/><Relationship Id="rId5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tags" Target="../tags/tag284.xml"/><Relationship Id="rId18" Type="http://schemas.openxmlformats.org/officeDocument/2006/relationships/tags" Target="../tags/tag289.xml"/><Relationship Id="rId3" Type="http://schemas.openxmlformats.org/officeDocument/2006/relationships/tags" Target="../tags/tag274.xml"/><Relationship Id="rId21" Type="http://schemas.openxmlformats.org/officeDocument/2006/relationships/oleObject" Target="../embeddings/oleObject15.bin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tags" Target="../tags/tag288.xml"/><Relationship Id="rId2" Type="http://schemas.openxmlformats.org/officeDocument/2006/relationships/tags" Target="../tags/tag273.xml"/><Relationship Id="rId16" Type="http://schemas.openxmlformats.org/officeDocument/2006/relationships/tags" Target="../tags/tag287.xml"/><Relationship Id="rId20" Type="http://schemas.openxmlformats.org/officeDocument/2006/relationships/slideLayout" Target="../slideLayouts/slideLayout3.xml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tags" Target="../tags/tag286.xml"/><Relationship Id="rId23" Type="http://schemas.openxmlformats.org/officeDocument/2006/relationships/chart" Target="../charts/chart10.xml"/><Relationship Id="rId10" Type="http://schemas.openxmlformats.org/officeDocument/2006/relationships/tags" Target="../tags/tag281.xml"/><Relationship Id="rId19" Type="http://schemas.openxmlformats.org/officeDocument/2006/relationships/tags" Target="../tags/tag290.xml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tags" Target="../tags/tag285.xml"/><Relationship Id="rId22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303.xml"/><Relationship Id="rId18" Type="http://schemas.openxmlformats.org/officeDocument/2006/relationships/tags" Target="../tags/tag308.xml"/><Relationship Id="rId26" Type="http://schemas.openxmlformats.org/officeDocument/2006/relationships/tags" Target="../tags/tag316.xml"/><Relationship Id="rId39" Type="http://schemas.openxmlformats.org/officeDocument/2006/relationships/tags" Target="../tags/tag329.xml"/><Relationship Id="rId3" Type="http://schemas.openxmlformats.org/officeDocument/2006/relationships/tags" Target="../tags/tag293.xml"/><Relationship Id="rId21" Type="http://schemas.openxmlformats.org/officeDocument/2006/relationships/tags" Target="../tags/tag311.xml"/><Relationship Id="rId34" Type="http://schemas.openxmlformats.org/officeDocument/2006/relationships/tags" Target="../tags/tag324.xml"/><Relationship Id="rId42" Type="http://schemas.openxmlformats.org/officeDocument/2006/relationships/tags" Target="../tags/tag332.xml"/><Relationship Id="rId47" Type="http://schemas.openxmlformats.org/officeDocument/2006/relationships/tags" Target="../tags/tag337.xml"/><Relationship Id="rId50" Type="http://schemas.openxmlformats.org/officeDocument/2006/relationships/slideLayout" Target="../slideLayouts/slideLayout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tags" Target="../tags/tag307.xml"/><Relationship Id="rId25" Type="http://schemas.openxmlformats.org/officeDocument/2006/relationships/tags" Target="../tags/tag315.xml"/><Relationship Id="rId33" Type="http://schemas.openxmlformats.org/officeDocument/2006/relationships/tags" Target="../tags/tag323.xml"/><Relationship Id="rId38" Type="http://schemas.openxmlformats.org/officeDocument/2006/relationships/tags" Target="../tags/tag328.xml"/><Relationship Id="rId46" Type="http://schemas.openxmlformats.org/officeDocument/2006/relationships/tags" Target="../tags/tag336.xml"/><Relationship Id="rId2" Type="http://schemas.openxmlformats.org/officeDocument/2006/relationships/tags" Target="../tags/tag292.xml"/><Relationship Id="rId16" Type="http://schemas.openxmlformats.org/officeDocument/2006/relationships/tags" Target="../tags/tag306.xml"/><Relationship Id="rId20" Type="http://schemas.openxmlformats.org/officeDocument/2006/relationships/tags" Target="../tags/tag310.xml"/><Relationship Id="rId29" Type="http://schemas.openxmlformats.org/officeDocument/2006/relationships/tags" Target="../tags/tag319.xml"/><Relationship Id="rId41" Type="http://schemas.openxmlformats.org/officeDocument/2006/relationships/tags" Target="../tags/tag331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24" Type="http://schemas.openxmlformats.org/officeDocument/2006/relationships/tags" Target="../tags/tag314.xml"/><Relationship Id="rId32" Type="http://schemas.openxmlformats.org/officeDocument/2006/relationships/tags" Target="../tags/tag322.xml"/><Relationship Id="rId37" Type="http://schemas.openxmlformats.org/officeDocument/2006/relationships/tags" Target="../tags/tag327.xml"/><Relationship Id="rId40" Type="http://schemas.openxmlformats.org/officeDocument/2006/relationships/tags" Target="../tags/tag330.xml"/><Relationship Id="rId45" Type="http://schemas.openxmlformats.org/officeDocument/2006/relationships/tags" Target="../tags/tag335.xml"/><Relationship Id="rId53" Type="http://schemas.openxmlformats.org/officeDocument/2006/relationships/chart" Target="../charts/chart11.xml"/><Relationship Id="rId5" Type="http://schemas.openxmlformats.org/officeDocument/2006/relationships/tags" Target="../tags/tag295.xml"/><Relationship Id="rId15" Type="http://schemas.openxmlformats.org/officeDocument/2006/relationships/tags" Target="../tags/tag305.xml"/><Relationship Id="rId23" Type="http://schemas.openxmlformats.org/officeDocument/2006/relationships/tags" Target="../tags/tag313.xml"/><Relationship Id="rId28" Type="http://schemas.openxmlformats.org/officeDocument/2006/relationships/tags" Target="../tags/tag318.xml"/><Relationship Id="rId36" Type="http://schemas.openxmlformats.org/officeDocument/2006/relationships/tags" Target="../tags/tag326.xml"/><Relationship Id="rId49" Type="http://schemas.openxmlformats.org/officeDocument/2006/relationships/tags" Target="../tags/tag339.xml"/><Relationship Id="rId10" Type="http://schemas.openxmlformats.org/officeDocument/2006/relationships/tags" Target="../tags/tag300.xml"/><Relationship Id="rId19" Type="http://schemas.openxmlformats.org/officeDocument/2006/relationships/tags" Target="../tags/tag309.xml"/><Relationship Id="rId31" Type="http://schemas.openxmlformats.org/officeDocument/2006/relationships/tags" Target="../tags/tag321.xml"/><Relationship Id="rId44" Type="http://schemas.openxmlformats.org/officeDocument/2006/relationships/tags" Target="../tags/tag334.xml"/><Relationship Id="rId52" Type="http://schemas.openxmlformats.org/officeDocument/2006/relationships/image" Target="../media/image1.emf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Relationship Id="rId22" Type="http://schemas.openxmlformats.org/officeDocument/2006/relationships/tags" Target="../tags/tag312.xml"/><Relationship Id="rId27" Type="http://schemas.openxmlformats.org/officeDocument/2006/relationships/tags" Target="../tags/tag317.xml"/><Relationship Id="rId30" Type="http://schemas.openxmlformats.org/officeDocument/2006/relationships/tags" Target="../tags/tag320.xml"/><Relationship Id="rId35" Type="http://schemas.openxmlformats.org/officeDocument/2006/relationships/tags" Target="../tags/tag325.xml"/><Relationship Id="rId43" Type="http://schemas.openxmlformats.org/officeDocument/2006/relationships/tags" Target="../tags/tag333.xml"/><Relationship Id="rId48" Type="http://schemas.openxmlformats.org/officeDocument/2006/relationships/tags" Target="../tags/tag338.xml"/><Relationship Id="rId8" Type="http://schemas.openxmlformats.org/officeDocument/2006/relationships/tags" Target="../tags/tag298.xml"/><Relationship Id="rId51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11" Type="http://schemas.openxmlformats.org/officeDocument/2006/relationships/chart" Target="../charts/chart12.xml"/><Relationship Id="rId5" Type="http://schemas.openxmlformats.org/officeDocument/2006/relationships/tags" Target="../tags/tag344.xml"/><Relationship Id="rId10" Type="http://schemas.openxmlformats.org/officeDocument/2006/relationships/image" Target="../media/image1.emf"/><Relationship Id="rId4" Type="http://schemas.openxmlformats.org/officeDocument/2006/relationships/tags" Target="../tags/tag343.xml"/><Relationship Id="rId9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chart" Target="../charts/chart13.xml"/><Relationship Id="rId5" Type="http://schemas.openxmlformats.org/officeDocument/2006/relationships/tags" Target="../tags/tag351.xml"/><Relationship Id="rId10" Type="http://schemas.openxmlformats.org/officeDocument/2006/relationships/image" Target="../media/image1.emf"/><Relationship Id="rId4" Type="http://schemas.openxmlformats.org/officeDocument/2006/relationships/tags" Target="../tags/tag350.xml"/><Relationship Id="rId9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13" Type="http://schemas.openxmlformats.org/officeDocument/2006/relationships/tags" Target="../tags/tag366.xml"/><Relationship Id="rId18" Type="http://schemas.openxmlformats.org/officeDocument/2006/relationships/tags" Target="../tags/tag371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356.xml"/><Relationship Id="rId21" Type="http://schemas.openxmlformats.org/officeDocument/2006/relationships/tags" Target="../tags/tag374.xml"/><Relationship Id="rId7" Type="http://schemas.openxmlformats.org/officeDocument/2006/relationships/tags" Target="../tags/tag360.xml"/><Relationship Id="rId12" Type="http://schemas.openxmlformats.org/officeDocument/2006/relationships/tags" Target="../tags/tag365.xml"/><Relationship Id="rId17" Type="http://schemas.openxmlformats.org/officeDocument/2006/relationships/tags" Target="../tags/tag370.xml"/><Relationship Id="rId25" Type="http://schemas.openxmlformats.org/officeDocument/2006/relationships/tags" Target="../tags/tag378.xml"/><Relationship Id="rId2" Type="http://schemas.openxmlformats.org/officeDocument/2006/relationships/tags" Target="../tags/tag355.xml"/><Relationship Id="rId16" Type="http://schemas.openxmlformats.org/officeDocument/2006/relationships/tags" Target="../tags/tag369.xml"/><Relationship Id="rId20" Type="http://schemas.openxmlformats.org/officeDocument/2006/relationships/tags" Target="../tags/tag373.xml"/><Relationship Id="rId29" Type="http://schemas.openxmlformats.org/officeDocument/2006/relationships/chart" Target="../charts/chart14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11" Type="http://schemas.openxmlformats.org/officeDocument/2006/relationships/tags" Target="../tags/tag364.xml"/><Relationship Id="rId24" Type="http://schemas.openxmlformats.org/officeDocument/2006/relationships/tags" Target="../tags/tag377.xml"/><Relationship Id="rId5" Type="http://schemas.openxmlformats.org/officeDocument/2006/relationships/tags" Target="../tags/tag358.xml"/><Relationship Id="rId15" Type="http://schemas.openxmlformats.org/officeDocument/2006/relationships/tags" Target="../tags/tag368.xml"/><Relationship Id="rId23" Type="http://schemas.openxmlformats.org/officeDocument/2006/relationships/tags" Target="../tags/tag376.xml"/><Relationship Id="rId28" Type="http://schemas.openxmlformats.org/officeDocument/2006/relationships/image" Target="../media/image1.emf"/><Relationship Id="rId10" Type="http://schemas.openxmlformats.org/officeDocument/2006/relationships/tags" Target="../tags/tag363.xml"/><Relationship Id="rId19" Type="http://schemas.openxmlformats.org/officeDocument/2006/relationships/tags" Target="../tags/tag372.xml"/><Relationship Id="rId4" Type="http://schemas.openxmlformats.org/officeDocument/2006/relationships/tags" Target="../tags/tag357.xml"/><Relationship Id="rId9" Type="http://schemas.openxmlformats.org/officeDocument/2006/relationships/tags" Target="../tags/tag362.xml"/><Relationship Id="rId14" Type="http://schemas.openxmlformats.org/officeDocument/2006/relationships/tags" Target="../tags/tag367.xml"/><Relationship Id="rId22" Type="http://schemas.openxmlformats.org/officeDocument/2006/relationships/tags" Target="../tags/tag375.xml"/><Relationship Id="rId27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13" Type="http://schemas.openxmlformats.org/officeDocument/2006/relationships/tags" Target="../tags/tag391.xml"/><Relationship Id="rId18" Type="http://schemas.openxmlformats.org/officeDocument/2006/relationships/tags" Target="../tags/tag396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381.xml"/><Relationship Id="rId21" Type="http://schemas.openxmlformats.org/officeDocument/2006/relationships/tags" Target="../tags/tag399.xml"/><Relationship Id="rId7" Type="http://schemas.openxmlformats.org/officeDocument/2006/relationships/tags" Target="../tags/tag385.xml"/><Relationship Id="rId12" Type="http://schemas.openxmlformats.org/officeDocument/2006/relationships/tags" Target="../tags/tag390.xml"/><Relationship Id="rId17" Type="http://schemas.openxmlformats.org/officeDocument/2006/relationships/tags" Target="../tags/tag395.xml"/><Relationship Id="rId25" Type="http://schemas.openxmlformats.org/officeDocument/2006/relationships/tags" Target="../tags/tag403.xml"/><Relationship Id="rId2" Type="http://schemas.openxmlformats.org/officeDocument/2006/relationships/tags" Target="../tags/tag380.xml"/><Relationship Id="rId16" Type="http://schemas.openxmlformats.org/officeDocument/2006/relationships/tags" Target="../tags/tag394.xml"/><Relationship Id="rId20" Type="http://schemas.openxmlformats.org/officeDocument/2006/relationships/tags" Target="../tags/tag398.xml"/><Relationship Id="rId29" Type="http://schemas.openxmlformats.org/officeDocument/2006/relationships/chart" Target="../charts/chart15.xml"/><Relationship Id="rId1" Type="http://schemas.openxmlformats.org/officeDocument/2006/relationships/tags" Target="../tags/tag379.xml"/><Relationship Id="rId6" Type="http://schemas.openxmlformats.org/officeDocument/2006/relationships/tags" Target="../tags/tag384.xml"/><Relationship Id="rId11" Type="http://schemas.openxmlformats.org/officeDocument/2006/relationships/tags" Target="../tags/tag389.xml"/><Relationship Id="rId24" Type="http://schemas.openxmlformats.org/officeDocument/2006/relationships/tags" Target="../tags/tag402.xml"/><Relationship Id="rId5" Type="http://schemas.openxmlformats.org/officeDocument/2006/relationships/tags" Target="../tags/tag383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28" Type="http://schemas.openxmlformats.org/officeDocument/2006/relationships/image" Target="../media/image1.emf"/><Relationship Id="rId10" Type="http://schemas.openxmlformats.org/officeDocument/2006/relationships/tags" Target="../tags/tag388.xml"/><Relationship Id="rId19" Type="http://schemas.openxmlformats.org/officeDocument/2006/relationships/tags" Target="../tags/tag397.xml"/><Relationship Id="rId4" Type="http://schemas.openxmlformats.org/officeDocument/2006/relationships/tags" Target="../tags/tag382.xml"/><Relationship Id="rId9" Type="http://schemas.openxmlformats.org/officeDocument/2006/relationships/tags" Target="../tags/tag387.xml"/><Relationship Id="rId14" Type="http://schemas.openxmlformats.org/officeDocument/2006/relationships/tags" Target="../tags/tag392.xml"/><Relationship Id="rId22" Type="http://schemas.openxmlformats.org/officeDocument/2006/relationships/tags" Target="../tags/tag400.xml"/><Relationship Id="rId27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slideLayout" Target="../slideLayouts/slideLayout3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41" Type="http://schemas.openxmlformats.org/officeDocument/2006/relationships/tags" Target="../tags/tag47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chart" Target="../charts/chart1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image" Target="../media/image1.emf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8" Type="http://schemas.openxmlformats.org/officeDocument/2006/relationships/tags" Target="../tags/tag14.xml"/><Relationship Id="rId51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3" Type="http://schemas.openxmlformats.org/officeDocument/2006/relationships/tags" Target="../tags/tag58.xml"/><Relationship Id="rId21" Type="http://schemas.openxmlformats.org/officeDocument/2006/relationships/tags" Target="../tags/tag76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chart" Target="../charts/chart2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0" Type="http://schemas.openxmlformats.org/officeDocument/2006/relationships/tags" Target="../tags/tag75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image" Target="../media/image1.emf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26" Type="http://schemas.openxmlformats.org/officeDocument/2006/relationships/tags" Target="../tags/tag102.xml"/><Relationship Id="rId39" Type="http://schemas.openxmlformats.org/officeDocument/2006/relationships/tags" Target="../tags/tag115.xml"/><Relationship Id="rId3" Type="http://schemas.openxmlformats.org/officeDocument/2006/relationships/tags" Target="../tags/tag79.xml"/><Relationship Id="rId21" Type="http://schemas.openxmlformats.org/officeDocument/2006/relationships/tags" Target="../tags/tag97.xml"/><Relationship Id="rId34" Type="http://schemas.openxmlformats.org/officeDocument/2006/relationships/tags" Target="../tags/tag110.xml"/><Relationship Id="rId42" Type="http://schemas.openxmlformats.org/officeDocument/2006/relationships/slideLayout" Target="../slideLayouts/slideLayout3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tags" Target="../tags/tag101.xml"/><Relationship Id="rId33" Type="http://schemas.openxmlformats.org/officeDocument/2006/relationships/tags" Target="../tags/tag109.xml"/><Relationship Id="rId38" Type="http://schemas.openxmlformats.org/officeDocument/2006/relationships/tags" Target="../tags/tag114.xml"/><Relationship Id="rId46" Type="http://schemas.openxmlformats.org/officeDocument/2006/relationships/chart" Target="../charts/chart4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tags" Target="../tags/tag96.xml"/><Relationship Id="rId29" Type="http://schemas.openxmlformats.org/officeDocument/2006/relationships/tags" Target="../tags/tag105.xml"/><Relationship Id="rId41" Type="http://schemas.openxmlformats.org/officeDocument/2006/relationships/tags" Target="../tags/tag117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tags" Target="../tags/tag100.xml"/><Relationship Id="rId32" Type="http://schemas.openxmlformats.org/officeDocument/2006/relationships/tags" Target="../tags/tag108.xml"/><Relationship Id="rId37" Type="http://schemas.openxmlformats.org/officeDocument/2006/relationships/tags" Target="../tags/tag113.xml"/><Relationship Id="rId40" Type="http://schemas.openxmlformats.org/officeDocument/2006/relationships/tags" Target="../tags/tag116.xml"/><Relationship Id="rId45" Type="http://schemas.openxmlformats.org/officeDocument/2006/relationships/chart" Target="../charts/chart3.xml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tags" Target="../tags/tag99.xml"/><Relationship Id="rId28" Type="http://schemas.openxmlformats.org/officeDocument/2006/relationships/tags" Target="../tags/tag104.xml"/><Relationship Id="rId36" Type="http://schemas.openxmlformats.org/officeDocument/2006/relationships/tags" Target="../tags/tag112.xml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31" Type="http://schemas.openxmlformats.org/officeDocument/2006/relationships/tags" Target="../tags/tag107.xml"/><Relationship Id="rId44" Type="http://schemas.openxmlformats.org/officeDocument/2006/relationships/image" Target="../media/image1.emf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tags" Target="../tags/tag98.xml"/><Relationship Id="rId27" Type="http://schemas.openxmlformats.org/officeDocument/2006/relationships/tags" Target="../tags/tag103.xml"/><Relationship Id="rId30" Type="http://schemas.openxmlformats.org/officeDocument/2006/relationships/tags" Target="../tags/tag106.xml"/><Relationship Id="rId35" Type="http://schemas.openxmlformats.org/officeDocument/2006/relationships/tags" Target="../tags/tag111.xml"/><Relationship Id="rId43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tags" Target="../tags/tag143.xml"/><Relationship Id="rId39" Type="http://schemas.openxmlformats.org/officeDocument/2006/relationships/tags" Target="../tags/tag156.xml"/><Relationship Id="rId21" Type="http://schemas.openxmlformats.org/officeDocument/2006/relationships/tags" Target="../tags/tag138.xml"/><Relationship Id="rId34" Type="http://schemas.openxmlformats.org/officeDocument/2006/relationships/tags" Target="../tags/tag151.xml"/><Relationship Id="rId42" Type="http://schemas.openxmlformats.org/officeDocument/2006/relationships/tags" Target="../tags/tag159.xml"/><Relationship Id="rId47" Type="http://schemas.openxmlformats.org/officeDocument/2006/relationships/tags" Target="../tags/tag164.xml"/><Relationship Id="rId50" Type="http://schemas.openxmlformats.org/officeDocument/2006/relationships/tags" Target="../tags/tag167.xml"/><Relationship Id="rId55" Type="http://schemas.openxmlformats.org/officeDocument/2006/relationships/oleObject" Target="../embeddings/oleObject9.bin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tags" Target="../tags/tag142.xml"/><Relationship Id="rId33" Type="http://schemas.openxmlformats.org/officeDocument/2006/relationships/tags" Target="../tags/tag150.xml"/><Relationship Id="rId38" Type="http://schemas.openxmlformats.org/officeDocument/2006/relationships/tags" Target="../tags/tag155.xml"/><Relationship Id="rId46" Type="http://schemas.openxmlformats.org/officeDocument/2006/relationships/tags" Target="../tags/tag163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tags" Target="../tags/tag146.xml"/><Relationship Id="rId41" Type="http://schemas.openxmlformats.org/officeDocument/2006/relationships/tags" Target="../tags/tag158.xml"/><Relationship Id="rId54" Type="http://schemas.openxmlformats.org/officeDocument/2006/relationships/slideLayout" Target="../slideLayouts/slideLayout3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24" Type="http://schemas.openxmlformats.org/officeDocument/2006/relationships/tags" Target="../tags/tag141.xml"/><Relationship Id="rId32" Type="http://schemas.openxmlformats.org/officeDocument/2006/relationships/tags" Target="../tags/tag149.xml"/><Relationship Id="rId37" Type="http://schemas.openxmlformats.org/officeDocument/2006/relationships/tags" Target="../tags/tag154.xml"/><Relationship Id="rId40" Type="http://schemas.openxmlformats.org/officeDocument/2006/relationships/tags" Target="../tags/tag157.xml"/><Relationship Id="rId45" Type="http://schemas.openxmlformats.org/officeDocument/2006/relationships/tags" Target="../tags/tag162.xml"/><Relationship Id="rId53" Type="http://schemas.openxmlformats.org/officeDocument/2006/relationships/tags" Target="../tags/tag170.xml"/><Relationship Id="rId58" Type="http://schemas.openxmlformats.org/officeDocument/2006/relationships/chart" Target="../charts/chart6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tags" Target="../tags/tag140.xml"/><Relationship Id="rId28" Type="http://schemas.openxmlformats.org/officeDocument/2006/relationships/tags" Target="../tags/tag145.xml"/><Relationship Id="rId36" Type="http://schemas.openxmlformats.org/officeDocument/2006/relationships/tags" Target="../tags/tag153.xml"/><Relationship Id="rId49" Type="http://schemas.openxmlformats.org/officeDocument/2006/relationships/tags" Target="../tags/tag166.xml"/><Relationship Id="rId57" Type="http://schemas.openxmlformats.org/officeDocument/2006/relationships/chart" Target="../charts/chart5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31" Type="http://schemas.openxmlformats.org/officeDocument/2006/relationships/tags" Target="../tags/tag148.xml"/><Relationship Id="rId44" Type="http://schemas.openxmlformats.org/officeDocument/2006/relationships/tags" Target="../tags/tag161.xml"/><Relationship Id="rId52" Type="http://schemas.openxmlformats.org/officeDocument/2006/relationships/tags" Target="../tags/tag169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tags" Target="../tags/tag144.xml"/><Relationship Id="rId30" Type="http://schemas.openxmlformats.org/officeDocument/2006/relationships/tags" Target="../tags/tag147.xml"/><Relationship Id="rId35" Type="http://schemas.openxmlformats.org/officeDocument/2006/relationships/tags" Target="../tags/tag152.xml"/><Relationship Id="rId43" Type="http://schemas.openxmlformats.org/officeDocument/2006/relationships/tags" Target="../tags/tag160.xml"/><Relationship Id="rId48" Type="http://schemas.openxmlformats.org/officeDocument/2006/relationships/tags" Target="../tags/tag165.xml"/><Relationship Id="rId56" Type="http://schemas.openxmlformats.org/officeDocument/2006/relationships/image" Target="../media/image1.emf"/><Relationship Id="rId8" Type="http://schemas.openxmlformats.org/officeDocument/2006/relationships/tags" Target="../tags/tag125.xml"/><Relationship Id="rId51" Type="http://schemas.openxmlformats.org/officeDocument/2006/relationships/tags" Target="../tags/tag168.xml"/><Relationship Id="rId3" Type="http://schemas.openxmlformats.org/officeDocument/2006/relationships/tags" Target="../tags/tag12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5" Type="http://schemas.openxmlformats.org/officeDocument/2006/relationships/tags" Target="../tags/tag175.xml"/><Relationship Id="rId15" Type="http://schemas.openxmlformats.org/officeDocument/2006/relationships/chart" Target="../charts/chart7.xml"/><Relationship Id="rId10" Type="http://schemas.openxmlformats.org/officeDocument/2006/relationships/tags" Target="../tags/tag180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0F026E1-D27D-3777-9BB5-CD07A2ED5E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35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F026E1-D27D-3777-9BB5-CD07A2ED5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Google Shape;39;p1"/>
          <p:cNvSpPr txBox="1">
            <a:spLocks noGrp="1"/>
          </p:cNvSpPr>
          <p:nvPr>
            <p:ph type="body" idx="1"/>
          </p:nvPr>
        </p:nvSpPr>
        <p:spPr>
          <a:xfrm>
            <a:off x="198035" y="3987800"/>
            <a:ext cx="4165600" cy="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89D56"/>
              </a:buClr>
              <a:buSzPts val="1300"/>
              <a:buNone/>
            </a:pPr>
            <a:r>
              <a:rPr lang="tr-TR" dirty="0"/>
              <a:t>Aralık</a:t>
            </a:r>
            <a:r>
              <a:rPr lang="en-US" dirty="0"/>
              <a:t> 2024, </a:t>
            </a:r>
            <a:endParaRPr dirty="0"/>
          </a:p>
          <a:p>
            <a:pPr marL="0" lvl="0" indent="0" algn="l" rtl="0">
              <a:spcBef>
                <a:spcPts val="260"/>
              </a:spcBef>
              <a:spcAft>
                <a:spcPts val="0"/>
              </a:spcAft>
              <a:buClr>
                <a:srgbClr val="F89D56"/>
              </a:buClr>
              <a:buSzPts val="1300"/>
              <a:buNone/>
            </a:pPr>
            <a:r>
              <a:rPr lang="tr-TR" dirty="0" err="1"/>
              <a:t>Fintegral</a:t>
            </a:r>
            <a:r>
              <a:rPr lang="tr-TR" dirty="0"/>
              <a:t> </a:t>
            </a:r>
            <a:r>
              <a:rPr lang="tr-TR" dirty="0" err="1"/>
              <a:t>Consulting</a:t>
            </a:r>
            <a:endParaRPr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D668ED-59D5-E382-7A19-33ECD1C99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Türkiye’nin Tekstil Sektöründeki Durumu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F7FA57-679C-8D83-BAF8-4B4395B3C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B908067-76D3-DB92-2C9F-4A82BAF44D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3061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908067-76D3-DB92-2C9F-4A82BAF44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5BAC77-4AE8-6536-1152-C5E4BECFE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5-) </a:t>
            </a:r>
            <a:r>
              <a:rPr lang="tr-TR" dirty="0" err="1"/>
              <a:t>Turkiye'nin</a:t>
            </a:r>
            <a:r>
              <a:rPr lang="tr-TR" dirty="0"/>
              <a:t> tekstilde ihracat ve ithalat.xlsx </a:t>
            </a:r>
            <a:r>
              <a:rPr lang="tr-TR" dirty="0" err="1"/>
              <a:t>tree</a:t>
            </a:r>
            <a:r>
              <a:rPr lang="tr-TR" dirty="0"/>
              <a:t> </a:t>
            </a:r>
            <a:r>
              <a:rPr lang="tr-TR" dirty="0" err="1"/>
              <a:t>mapleri</a:t>
            </a:r>
            <a:r>
              <a:rPr lang="tr-TR" dirty="0"/>
              <a:t> 6 tane (Yapamadım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CFFDA1-43FA-B247-6E8D-6AAE29D0EF5C}"/>
              </a:ext>
            </a:extLst>
          </p:cNvPr>
          <p:cNvSpPr/>
          <p:nvPr/>
        </p:nvSpPr>
        <p:spPr>
          <a:xfrm>
            <a:off x="762000" y="1962150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hraca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769D5E-D2C2-D352-0B7A-3B210F2C7A3B}"/>
              </a:ext>
            </a:extLst>
          </p:cNvPr>
          <p:cNvSpPr/>
          <p:nvPr/>
        </p:nvSpPr>
        <p:spPr>
          <a:xfrm>
            <a:off x="762000" y="42016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thala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409F0A-9089-8A07-7798-8DD52DCC1261}"/>
              </a:ext>
            </a:extLst>
          </p:cNvPr>
          <p:cNvSpPr/>
          <p:nvPr/>
        </p:nvSpPr>
        <p:spPr>
          <a:xfrm>
            <a:off x="2628900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1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F63395-C47E-ABB4-E208-916F59C4D429}"/>
              </a:ext>
            </a:extLst>
          </p:cNvPr>
          <p:cNvSpPr/>
          <p:nvPr/>
        </p:nvSpPr>
        <p:spPr>
          <a:xfrm>
            <a:off x="6014991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1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759EB2-542F-D19B-FEAD-12DFB4F1524E}"/>
              </a:ext>
            </a:extLst>
          </p:cNvPr>
          <p:cNvSpPr/>
          <p:nvPr/>
        </p:nvSpPr>
        <p:spPr>
          <a:xfrm>
            <a:off x="9401082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6439738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61C7C0-A960-9537-E041-75443F507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6C11A8C-A238-E3BC-BC7A-22223A5EC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259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11A8C-A238-E3BC-BC7A-22223A5EC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251CAC-8A33-ABD3-815B-69C3C58EA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6-) </a:t>
            </a:r>
            <a:r>
              <a:rPr lang="tr-TR" dirty="0" err="1"/>
              <a:t>Dunyada</a:t>
            </a:r>
            <a:r>
              <a:rPr lang="tr-TR" dirty="0"/>
              <a:t> tekstilde en </a:t>
            </a:r>
            <a:r>
              <a:rPr lang="tr-TR" dirty="0" err="1"/>
              <a:t>buyuk</a:t>
            </a:r>
            <a:r>
              <a:rPr lang="tr-TR" dirty="0"/>
              <a:t> </a:t>
            </a:r>
            <a:r>
              <a:rPr lang="tr-TR" dirty="0" err="1"/>
              <a:t>ihracatcilar</a:t>
            </a:r>
            <a:r>
              <a:rPr lang="tr-TR" dirty="0"/>
              <a:t> ve ithalatcilar.xlsx </a:t>
            </a:r>
            <a:r>
              <a:rPr lang="tr-TR" dirty="0" err="1"/>
              <a:t>tree</a:t>
            </a:r>
            <a:r>
              <a:rPr lang="tr-TR" dirty="0"/>
              <a:t> </a:t>
            </a:r>
            <a:r>
              <a:rPr lang="tr-TR" dirty="0" err="1"/>
              <a:t>mapleri</a:t>
            </a:r>
            <a:r>
              <a:rPr lang="tr-TR" dirty="0"/>
              <a:t> 6 tane (Yapamadım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226ED9-05C5-6946-D4BA-6C927D3EFD5D}"/>
              </a:ext>
            </a:extLst>
          </p:cNvPr>
          <p:cNvSpPr/>
          <p:nvPr/>
        </p:nvSpPr>
        <p:spPr>
          <a:xfrm>
            <a:off x="762000" y="1962150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hraca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7A5084-1540-7861-5E0A-9E15416633AD}"/>
              </a:ext>
            </a:extLst>
          </p:cNvPr>
          <p:cNvSpPr/>
          <p:nvPr/>
        </p:nvSpPr>
        <p:spPr>
          <a:xfrm>
            <a:off x="762000" y="42016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thala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8DBC0D-6083-0117-814F-D8FAEBED92E2}"/>
              </a:ext>
            </a:extLst>
          </p:cNvPr>
          <p:cNvSpPr/>
          <p:nvPr/>
        </p:nvSpPr>
        <p:spPr>
          <a:xfrm>
            <a:off x="2628900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1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7BBEBB-66E6-BB30-0A9A-63AAB38F03AD}"/>
              </a:ext>
            </a:extLst>
          </p:cNvPr>
          <p:cNvSpPr/>
          <p:nvPr/>
        </p:nvSpPr>
        <p:spPr>
          <a:xfrm>
            <a:off x="6014991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1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3224520-2F93-D69A-5B12-F1B62D089DA0}"/>
              </a:ext>
            </a:extLst>
          </p:cNvPr>
          <p:cNvSpPr/>
          <p:nvPr/>
        </p:nvSpPr>
        <p:spPr>
          <a:xfrm>
            <a:off x="9401082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1933784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BFC6C-CB53-DBDA-43D4-E6FAE4674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1A56A0-3F08-E5AC-019E-0E806F17FB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28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25" imgH="426" progId="TCLayout.ActiveDocument.1">
                  <p:embed/>
                </p:oleObj>
              </mc:Choice>
              <mc:Fallback>
                <p:oleObj name="think-cell Slide" r:id="rId40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1A56A0-3F08-E5AC-019E-0E806F17FB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5428AD-CFAB-2512-4E7C-C57063989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'nin tekstil ihracatında bulunan 2 basamaklı HS kodlarının oranları</a:t>
            </a:r>
          </a:p>
        </p:txBody>
      </p:sp>
      <p:graphicFrame>
        <p:nvGraphicFramePr>
          <p:cNvPr id="373" name="Chart 372">
            <a:extLst>
              <a:ext uri="{FF2B5EF4-FFF2-40B4-BE49-F238E27FC236}">
                <a16:creationId xmlns:a16="http://schemas.microsoft.com/office/drawing/2014/main" id="{41D3450D-6ACB-7580-BFA1-6E0B03CE4CC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616931"/>
              </p:ext>
            </p:extLst>
          </p:nvPr>
        </p:nvGraphicFramePr>
        <p:xfrm>
          <a:off x="2552700" y="1181100"/>
          <a:ext cx="913765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ED5FC44C-AFBB-2C72-219B-75EC710D555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2559050" y="2505075"/>
            <a:ext cx="42863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F88814F5-7D88-480A-A590-A2BCED5974E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2559050" y="2570163"/>
            <a:ext cx="42863" cy="468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ACD1CA66-D716-CEB6-B52D-0C125ABECBB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2559050" y="2705100"/>
            <a:ext cx="42863" cy="536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3FEB9096-8089-2F85-784E-203499630F9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2559050" y="1352550"/>
            <a:ext cx="42863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7D10A39B-9BDE-EA87-C777-C0B9A25BFB9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2559050" y="1655763"/>
            <a:ext cx="42863" cy="16351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BE95381E-C93B-5604-B3AC-2C6F97A1DCD5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559050" y="1771650"/>
            <a:ext cx="42863" cy="2508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A906AC98-4CCC-DA8B-75FE-6661D039080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2559050" y="1984375"/>
            <a:ext cx="42863" cy="2413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B5332CF5-21EF-9BCD-3494-8D0EDCD373A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2559050" y="2309813"/>
            <a:ext cx="42863" cy="3222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2E8DFB91-4F5B-35F8-AD63-D76BDE16791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2559050" y="2117725"/>
            <a:ext cx="42863" cy="311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4A5F7EA-25F3-E927-6BF1-76A2E92503D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1688763" y="1689100"/>
            <a:ext cx="152400" cy="39211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Türkiye'nin tekstil ihracatında bulunan 2 basamaklı HS kodlarının oranları (%)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7642B2C-C71B-397B-E06A-24ED9A863D7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5019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sz="1000" b="1" kern="1200" smtClean="0">
                <a:solidFill>
                  <a:schemeClr val="tx1"/>
                </a:solidFill>
              </a:rPr>
              <a:pPr/>
              <a:t>201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48F3FFA-2D6C-B9ED-C987-4136AB210B7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4607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2B25C97-F702-9C32-4EF6-E90DA81CF60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4196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sz="1000" b="1" kern="1200" smtClean="0">
                <a:solidFill>
                  <a:schemeClr val="tx1"/>
                </a:solidFill>
              </a:rPr>
              <a:pPr/>
              <a:t>201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C45BDF5-24BE-9973-78A0-60EE72B966A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3800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sz="1000" b="1" kern="1200" smtClean="0">
                <a:solidFill>
                  <a:schemeClr val="tx1"/>
                </a:solidFill>
              </a:rPr>
              <a:pPr/>
              <a:t>2015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6D268C6-0767-9ED0-A3EB-42A51A514DE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3388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6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E54B449-55F7-4466-A43D-FD74B2B0792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2977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sz="1000" b="1" kern="1200" smtClean="0">
                <a:solidFill>
                  <a:schemeClr val="tx1"/>
                </a:solidFill>
              </a:rPr>
              <a:pPr/>
              <a:t>2017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330AF7B-FFA4-349C-8782-8C7901D3FA0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2565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sz="1000" b="1" kern="1200" smtClean="0">
                <a:solidFill>
                  <a:schemeClr val="tx1"/>
                </a:solidFill>
              </a:rPr>
              <a:pPr/>
              <a:t>2018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DDE9A8A-9554-FCEA-88D5-4DE0AA16BA7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2170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sz="1000" b="1" kern="1200" smtClean="0">
                <a:solidFill>
                  <a:schemeClr val="tx1"/>
                </a:solidFill>
              </a:rPr>
              <a:pPr/>
              <a:t>201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E16AA4B-F476-AB7B-78EB-F4E3EFD9F8A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17587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sz="1000" b="1" kern="1200" smtClean="0">
                <a:solidFill>
                  <a:schemeClr val="tx1"/>
                </a:solidFill>
              </a:rPr>
              <a:pPr/>
              <a:t>202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9674807-E611-395C-A14F-9C23C1E89B16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11347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sz="1000" b="1" kern="1200" smtClean="0">
                <a:solidFill>
                  <a:schemeClr val="tx1"/>
                </a:solidFill>
              </a:rPr>
              <a:pPr/>
              <a:t>2021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BCD2FD7C-823D-340D-8224-1E3861F7969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344738" y="1336675"/>
            <a:ext cx="1889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C4CE06-13A9-4B7C-8FFC-EF343D08DB11}" type="datetime'''Y''''''''''''''''''''''''''''''''''''ün'''''''''''''''''''">
              <a:rPr lang="tr-TR" altLang="en-US" sz="1000" b="1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Yün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2F3EAD0D-E448-9472-3882-328013F76685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192338" y="1539875"/>
            <a:ext cx="3413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3C72B19-195D-49FB-8A81-2995133718D6}" type="datetime'''''''''''''''''''''''''''''''Pa''''mu''''''''''''''''''k'">
              <a:rPr lang="tr-TR" altLang="en-US" sz="1000" b="1" kern="1200" smtClean="0">
                <a:solidFill>
                  <a:schemeClr val="tx1"/>
                </a:solidFill>
              </a:rPr>
              <a:pPr/>
              <a:t>Pamuk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8F0B02A3-4528-E1DB-1E5A-F480CCF4D74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660525" y="1946275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A53CFBB-4EEF-4BF2-9B9A-40F9950915AC}" type="datetime'Ya''p''a''''y f''''''''''''i''l''''a''''''me''''n''t''le''r'">
              <a:rPr lang="tr-TR" altLang="en-US" sz="1000" b="1" kern="1200" smtClean="0">
                <a:solidFill>
                  <a:schemeClr val="tx1"/>
                </a:solidFill>
              </a:rPr>
              <a:pPr/>
              <a:t>Yapay filament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E2ADD6DF-203C-1FFB-F187-675A2D9042D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655763" y="2149475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9DB166-F5C6-4477-85C3-DE932FD5EA7D}" type="datetime'''''Y''a''p''ay ''kesik''''''''l''''i li''f''''l''e''''r'''">
              <a:rPr lang="tr-TR" altLang="en-US" sz="1000" b="1" kern="1200" smtClean="0">
                <a:solidFill>
                  <a:schemeClr val="tx1"/>
                </a:solidFill>
              </a:rPr>
              <a:pPr/>
              <a:t>Yapay kesikli lif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7567CADD-6CB8-DA86-96E4-49D707736A35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23925" y="2352675"/>
            <a:ext cx="1609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E204FD-F25F-4DA0-9986-C457A844E96D}" type="datetime'Vatk''a'''''''', k''''eçe ve dokus''u''z'''' yüz''ey''''le''r'">
              <a:rPr lang="tr-TR" altLang="en-US" sz="1000" b="1" kern="1200" smtClean="0">
                <a:solidFill>
                  <a:schemeClr val="tx1"/>
                </a:solidFill>
              </a:rPr>
              <a:pPr/>
              <a:t>Vatka, keçe ve dokusuz yüzey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2AF072C0-55B0-28C1-D821-E158D4F19AA0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954213" y="3436938"/>
            <a:ext cx="5794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507D8AB-2B89-491C-A756-0C09444FCF12}" type="datetime'''Ö''''''''rme'''''''''' ''''''''''g''''''''i''yi''m'''''''">
              <a:rPr lang="tr-TR" altLang="en-US" sz="1000" b="1" kern="1200" smtClean="0">
                <a:solidFill>
                  <a:schemeClr val="tx1"/>
                </a:solidFill>
              </a:rPr>
              <a:pPr/>
              <a:t>Örme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5DB4E24F-5008-3051-8520-7925B8D3089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497013" y="4605338"/>
            <a:ext cx="10366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806CBCB-5C81-4D14-8C7E-FFD01AAF234C}" type="datetime'Ö''r''''''me'''' ol''ma''''''y''an ''g''i''''''''''y''''im'''">
              <a:rPr lang="tr-TR" altLang="en-US" sz="1000" b="1" kern="1200" smtClean="0">
                <a:solidFill>
                  <a:schemeClr val="tx1"/>
                </a:solidFill>
              </a:rPr>
              <a:pPr/>
              <a:t>Örme olmayan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5AABEC02-09D3-9EBB-EDFA-449D64C1F545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239838" y="5232400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2E21612-40ED-494E-8F66-5F8AFA192C86}" type="datetime'D''i''ğer haz''''ır tekst''i''''''''l ür''ün''ler''''''''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F3C0E283-2610-AFAD-191B-BDF0E4F8753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958975" y="5435600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A0B348-9E22-4C81-8FCC-0440CAD8B92D}" type="datetime'''''A''''''''''y''a''''''''''''k''k''''''''a''b''ıl''a''r'''''">
              <a:rPr lang="tr-TR" altLang="en-US" sz="1000" b="1" kern="1200" smtClean="0">
                <a:solidFill>
                  <a:schemeClr val="tx1"/>
                </a:solidFill>
              </a:rPr>
              <a:pPr/>
              <a:t>Ayakkab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41BEE121-097C-2A41-BDE1-F60701F348B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130425" y="5681663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1FDC3E0-73E8-4E91-B009-BC95A798E6F5}" type="datetime'''''''''Mo''''''''''''b''''''''''i''''''''''''''l''''ya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771C0672-7D9B-21D1-EBCB-899E1179FBA4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277938" y="1743075"/>
            <a:ext cx="1255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FBFE02E-FCE5-4870-A9A6-B1D863176C72}" type="datetime'Diğer'''' b''''i''''tki''s''''el ''te''kstil ''''lifl''e''ri'">
              <a:rPr lang="tr-TR" altLang="en-US" sz="1000" b="1" kern="1200" smtClean="0">
                <a:solidFill>
                  <a:schemeClr val="tx1"/>
                </a:solidFill>
              </a:rPr>
              <a:pPr/>
              <a:t>Diğer bitkisel tekstil lif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3D47A660-641C-DA16-0D2B-01DB69237685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341313" y="2962275"/>
            <a:ext cx="21923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196899-5BE4-48DF-BE35-C1327B3FB063}" type="datetime'Emdir''ilmiş, ''kapl''anmış'''' veya la''mine kumaş''l''a''r'">
              <a:rPr lang="tr-TR" altLang="en-US" sz="1000" b="1" kern="1200" smtClean="0">
                <a:solidFill>
                  <a:schemeClr val="tx1"/>
                </a:solidFill>
              </a:rPr>
              <a:pPr/>
              <a:t>Emdirilmiş, kaplanmış veya lamine kumaşlar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E581D666-BA27-DEAC-E56F-A67B4FC0534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395413" y="2759075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BDA5F74-1AB2-46B2-913F-EEC80B4572DD}" type="datetime'''''''Öze''''''l ''''dok''um''a ku''m''a''şl''''''''''ar'''">
              <a:rPr lang="tr-TR" altLang="en-US" sz="1000" b="1" kern="1200" smtClean="0">
                <a:solidFill>
                  <a:schemeClr val="tx1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9BFE874F-D290-CA47-9631-634544260562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766888" y="3165475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630AF04-3510-4E3B-864F-881ADF1BF4CF}" type="datetime'''Ö''''''r''''me'''' ''k''u''m''''''aşla''''''''r''''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01C21A6A-F80C-5EE5-2566-DF86CB6B9730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214563" y="2555875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C7DB0CA-22A0-48EB-A76E-32FF244134BA}" type="datetime'''''''''H''''''''''''''''a''''lıla''r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Hal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F743322-797F-06D1-CC4D-992847ABEB04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6896100" y="6259513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</p:spTree>
    <p:extLst>
      <p:ext uri="{BB962C8B-B14F-4D97-AF65-F5344CB8AC3E}">
        <p14:creationId xmlns:p14="http://schemas.microsoft.com/office/powerpoint/2010/main" val="3677495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15406E-2F63-8F1D-FB71-1610E0651C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5BB71F-51B5-A54F-D8C2-699EEE781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000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25" imgH="426" progId="TCLayout.ActiveDocument.1">
                  <p:embed/>
                </p:oleObj>
              </mc:Choice>
              <mc:Fallback>
                <p:oleObj name="think-cell Slide" r:id="rId52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5BB71F-51B5-A54F-D8C2-699EEE781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A1D67E-E2D9-17F3-1BF6-572FA67B5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'nin tekstil ithalatında bulunan 2 basamaklı HS kodlarının oranları</a:t>
            </a:r>
          </a:p>
        </p:txBody>
      </p:sp>
      <p:graphicFrame>
        <p:nvGraphicFramePr>
          <p:cNvPr id="653" name="Chart 652">
            <a:extLst>
              <a:ext uri="{FF2B5EF4-FFF2-40B4-BE49-F238E27FC236}">
                <a16:creationId xmlns:a16="http://schemas.microsoft.com/office/drawing/2014/main" id="{B9E39E6F-C761-CBA1-D220-D99F61C1E50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582734"/>
              </p:ext>
            </p:extLst>
          </p:nvPr>
        </p:nvGraphicFramePr>
        <p:xfrm>
          <a:off x="2552700" y="1181100"/>
          <a:ext cx="913765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9B29244F-D4A3-A622-DD23-2F11D4D5D17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559050" y="3422650"/>
            <a:ext cx="42863" cy="5508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59887BC7-5562-1630-ACA1-116993553AC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2559050" y="3219450"/>
            <a:ext cx="42863" cy="666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D3079DE1-576E-5730-D4A8-C199AE4000B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59050" y="3625850"/>
            <a:ext cx="42863" cy="407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739FD78C-CE2E-3DA5-491B-0F54EA0A200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2559050" y="3829050"/>
            <a:ext cx="42863" cy="295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6" name="Straight Connector 625">
            <a:extLst>
              <a:ext uri="{FF2B5EF4-FFF2-40B4-BE49-F238E27FC236}">
                <a16:creationId xmlns:a16="http://schemas.microsoft.com/office/drawing/2014/main" id="{F8F5E270-DBC2-F4C8-B1B1-E3C34764886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2559050" y="5048250"/>
            <a:ext cx="42863" cy="474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E9DDB92A-BCBA-9984-E587-C521EC0A59A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559050" y="4641850"/>
            <a:ext cx="42863" cy="5207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E7231509-4C2A-00C6-4055-C9DE6EF8228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2559050" y="5251450"/>
            <a:ext cx="42863" cy="285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6" name="Straight Connector 635">
            <a:extLst>
              <a:ext uri="{FF2B5EF4-FFF2-40B4-BE49-F238E27FC236}">
                <a16:creationId xmlns:a16="http://schemas.microsoft.com/office/drawing/2014/main" id="{C5D19ED2-D1E2-BBA8-EF90-E0CBAB3278D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559050" y="4845050"/>
            <a:ext cx="42863" cy="509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7" name="Straight Connector 636">
            <a:extLst>
              <a:ext uri="{FF2B5EF4-FFF2-40B4-BE49-F238E27FC236}">
                <a16:creationId xmlns:a16="http://schemas.microsoft.com/office/drawing/2014/main" id="{E41ED772-4E4B-5191-2324-6F837535B660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2559050" y="5454650"/>
            <a:ext cx="42863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238B5073-8537-2BA2-61B6-7D486A59788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559050" y="3016250"/>
            <a:ext cx="42863" cy="449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2" name="Straight Connector 641">
            <a:extLst>
              <a:ext uri="{FF2B5EF4-FFF2-40B4-BE49-F238E27FC236}">
                <a16:creationId xmlns:a16="http://schemas.microsoft.com/office/drawing/2014/main" id="{F91DC162-D619-E9EE-48D9-1652CEA4493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2559050" y="4032250"/>
            <a:ext cx="42863" cy="209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4" name="Straight Connector 643">
            <a:extLst>
              <a:ext uri="{FF2B5EF4-FFF2-40B4-BE49-F238E27FC236}">
                <a16:creationId xmlns:a16="http://schemas.microsoft.com/office/drawing/2014/main" id="{A5F8959F-F970-A71D-702F-5FBCD14361F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559050" y="4438650"/>
            <a:ext cx="42863" cy="438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DD0E28F5-A210-37A9-7EA6-9FC9547848D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559050" y="5861050"/>
            <a:ext cx="42863" cy="93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5EE129C8-9BDB-D374-AAC5-20F3C795C69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2559050" y="1343025"/>
            <a:ext cx="42863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1F3047AE-249E-2DC1-9825-80D22C9B7F4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2559050" y="1422400"/>
            <a:ext cx="42863" cy="193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3" name="Straight Connector 642">
            <a:extLst>
              <a:ext uri="{FF2B5EF4-FFF2-40B4-BE49-F238E27FC236}">
                <a16:creationId xmlns:a16="http://schemas.microsoft.com/office/drawing/2014/main" id="{58C78DDB-6A19-BC06-FB89-7ACC2335EC2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2559050" y="4235450"/>
            <a:ext cx="42863" cy="228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1" name="Rectangle 620">
            <a:extLst>
              <a:ext uri="{FF2B5EF4-FFF2-40B4-BE49-F238E27FC236}">
                <a16:creationId xmlns:a16="http://schemas.microsoft.com/office/drawing/2014/main" id="{190726FD-F4A3-9448-F7F5-421E687D5AB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277938" y="2222500"/>
            <a:ext cx="1255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61D1D47-B2DE-42CF-B8DB-8D6983CFAA5B}" type="datetime'D''i''ğe''r'' b''itk''is''e''''l ''teksti''l ''lifl''''eri'''">
              <a:rPr lang="tr-TR" altLang="en-US" sz="1000" b="1" kern="1200" smtClean="0">
                <a:solidFill>
                  <a:schemeClr val="tx1"/>
                </a:solidFill>
              </a:rPr>
              <a:pPr/>
              <a:t>Diğer bitkisel tekstil lif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94BC3950-172C-5493-8678-7ABE3B35132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660525" y="2641600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A53CFBB-4EEF-4BF2-9B9A-40F9950915AC}" type="datetime'Ya''p''a''''y f''''''''''''i''l''''a''''''me''''n''t''le''r'">
              <a:rPr lang="tr-TR" altLang="en-US" sz="1000" b="1" kern="1200" smtClean="0">
                <a:solidFill>
                  <a:schemeClr val="tx1"/>
                </a:solidFill>
              </a:rPr>
              <a:pPr/>
              <a:t>Yapay filament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D5A5EA5F-87BC-59D0-BFC7-1C50354F687B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655763" y="2940050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9DB166-F5C6-4477-85C3-DE932FD5EA7D}" type="datetime'''''Y''a''p''ay ''kesik''''''''l''''i li''f''''l''e''''r'''">
              <a:rPr lang="tr-TR" altLang="en-US" sz="1000" b="1" kern="1200" smtClean="0">
                <a:solidFill>
                  <a:schemeClr val="tx1"/>
                </a:solidFill>
              </a:rPr>
              <a:pPr/>
              <a:t>Yapay kesikli lif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CDEB298A-369D-E762-7CDA-621E17EC9F6A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23925" y="3143250"/>
            <a:ext cx="1609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E204FD-F25F-4DA0-9986-C457A844E96D}" type="datetime'Vatk''a'''''''', k''''eçe ve dokus''u''z'''' yüz''ey''''le''r'">
              <a:rPr lang="tr-TR" altLang="en-US" sz="1000" b="1" kern="1200" smtClean="0">
                <a:solidFill>
                  <a:schemeClr val="tx1"/>
                </a:solidFill>
              </a:rPr>
              <a:pPr/>
              <a:t>Vatka, keçe ve dokusuz yüzey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6865F647-9843-449E-3FA5-A9BF4B6DD6E9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214563" y="3346450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C7DB0CA-22A0-48EB-A76E-32FF244134BA}" type="datetime'''''''''H''''''''''''''''a''''lıla''r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Hal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90F28279-94AC-B559-8434-10E9361BB405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395413" y="3549650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BDA5F74-1AB2-46B2-913F-EEC80B4572DD}" type="datetime'''''''Öze''''''l ''''dok''um''a ku''m''a''şl''''''''''ar'''">
              <a:rPr lang="tr-TR" altLang="en-US" sz="1000" b="1" kern="1200" smtClean="0">
                <a:solidFill>
                  <a:schemeClr val="tx1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86724DEB-974E-E9F5-7908-E667C781B50C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41313" y="3752850"/>
            <a:ext cx="21923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196899-5BE4-48DF-BE35-C1327B3FB063}" type="datetime'Emdir''ilmiş, ''kapl''anmış'''' veya la''mine kumaş''l''a''r'">
              <a:rPr lang="tr-TR" altLang="en-US" sz="1000" b="1" kern="1200" smtClean="0">
                <a:solidFill>
                  <a:schemeClr val="tx1"/>
                </a:solidFill>
              </a:rPr>
              <a:pPr/>
              <a:t>Emdirilmiş, kaplanmış veya lamine kumaşlar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3ABBF0D-148C-F3F6-9DBD-BF76C4F76E17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3388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6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7122C031-AF33-ACDA-81BC-E186AD55530A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954213" y="4159250"/>
            <a:ext cx="5794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507D8AB-2B89-491C-A756-0C09444FCF12}" type="datetime'''Ö''''''''rme'''''''''' ''''''''''g''''''''i''yi''m'''''''">
              <a:rPr lang="tr-TR" altLang="en-US" sz="1000" b="1" kern="1200" smtClean="0">
                <a:solidFill>
                  <a:schemeClr val="tx1"/>
                </a:solidFill>
              </a:rPr>
              <a:pPr/>
              <a:t>Örme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07845289-C7DD-7204-24E5-A8D9E471BE30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497013" y="4362450"/>
            <a:ext cx="10366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806CBCB-5C81-4D14-8C7E-FFD01AAF234C}" type="datetime'Ö''r''''''me'''' ol''ma''''''y''an ''g''i''''''''''y''''im'''">
              <a:rPr lang="tr-TR" altLang="en-US" sz="1000" b="1" kern="1200" smtClean="0">
                <a:solidFill>
                  <a:schemeClr val="tx1"/>
                </a:solidFill>
              </a:rPr>
              <a:pPr/>
              <a:t>Örme olmayan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633DCB23-C7C2-F113-FEBE-BE48EAA08355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239838" y="4565650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2E21612-40ED-494E-8F66-5F8AFA192C86}" type="datetime'D''i''ğer haz''''ır tekst''i''''''''l ür''ün''ler''''''''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5E785367-2E39-C4F7-9866-215CAE64AE7B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958975" y="4768850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A0B348-9E22-4C81-8FCC-0440CAD8B92D}" type="datetime'''''A''''''''''y''a''''''''''''k''k''''''''a''b''ıl''a''r'''''">
              <a:rPr lang="tr-TR" altLang="en-US" sz="1000" b="1" kern="1200" smtClean="0">
                <a:solidFill>
                  <a:schemeClr val="tx1"/>
                </a:solidFill>
              </a:rPr>
              <a:pPr/>
              <a:t>Ayakkab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2C4463CD-CE12-6C5C-9C21-2909658BF27C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130425" y="5581650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1FDC3E0-73E8-4E91-B009-BC95A798E6F5}" type="datetime'''''''''Mo''''''''''''b''''''''''i''''''''''''''l''''ya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1005815B-680C-363A-640A-6D16D3701D57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122488" y="4972050"/>
            <a:ext cx="411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08C62C1-D693-4B9E-B9E1-CE19A8A9B600}" type="datetime'''B''''''''''''a''ş''''lı''k''l''''''''''a''''r'''''''''">
              <a:rPr lang="tr-TR" altLang="en-US" sz="1000" b="1" kern="1200" smtClean="0">
                <a:solidFill>
                  <a:schemeClr val="tx1"/>
                </a:solidFill>
              </a:rPr>
              <a:pPr/>
              <a:t>Başlık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D0062E-EA07-CC8F-F3B5-008411C3F6B3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896100" y="6259513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628" name="Rectangle 627">
            <a:extLst>
              <a:ext uri="{FF2B5EF4-FFF2-40B4-BE49-F238E27FC236}">
                <a16:creationId xmlns:a16="http://schemas.microsoft.com/office/drawing/2014/main" id="{842C1910-66D0-82B7-E12E-AC13B167C43D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1346199" y="5175250"/>
            <a:ext cx="118745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7F24B3-7F07-4FEB-A555-3A98B5272CA6}" type="datetime'Şem''''''''''si''''ye''ler'' v''e ''''bast''''on''''''lar'''">
              <a:rPr lang="tr-TR" altLang="en-US" sz="1000" b="1" kern="1200" smtClean="0">
                <a:solidFill>
                  <a:schemeClr val="tx1"/>
                </a:solidFill>
              </a:rPr>
              <a:pPr/>
              <a:t>Şemsiyeler ve baston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88D7217-9BDC-F43F-7FEE-14BB8A5238CA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1688763" y="1703387"/>
            <a:ext cx="152400" cy="3892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Türkiye'nin tekstil ithalatında bulunan 2 basamaklı HS kodlarının oranları (%)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A3A3FDA-0630-05C0-0696-013764A5D2F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25019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sz="1000" b="1" kern="1200" smtClean="0">
                <a:solidFill>
                  <a:schemeClr val="tx1"/>
                </a:solidFill>
              </a:rPr>
              <a:pPr/>
              <a:t>201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33" name="Rectangle 632">
            <a:extLst>
              <a:ext uri="{FF2B5EF4-FFF2-40B4-BE49-F238E27FC236}">
                <a16:creationId xmlns:a16="http://schemas.microsoft.com/office/drawing/2014/main" id="{212B55EE-32FC-201B-217B-A1FD8084D75D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528763" y="5378450"/>
            <a:ext cx="1004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6701FB-0544-4837-941A-C4620D66FD28}" type="datetime'Tü''yle''r ''v''''e'''''''' k''''''''uş ''''t''ü''y''l''er''i'">
              <a:rPr lang="tr-TR" altLang="en-US" sz="1000" b="1" kern="1200" smtClean="0">
                <a:solidFill>
                  <a:schemeClr val="tx1"/>
                </a:solidFill>
              </a:rPr>
              <a:pPr/>
              <a:t>Tüyler ve kuş tüy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E272824-AD00-DD0A-CB14-FE5E0D6708AA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34607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71D93C-134F-7BF0-B986-25D263DC133A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4196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sz="1000" b="1" kern="1200" smtClean="0">
                <a:solidFill>
                  <a:schemeClr val="tx1"/>
                </a:solidFill>
              </a:rPr>
              <a:pPr/>
              <a:t>201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CB47CB6-4B23-6E38-C126-11CF10B942C4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53800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sz="1000" b="1" kern="1200" smtClean="0">
                <a:solidFill>
                  <a:schemeClr val="tx1"/>
                </a:solidFill>
              </a:rPr>
              <a:pPr/>
              <a:t>2015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39" name="Rectangle 638">
            <a:extLst>
              <a:ext uri="{FF2B5EF4-FFF2-40B4-BE49-F238E27FC236}">
                <a16:creationId xmlns:a16="http://schemas.microsoft.com/office/drawing/2014/main" id="{1EB677BD-C2BC-7D8D-8AE3-9C0E3243FCA0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2252663" y="5784850"/>
            <a:ext cx="2809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9EDFD99-91F5-4349-846E-E76DFE6C3522}" type="datetime'''Sa''''''n''''''''''''''''''''''''''''''''''''a''t'''''">
              <a:rPr lang="tr-TR" altLang="en-US" sz="1000" b="1" kern="1200" smtClean="0">
                <a:solidFill>
                  <a:schemeClr val="tx1"/>
                </a:solidFill>
              </a:rPr>
              <a:pPr/>
              <a:t>Sanat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4D5376B-FA1A-990A-B683-937ADA32D787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72977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sz="1000" b="1" kern="1200" smtClean="0">
                <a:solidFill>
                  <a:schemeClr val="tx1"/>
                </a:solidFill>
              </a:rPr>
              <a:pPr/>
              <a:t>2017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1FFBD1D-00E8-7667-EF4F-C62B13556C68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82565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sz="1000" b="1" kern="1200" smtClean="0">
                <a:solidFill>
                  <a:schemeClr val="tx1"/>
                </a:solidFill>
              </a:rPr>
              <a:pPr/>
              <a:t>2018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74AC8180-4EE8-303B-4188-A4D879B3F4F1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766888" y="3956050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630AF04-3510-4E3B-864F-881ADF1BF4CF}" type="datetime'''Ö''''''r''''me'''' ''k''u''m''''''aşla''''''''r''''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95410A0-0679-8CC2-C240-56578201458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92170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sz="1000" b="1" kern="1200" smtClean="0">
                <a:solidFill>
                  <a:schemeClr val="tx1"/>
                </a:solidFill>
              </a:rPr>
              <a:pPr/>
              <a:t>201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B03BEF0-BE14-E16C-5E1D-CCDD0E54C1BB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017587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sz="1000" b="1" kern="1200" smtClean="0">
                <a:solidFill>
                  <a:schemeClr val="tx1"/>
                </a:solidFill>
              </a:rPr>
              <a:pPr/>
              <a:t>202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49" name="Rectangle 648">
            <a:extLst>
              <a:ext uri="{FF2B5EF4-FFF2-40B4-BE49-F238E27FC236}">
                <a16:creationId xmlns:a16="http://schemas.microsoft.com/office/drawing/2014/main" id="{316F97E8-855E-B33D-C833-8F832F2CF3E2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2320925" y="1336675"/>
            <a:ext cx="212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E93A7F-93B9-42EB-8C27-0A6FA3F3A4F7}" type="datetime'''İ''p''e''''''''''''''''k'">
              <a:rPr lang="tr-TR" altLang="en-US" sz="1000" b="1" kern="1200" smtClean="0">
                <a:solidFill>
                  <a:schemeClr val="tx1"/>
                </a:solidFill>
              </a:rPr>
              <a:pPr/>
              <a:t>İpek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921996D2-8418-919D-765E-E01349052E92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11347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sz="1000" b="1" kern="1200" smtClean="0">
                <a:solidFill>
                  <a:schemeClr val="tx1"/>
                </a:solidFill>
              </a:rPr>
              <a:pPr/>
              <a:t>2021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C6C6562E-67B8-F5D9-FAFF-074ED976AD4D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2344738" y="1539875"/>
            <a:ext cx="1889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C4CE06-13A9-4B7C-8FFC-EF343D08DB11}" type="datetime'''Y''''''''''''''''''''''''''''''''''''ün'''''''''''''''''''">
              <a:rPr lang="tr-TR" altLang="en-US" sz="1000" b="1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Yün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F6FDAF56-2EBB-6D48-BB55-190BFA9F3998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2192338" y="1803400"/>
            <a:ext cx="3413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3C72B19-195D-49FB-8A81-2995133718D6}" type="datetime'''''''''''''''''''''''''''''''Pa''''mu''''''''''''''''''k'">
              <a:rPr lang="tr-TR" altLang="en-US" sz="1000" b="1" kern="1200" smtClean="0">
                <a:solidFill>
                  <a:schemeClr val="tx1"/>
                </a:solidFill>
              </a:rPr>
              <a:pPr/>
              <a:t>Pamuk</a:t>
            </a:fld>
            <a:endParaRPr lang="tr-TR" sz="1000" b="1" kern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983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7301DC-2044-E7F3-A9C3-403A1DAE5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BC0D09-B320-5F4E-B7D8-01C4F167D2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4285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6" progId="TCLayout.ActiveDocument.1">
                  <p:embed/>
                </p:oleObj>
              </mc:Choice>
              <mc:Fallback>
                <p:oleObj name="think-cell Slide" r:id="rId2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BC0D09-B320-5F4E-B7D8-01C4F167D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D7E439-08FC-CFF6-A832-9B7B88B92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'nin tekstil ihracatında bulunan başlıca 4 basamaklı HS kodlarının oranları</a:t>
            </a:r>
          </a:p>
        </p:txBody>
      </p:sp>
      <p:graphicFrame>
        <p:nvGraphicFramePr>
          <p:cNvPr id="353" name="Chart 352">
            <a:extLst>
              <a:ext uri="{FF2B5EF4-FFF2-40B4-BE49-F238E27FC236}">
                <a16:creationId xmlns:a16="http://schemas.microsoft.com/office/drawing/2014/main" id="{A5AD3932-F247-98FA-DCB7-5EBEBFDC8B6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656716"/>
              </p:ext>
            </p:extLst>
          </p:nvPr>
        </p:nvGraphicFramePr>
        <p:xfrm>
          <a:off x="920750" y="1181100"/>
          <a:ext cx="1070610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CD9C130B-AF74-B3DD-4EB6-097CD3EE21A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080125" y="6259513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A202433-D376-1EDF-4656-655DDC050BC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1625263" y="1689100"/>
            <a:ext cx="152400" cy="39211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Türkiye'nin tekstil ihracatında bulunan 4 basamaklı HS kodlarının oranları (%)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502F2F-2896-3D69-0890-F3CA28A9AAE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699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sz="1000" b="1" kern="1200" smtClean="0">
                <a:solidFill>
                  <a:schemeClr val="tx1"/>
                </a:solidFill>
              </a:rPr>
              <a:pPr/>
              <a:t>201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79E8A00-35A9-59B4-A6AC-32520572115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00977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5E5D036-631F-70F7-8B38-DE3CD7F5AA3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511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sz="1000" b="1" kern="1200" smtClean="0">
                <a:solidFill>
                  <a:schemeClr val="tx1"/>
                </a:solidFill>
              </a:rPr>
              <a:pPr/>
              <a:t>201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7270AE9-07B0-98DB-9B14-09D1F99EA3A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291013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sz="1000" b="1" kern="1200" smtClean="0">
                <a:solidFill>
                  <a:schemeClr val="tx1"/>
                </a:solidFill>
              </a:rPr>
              <a:pPr/>
              <a:t>2015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96DEEAD-EA3D-38D0-3169-7587D77AC97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4324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6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ABE537D0-CAE6-6B5D-6350-3160B5C9087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5722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sz="1000" b="1" kern="1200" smtClean="0">
                <a:solidFill>
                  <a:schemeClr val="tx1"/>
                </a:solidFill>
              </a:rPr>
              <a:pPr/>
              <a:t>2017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C5E0481-6693-6E68-BF14-82242C94419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713663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sz="1000" b="1" kern="1200" smtClean="0">
                <a:solidFill>
                  <a:schemeClr val="tx1"/>
                </a:solidFill>
              </a:rPr>
              <a:pPr/>
              <a:t>2018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8B17D6C-3752-8590-50CD-AB9B5A43ED5A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8534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sz="1000" b="1" kern="1200" smtClean="0">
                <a:solidFill>
                  <a:schemeClr val="tx1"/>
                </a:solidFill>
              </a:rPr>
              <a:pPr/>
              <a:t>201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D24076D-624A-77E5-88E4-C8C2782B3B8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99949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sz="1000" b="1" kern="1200" smtClean="0">
                <a:solidFill>
                  <a:schemeClr val="tx1"/>
                </a:solidFill>
              </a:rPr>
              <a:pPr/>
              <a:t>202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3E5C4DF-2621-8E30-24E1-B0E705DFA90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11347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sz="1000" b="1" kern="1200" smtClean="0">
                <a:solidFill>
                  <a:schemeClr val="tx1"/>
                </a:solidFill>
              </a:rPr>
              <a:pPr/>
              <a:t>2021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99EE7145-AC1F-E5CA-1FC9-A664197FC275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47700" y="2725738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8978124-7549-4F8C-8D28-B64F0446DC2B}" type="datetime'''''''''''6''''''''''''10''9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610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7D77E17-FAC3-FDB9-8BE0-35C29FD775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47700" y="3763963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44F841A-30F9-4F58-9EB6-C14A36EA6CEE}" type="datetime'''''''''''''''''''6''''1''1''''''''''''''''0'''''''''''">
              <a:rPr lang="tr-TR" altLang="en-US" sz="1000" b="1" kern="1200" smtClean="0">
                <a:solidFill>
                  <a:schemeClr val="tx1"/>
                </a:solidFill>
              </a:rPr>
              <a:pPr/>
              <a:t>611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4492964-7511-7EA4-CE9B-2B74E26294D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47700" y="4484688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34035AD-592A-45FE-8661-B59C545AA43E}" type="datetime'6''2''''''''0''''''3''''''''''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620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A6613E4-6415-4CF6-3F0C-3CF70CFE91D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47700" y="5375275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08CDC42-613C-4C1B-A789-68305057142F}" type="datetime'''''''''''''''''''6''''''''''2''''''04'''''''''''">
              <a:rPr lang="tr-TR" altLang="en-US" sz="1000" b="1" kern="1200" smtClean="0">
                <a:solidFill>
                  <a:schemeClr val="tx1"/>
                </a:solidFill>
              </a:rPr>
              <a:pPr/>
              <a:t>620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BF2BF8BF-574C-0B39-97C5-8F771DC9F34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47700" y="1673225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295A9FA-0772-4B11-93F7-6953304F3E26}" type="datetime'''''''5''''''''''''''7''0''''''''2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570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AE39B1B6-58CB-6A01-EA40-FE0E63B04FEA}"/>
              </a:ext>
            </a:extLst>
          </p:cNvPr>
          <p:cNvSpPr/>
          <p:nvPr/>
        </p:nvSpPr>
        <p:spPr>
          <a:xfrm>
            <a:off x="8592344" y="-70232"/>
            <a:ext cx="3338512" cy="164316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6204: Kadın veya kız çocukları için takım elbise, ceket, etek vb. giysiler. 6203: Erkek veya erkek çocukları için takım elbise, ceket, pantolon vb. giysiler. 6110: Örme kazak, süveter, hırka vb. ürünler. 6109: Tişörtler, atletler ve diğer iç giyim eşyaları. 5702: Halı ve diğer tekstil döşeme ürünleri.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64A10673-0262-A96A-F78D-E1631A344D7F}"/>
              </a:ext>
            </a:extLst>
          </p:cNvPr>
          <p:cNvSpPr/>
          <p:nvPr/>
        </p:nvSpPr>
        <p:spPr>
          <a:xfrm>
            <a:off x="3233738" y="892640"/>
            <a:ext cx="3338512" cy="38711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Kötü oldu diye ihracatı yapmadım</a:t>
            </a:r>
          </a:p>
        </p:txBody>
      </p:sp>
    </p:spTree>
    <p:extLst>
      <p:ext uri="{BB962C8B-B14F-4D97-AF65-F5344CB8AC3E}">
        <p14:creationId xmlns:p14="http://schemas.microsoft.com/office/powerpoint/2010/main" val="22669236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5324DA-DF9E-65F8-79C3-F84B261C8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36BE948-A66A-ED93-4D60-D88E950EEF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014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25" imgH="426" progId="TCLayout.ActiveDocument.1">
                  <p:embed/>
                </p:oleObj>
              </mc:Choice>
              <mc:Fallback>
                <p:oleObj name="think-cell Slide" r:id="rId5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6BE948-A66A-ED93-4D60-D88E950EE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38B73B-AF9E-E2F6-EECB-1478F35CA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Dünyada tekstil ticaretinde bulunan 2 basamaklı HS kodlarının oranları</a:t>
            </a:r>
          </a:p>
        </p:txBody>
      </p:sp>
      <p:graphicFrame>
        <p:nvGraphicFramePr>
          <p:cNvPr id="870" name="Chart 869">
            <a:extLst>
              <a:ext uri="{FF2B5EF4-FFF2-40B4-BE49-F238E27FC236}">
                <a16:creationId xmlns:a16="http://schemas.microsoft.com/office/drawing/2014/main" id="{D34566D0-C366-A2E4-A447-7465D352C8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479009"/>
              </p:ext>
            </p:extLst>
          </p:nvPr>
        </p:nvGraphicFramePr>
        <p:xfrm>
          <a:off x="2552700" y="1181100"/>
          <a:ext cx="913765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9F6D7461-87DE-3419-3FFF-347367A0BCA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2559050" y="2178050"/>
            <a:ext cx="42863" cy="6572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A01829B1-1F68-8CCB-0F79-0291F90D087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2559050" y="1970088"/>
            <a:ext cx="42863" cy="458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9" name="Straight Connector 428">
            <a:extLst>
              <a:ext uri="{FF2B5EF4-FFF2-40B4-BE49-F238E27FC236}">
                <a16:creationId xmlns:a16="http://schemas.microsoft.com/office/drawing/2014/main" id="{4B6420B0-44DE-BCA0-20B9-2F0339F6537E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2559050" y="1377950"/>
            <a:ext cx="42863" cy="238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2" name="Straight Connector 431">
            <a:extLst>
              <a:ext uri="{FF2B5EF4-FFF2-40B4-BE49-F238E27FC236}">
                <a16:creationId xmlns:a16="http://schemas.microsoft.com/office/drawing/2014/main" id="{90CB2F40-3CA1-09D2-C057-E0F6A9468B1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2559050" y="1792288"/>
            <a:ext cx="42863" cy="433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6039E404-7872-8D02-5B85-7D532D961BA0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V="1">
            <a:off x="2559050" y="2100263"/>
            <a:ext cx="42863" cy="531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1" name="Straight Connector 430">
            <a:extLst>
              <a:ext uri="{FF2B5EF4-FFF2-40B4-BE49-F238E27FC236}">
                <a16:creationId xmlns:a16="http://schemas.microsoft.com/office/drawing/2014/main" id="{5C298048-9CD6-DE2E-D7A9-9588E2C7FD3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2559050" y="1689100"/>
            <a:ext cx="42863" cy="333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6F961A8B-3D62-84BA-AD06-E12F3E423955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2559050" y="2233613"/>
            <a:ext cx="42863" cy="8048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43A1778-581D-BFE1-8E0B-F644981D5227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V="1">
            <a:off x="2559050" y="2305050"/>
            <a:ext cx="42863" cy="936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2" name="Straight Connector 641">
            <a:extLst>
              <a:ext uri="{FF2B5EF4-FFF2-40B4-BE49-F238E27FC236}">
                <a16:creationId xmlns:a16="http://schemas.microsoft.com/office/drawing/2014/main" id="{11AE3581-3F1F-DE2A-9DBC-6CC23736A4D2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2559050" y="2409825"/>
            <a:ext cx="42863" cy="1035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3" name="Straight Connector 642">
            <a:extLst>
              <a:ext uri="{FF2B5EF4-FFF2-40B4-BE49-F238E27FC236}">
                <a16:creationId xmlns:a16="http://schemas.microsoft.com/office/drawing/2014/main" id="{BB7A2754-070A-CBC4-8E80-B8E8FD53D486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V="1">
            <a:off x="2559050" y="2895600"/>
            <a:ext cx="42863" cy="7524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6" name="Straight Connector 625">
            <a:extLst>
              <a:ext uri="{FF2B5EF4-FFF2-40B4-BE49-F238E27FC236}">
                <a16:creationId xmlns:a16="http://schemas.microsoft.com/office/drawing/2014/main" id="{3F1FB9F3-9ED4-8665-AB7C-93BDC6407847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2559050" y="4751388"/>
            <a:ext cx="42863" cy="179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7" name="Straight Connector 636">
            <a:extLst>
              <a:ext uri="{FF2B5EF4-FFF2-40B4-BE49-F238E27FC236}">
                <a16:creationId xmlns:a16="http://schemas.microsoft.com/office/drawing/2014/main" id="{BEDDB567-5B2C-983E-3E29-134C1ED9A79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2559050" y="4976814"/>
            <a:ext cx="42863" cy="180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5F4FD408-6BE0-CCA2-7363-F0F48034A16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559050" y="5861051"/>
            <a:ext cx="42863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8" name="Straight Connector 867">
            <a:extLst>
              <a:ext uri="{FF2B5EF4-FFF2-40B4-BE49-F238E27FC236}">
                <a16:creationId xmlns:a16="http://schemas.microsoft.com/office/drawing/2014/main" id="{9C2132EC-287A-8A0F-E781-BC8283DA29A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2559050" y="1341438"/>
            <a:ext cx="42863" cy="714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7C5C5ADE-432A-E99F-5637-7D8300420CD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2559050" y="1544638"/>
            <a:ext cx="42863" cy="2746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67654364-EFDC-AC57-67B9-D0ABC664FB0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1347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sz="1000" b="1" kern="1200" smtClean="0">
                <a:solidFill>
                  <a:schemeClr val="tx1"/>
                </a:solidFill>
              </a:rPr>
              <a:pPr/>
              <a:t>2021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4A1BEFDA-9E57-2A7B-312B-CB3D42729A9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44738" y="1539875"/>
            <a:ext cx="1889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C4CE06-13A9-4B7C-8FFC-EF343D08DB11}" type="datetime'''Y''''''''''''''''''''''''''''''''''''ün'''''''''''''''''''">
              <a:rPr lang="tr-TR" altLang="en-US" sz="1000" b="1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Yün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46005597-FEC1-6D16-D876-83CE542B26CA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192338" y="1743075"/>
            <a:ext cx="3413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3C72B19-195D-49FB-8A81-2995133718D6}" type="datetime'''''''''''''''''''''''''''''''Pa''''mu''''''''''''''''''k'">
              <a:rPr lang="tr-TR" altLang="en-US" sz="1000" b="1" kern="1200" smtClean="0">
                <a:solidFill>
                  <a:schemeClr val="tx1"/>
                </a:solidFill>
              </a:rPr>
              <a:pPr/>
              <a:t>Pamuk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A95FE065-1A51-1B42-2FDB-4C60AC9DA9A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277938" y="1946275"/>
            <a:ext cx="1255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61D1D47-B2DE-42CF-B8DB-8D6983CFAA5B}" type="datetime'D''i''ğe''r'' b''itk''is''e''''l ''teksti''l ''lifl''''eri'''">
              <a:rPr lang="tr-TR" altLang="en-US" sz="1000" b="1" kern="1200" smtClean="0">
                <a:solidFill>
                  <a:schemeClr val="tx1"/>
                </a:solidFill>
              </a:rPr>
              <a:pPr/>
              <a:t>Diğer bitkisel tekstil lif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F9D38CF6-9CAC-6220-179F-4F68B15EA2AD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660525" y="2149475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A53CFBB-4EEF-4BF2-9B9A-40F9950915AC}" type="datetime'Ya''p''a''''y f''''''''''''i''l''''a''''''me''''n''t''le''r'">
              <a:rPr lang="tr-TR" altLang="en-US" sz="1000" b="1" kern="1200" smtClean="0">
                <a:solidFill>
                  <a:schemeClr val="tx1"/>
                </a:solidFill>
              </a:rPr>
              <a:pPr/>
              <a:t>Yapay filament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CFB372BB-D1AE-3EF8-D33E-EB57776F590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655763" y="2352675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9DB166-F5C6-4477-85C3-DE932FD5EA7D}" type="datetime'''''Y''a''p''ay ''kesik''''''''l''''i li''f''''l''e''''r'''">
              <a:rPr lang="tr-TR" altLang="en-US" sz="1000" b="1" kern="1200" smtClean="0">
                <a:solidFill>
                  <a:schemeClr val="tx1"/>
                </a:solidFill>
              </a:rPr>
              <a:pPr/>
              <a:t>Yapay kesikli lif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520A40E7-5BEE-976D-B070-FBF75EE46B7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23925" y="2555875"/>
            <a:ext cx="1609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E204FD-F25F-4DA0-9986-C457A844E96D}" type="datetime'Vatk''a'''''''', k''''eçe ve dokus''u''z'''' yüz''ey''''le''r'">
              <a:rPr lang="tr-TR" altLang="en-US" sz="1000" b="1" kern="1200" smtClean="0">
                <a:solidFill>
                  <a:schemeClr val="tx1"/>
                </a:solidFill>
              </a:rPr>
              <a:pPr/>
              <a:t>Vatka, keçe ve dokusuz yüzey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17B5D9E7-7AF4-AA73-3152-E8E27F15556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2214563" y="2759075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C7DB0CA-22A0-48EB-A76E-32FF244134BA}" type="datetime'''''''''H''''''''''''''''a''''lıla''r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Hal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C338B10-1088-FA45-3FE6-C8609D4699B4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3388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6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AD41E70A-83D1-15B7-B06A-002559E97485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395413" y="2962275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BDA5F74-1AB2-46B2-913F-EEC80B4572DD}" type="datetime'''''''Öze''''''l ''''dok''um''a ku''m''a''şl''''''''''ar'''">
              <a:rPr lang="tr-TR" altLang="en-US" sz="1000" b="1" kern="1200" smtClean="0">
                <a:solidFill>
                  <a:schemeClr val="tx1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64F999-3D05-FE87-6FD5-BE6BCAD565E9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896100" y="6259513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FA6B842B-0A73-3C11-D926-270EC4B38901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41313" y="3165475"/>
            <a:ext cx="21923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196899-5BE4-48DF-BE35-C1327B3FB063}" type="datetime'Emdir''ilmiş, ''kapl''anmış'''' veya la''mine kumaş''l''a''r'">
              <a:rPr lang="tr-TR" altLang="en-US" sz="1000" b="1" kern="1200" smtClean="0">
                <a:solidFill>
                  <a:schemeClr val="tx1"/>
                </a:solidFill>
              </a:rPr>
              <a:pPr/>
              <a:t>Emdirilmiş, kaplanmış veya lamine kumaşlar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97C460C-802D-79A7-9E50-EDB5848A5784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1688763" y="1754187"/>
            <a:ext cx="152400" cy="37909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Dünyada tekstil ticaretinde bulunan 2 basamaklı HS kodlarının oranları (%)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390FA93D-E6D0-3A76-97F0-C97D294F5C92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766888" y="3368675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630AF04-3510-4E3B-864F-881ADF1BF4CF}" type="datetime'''Ö''''''r''''me'''' ''k''u''m''''''aşla''''''''r''''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8224AE6-2787-F845-69F1-61F3CC008D29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5019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sz="1000" b="1" kern="1200" smtClean="0">
                <a:solidFill>
                  <a:schemeClr val="tx1"/>
                </a:solidFill>
              </a:rPr>
              <a:pPr/>
              <a:t>201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CACBCF31-184D-4DBF-DAAA-5DD02A631FD6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954213" y="3571875"/>
            <a:ext cx="5794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507D8AB-2B89-491C-A756-0C09444FCF12}" type="datetime'''Ö''''''''rme'''''''''' ''''''''''g''''''''i''yi''m'''''''">
              <a:rPr lang="tr-TR" altLang="en-US" sz="1000" b="1" kern="1200" smtClean="0">
                <a:solidFill>
                  <a:schemeClr val="tx1"/>
                </a:solidFill>
              </a:rPr>
              <a:pPr/>
              <a:t>Örme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E311F8C-E3A5-3D9E-7E92-FC5227B369D4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34607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A333B803-E0E3-60EE-1475-8B62735C8CD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497013" y="3775075"/>
            <a:ext cx="10366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806CBCB-5C81-4D14-8C7E-FFD01AAF234C}" type="datetime'Ö''r''''''me'''' ol''ma''''''y''an ''g''i''''''''''y''''im'''">
              <a:rPr lang="tr-TR" altLang="en-US" sz="1000" b="1" kern="1200" smtClean="0">
                <a:solidFill>
                  <a:schemeClr val="tx1"/>
                </a:solidFill>
              </a:rPr>
              <a:pPr/>
              <a:t>Örme olmayan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DFF94C92-4B72-BC1A-9C5A-C02472A33964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239838" y="42068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2E21612-40ED-494E-8F66-5F8AFA192C86}" type="datetime'D''i''ğer haz''''ır tekst''i''''''''l ür''ün''ler''''''''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4AFBBEB-2D11-FA4B-AF0D-38B01D71EA3C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44196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sz="1000" b="1" kern="1200" smtClean="0">
                <a:solidFill>
                  <a:schemeClr val="tx1"/>
                </a:solidFill>
              </a:rPr>
              <a:pPr/>
              <a:t>201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285215C4-3589-DCCF-9FE0-EB79E8B52E2D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2122488" y="4675188"/>
            <a:ext cx="411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08C62C1-D693-4B9E-B9E1-CE19A8A9B600}" type="datetime'''B''''''''''''a''ş''''lı''k''l''''''''''a''''r'''''''''">
              <a:rPr lang="tr-TR" altLang="en-US" sz="1000" b="1" kern="1200" smtClean="0">
                <a:solidFill>
                  <a:schemeClr val="tx1"/>
                </a:solidFill>
              </a:rPr>
              <a:pPr/>
              <a:t>Başlık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29AAF07-152F-7677-9DEF-FFE306F5322D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53800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sz="1000" b="1" kern="1200" smtClean="0">
                <a:solidFill>
                  <a:schemeClr val="tx1"/>
                </a:solidFill>
              </a:rPr>
              <a:pPr/>
              <a:t>2015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28" name="Rectangle 627">
            <a:extLst>
              <a:ext uri="{FF2B5EF4-FFF2-40B4-BE49-F238E27FC236}">
                <a16:creationId xmlns:a16="http://schemas.microsoft.com/office/drawing/2014/main" id="{C2BD9A87-115F-55C1-2A98-E8BF870CEE5E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346199" y="4878388"/>
            <a:ext cx="118745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7F24B3-7F07-4FEB-A555-3A98B5272CA6}" type="datetime'Şem''''''''''si''''ye''ler'' v''e ''''bast''''on''''''lar'''">
              <a:rPr lang="tr-TR" altLang="en-US" sz="1000" b="1" kern="1200" smtClean="0">
                <a:solidFill>
                  <a:schemeClr val="tx1"/>
                </a:solidFill>
              </a:rPr>
              <a:pPr/>
              <a:t>Şemsiyeler ve baston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33" name="Rectangle 632">
            <a:extLst>
              <a:ext uri="{FF2B5EF4-FFF2-40B4-BE49-F238E27FC236}">
                <a16:creationId xmlns:a16="http://schemas.microsoft.com/office/drawing/2014/main" id="{773635F3-4154-545A-7879-214A6102A224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528763" y="5081588"/>
            <a:ext cx="1004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6701FB-0544-4837-941A-C4620D66FD28}" type="datetime'Tü''yle''r ''v''''e'''''''' k''''''''uş ''''t''ü''y''l''er''i'">
              <a:rPr lang="tr-TR" altLang="en-US" sz="1000" b="1" kern="1200" smtClean="0">
                <a:solidFill>
                  <a:schemeClr val="tx1"/>
                </a:solidFill>
              </a:rPr>
              <a:pPr/>
              <a:t>Tüyler ve kuş tüy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A2C4B20-8AEE-D890-95DF-E2ECFF238869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72977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sz="1000" b="1" kern="1200" smtClean="0">
                <a:solidFill>
                  <a:schemeClr val="tx1"/>
                </a:solidFill>
              </a:rPr>
              <a:pPr/>
              <a:t>2017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665581F-4383-C3F0-7708-47F9853A78D1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958975" y="4471988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A0B348-9E22-4C81-8FCC-0440CAD8B92D}" type="datetime'''''A''''''''''y''a''''''''''''k''k''''''''a''b''ıl''a''r'''''">
              <a:rPr lang="tr-TR" altLang="en-US" sz="1000" b="1" kern="1200" smtClean="0">
                <a:solidFill>
                  <a:schemeClr val="tx1"/>
                </a:solidFill>
              </a:rPr>
              <a:pPr/>
              <a:t>Ayakkab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39" name="Rectangle 638">
            <a:extLst>
              <a:ext uri="{FF2B5EF4-FFF2-40B4-BE49-F238E27FC236}">
                <a16:creationId xmlns:a16="http://schemas.microsoft.com/office/drawing/2014/main" id="{D998F003-8B31-0522-B868-4C501C7AC787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2252663" y="5784850"/>
            <a:ext cx="2809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9EDFD99-91F5-4349-846E-E76DFE6C3522}" type="datetime'''Sa''''''n''''''''''''''''''''''''''''''''''''a''t'''''">
              <a:rPr lang="tr-TR" altLang="en-US" sz="1000" b="1" kern="1200" smtClean="0">
                <a:solidFill>
                  <a:schemeClr val="tx1"/>
                </a:solidFill>
              </a:rPr>
              <a:pPr/>
              <a:t>Sanat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3A28BCE-8B97-435C-0364-85F392788710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82565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sz="1000" b="1" kern="1200" smtClean="0">
                <a:solidFill>
                  <a:schemeClr val="tx1"/>
                </a:solidFill>
              </a:rPr>
              <a:pPr/>
              <a:t>2018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6" name="Rectangle 865">
            <a:extLst>
              <a:ext uri="{FF2B5EF4-FFF2-40B4-BE49-F238E27FC236}">
                <a16:creationId xmlns:a16="http://schemas.microsoft.com/office/drawing/2014/main" id="{A0B994D9-7A59-9B6E-96F0-FF5853CD7A53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2320925" y="1336675"/>
            <a:ext cx="212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7065F25-4A8C-4496-A4DC-B8ECDC4780C6}" type="datetime'''''İ''''''''p''''''''''''''''''''e''''''''''''k'''''''">
              <a:rPr lang="tr-TR" altLang="en-US" sz="1000" b="1" kern="1200" smtClean="0">
                <a:solidFill>
                  <a:schemeClr val="tx1"/>
                </a:solidFill>
              </a:rPr>
              <a:pPr/>
              <a:t>İpek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6D26A7F-2787-23DB-EC3E-1E0D4FCE0826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2170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sz="1000" b="1" kern="1200" smtClean="0">
                <a:solidFill>
                  <a:schemeClr val="tx1"/>
                </a:solidFill>
              </a:rPr>
              <a:pPr/>
              <a:t>201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DA88F05-1220-203A-A43F-825E263BF049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17587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sz="1000" b="1" kern="1200" smtClean="0">
                <a:solidFill>
                  <a:schemeClr val="tx1"/>
                </a:solidFill>
              </a:rPr>
              <a:pPr/>
              <a:t>202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63F9F556-395C-D157-5669-8F1486B622F0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2130425" y="5353050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1FDC3E0-73E8-4E91-B009-BC95A798E6F5}" type="datetime'''''''''Mo''''''''''''b''''''''''i''''''''''''''l''''ya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1080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E9E735-A4FF-9929-F61C-F45CF66889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553AD8-AA4E-6DB2-2243-C3D536357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57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53AD8-AA4E-6DB2-2243-C3D536357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753F0A-A985-CA66-EF90-BFFB54886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Eklenen yeni ürünlerin (2012’de ve 2017’de) Türkiye’deki ihracatta RCA hesabı</a:t>
            </a: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EFB55B86-550C-BC86-3E3B-BBE7E87D6A6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723895"/>
              </p:ext>
            </p:extLst>
          </p:nvPr>
        </p:nvGraphicFramePr>
        <p:xfrm>
          <a:off x="331788" y="1181100"/>
          <a:ext cx="11388725" cy="515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3" name="Arrow: Right 72">
            <a:extLst>
              <a:ext uri="{FF2B5EF4-FFF2-40B4-BE49-F238E27FC236}">
                <a16:creationId xmlns:a16="http://schemas.microsoft.com/office/drawing/2014/main" id="{7FD9CFA5-CA98-291D-CF0B-93131508C21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39738" y="29686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795D682C-293E-CB18-048A-D9D302DDC66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619125" y="3044825"/>
            <a:ext cx="106489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86B944E8-FC56-59FC-4B5A-F4D2C497013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888038" y="6299200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4F560F5-98D0-2796-CE17-32F9269CCC4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1718925" y="1641475"/>
            <a:ext cx="152400" cy="40163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Eklenen yeni ürünlerin (2012’de ve 2017’de) Türkiye’deki ihracatta RCA hesabı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DA229A7-A920-45EE-157E-FADDE3A0DF9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4776" y="2968625"/>
            <a:ext cx="284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2E130F4-6066-4527-8360-9C4114DB1559}" type="datetime'''0'''''',''''7''''''''''8''9'''''''''''''''">
              <a:rPr lang="tr-TR" altLang="en-US" sz="1000" b="1" kern="1200" smtClean="0">
                <a:solidFill>
                  <a:schemeClr val="tx1"/>
                </a:solidFill>
              </a:rPr>
              <a:pPr/>
              <a:t>0,789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9669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FCE40-7745-2627-1B27-2A0265281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152C22-FAB8-BF64-EC79-37920DE203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16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152C22-FAB8-BF64-EC79-37920DE20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F1D637-2ABB-0040-03DF-4E4182CD9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Eklenen yeni ürünlerin (2012’de ve 2017’de) Türkiye’deki ithalatta RCA hesabı</a:t>
            </a:r>
          </a:p>
        </p:txBody>
      </p:sp>
      <p:graphicFrame>
        <p:nvGraphicFramePr>
          <p:cNvPr id="125" name="Chart 124">
            <a:extLst>
              <a:ext uri="{FF2B5EF4-FFF2-40B4-BE49-F238E27FC236}">
                <a16:creationId xmlns:a16="http://schemas.microsoft.com/office/drawing/2014/main" id="{8C66D6D9-5143-2E7F-FBFA-EB559DD4E6C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86831"/>
              </p:ext>
            </p:extLst>
          </p:nvPr>
        </p:nvGraphicFramePr>
        <p:xfrm>
          <a:off x="331788" y="1181100"/>
          <a:ext cx="11388725" cy="515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85" name="Arrow: Right 84">
            <a:extLst>
              <a:ext uri="{FF2B5EF4-FFF2-40B4-BE49-F238E27FC236}">
                <a16:creationId xmlns:a16="http://schemas.microsoft.com/office/drawing/2014/main" id="{901F747F-15ED-DC45-6D3E-CFAE97CF05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39738" y="272256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5BC2F51-5254-7BFC-1B28-55A208463C7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619125" y="2798763"/>
            <a:ext cx="106489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79B77DBC-9674-3DAA-50D6-276332B2DF3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888038" y="6299200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CB2AE1D-8B61-CF8F-A42E-E55025CAB5E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1718925" y="1655763"/>
            <a:ext cx="152400" cy="39878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Eklenen yeni ürünlerin (2012’de ve 2017’de) Türkiye’deki ithalatta RCA hesabı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5806A5C-F324-1FD1-1938-FD3A11B02E2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4775" y="2722563"/>
            <a:ext cx="284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517AD17-88E4-4D70-9D07-66D7BD1966D8}" type="datetime'''0'''''''''''''''''''''''''''',''''8''''55'''">
              <a:rPr lang="tr-TR" altLang="en-US" sz="1000" b="1" kern="1200" smtClean="0">
                <a:solidFill>
                  <a:schemeClr val="tx1"/>
                </a:solidFill>
              </a:rPr>
              <a:pPr/>
              <a:t>0,855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6031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0E6979-098B-A7F3-F577-120D7A487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30A948-A7C3-789C-8905-7D039E9F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25" imgH="426" progId="TCLayout.ActiveDocument.1">
                  <p:embed/>
                </p:oleObj>
              </mc:Choice>
              <mc:Fallback>
                <p:oleObj name="think-cell Slide" r:id="rId27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0A948-A7C3-789C-8905-7D039E9F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EA1EF1-0EB0-6707-310F-BB9E06DD3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Eklenen yeni ürünlerin (2012’de ve 2017’de) Türkiye'nin tekstil ihracatındaki 2 basamaklı HS kodlarının RCA hesabı</a:t>
            </a:r>
          </a:p>
        </p:txBody>
      </p:sp>
      <p:graphicFrame>
        <p:nvGraphicFramePr>
          <p:cNvPr id="383" name="Chart 382">
            <a:extLst>
              <a:ext uri="{FF2B5EF4-FFF2-40B4-BE49-F238E27FC236}">
                <a16:creationId xmlns:a16="http://schemas.microsoft.com/office/drawing/2014/main" id="{D0C339E8-440F-4BD3-B3F4-14307B5CA6A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223982"/>
              </p:ext>
            </p:extLst>
          </p:nvPr>
        </p:nvGraphicFramePr>
        <p:xfrm>
          <a:off x="1573213" y="1203325"/>
          <a:ext cx="10053637" cy="515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A83C40B-E057-6F70-EDAF-1AEDCE2F1A06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784350" y="4257675"/>
            <a:ext cx="42863" cy="420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9CAE1CFA-9C1D-4C41-4D0B-CB74A1CFABF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784350" y="5680075"/>
            <a:ext cx="42863" cy="173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DE50FF29-D2FA-13DF-FDA3-50613F417B7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784350" y="54768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69C3CA3E-A278-4851-69C2-474CF7B2C2E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010400" y="5476875"/>
            <a:ext cx="42863" cy="200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71FC12C8-876A-6004-7DF1-BF29703FA58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784350" y="52736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17F0DA1F-C41C-C00B-AB85-006C7015A66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7010400" y="5116513"/>
            <a:ext cx="42863" cy="1571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ED168E8C-EDF2-A441-B244-8D717612906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784350" y="44608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CFE5E9D5-7E7A-9AEC-6B9E-88228537449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010400" y="4460875"/>
            <a:ext cx="42863" cy="365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AF937503-5811-0E5A-8149-E248E87D2CB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784350" y="4664075"/>
            <a:ext cx="42863" cy="255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A95EA05B-CAD0-F329-36AB-3706958A401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784350" y="48672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069344CA-BDAC-F6FF-9850-7F53095FA1D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010400" y="4867275"/>
            <a:ext cx="42863" cy="195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BC2AD9C-54A5-24E3-468C-65081EB56E1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508750" y="6321425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91BF75-94F7-DBA9-0483-F51A750212D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625263" y="1316038"/>
            <a:ext cx="152400" cy="47132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Eklenen yeni ürünlerin Türkiye'nin tekstil ihracatındaki 2 basamaklı HS kodlarının RCA hesabı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A0F4E7A1-275A-9C18-6ECB-1B3FD952B78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439863" y="2254250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FEF246-68F7-42DE-9D1D-B006446BDB7C}" type="datetime'''''Ha''l''''''''''''''ıl''''''''a''''''''''r'''">
              <a:rPr lang="tr-TR" altLang="en-US" sz="1000" b="1" kern="1200" smtClean="0">
                <a:solidFill>
                  <a:schemeClr val="bg2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alı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52E4FCC2-CCC8-F1A5-575A-D2942D415FA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92188" y="4384675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61B660C-309A-4A43-B72A-56E6FA3F76DD}" type="datetime'''''Örm''''''e'''' ''''''''''''''''''''kum''''''a''''''ş''lar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DDC5BDE-4F49-D3CD-8574-657012A0C2C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20713" y="4181475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2B23E9C-720C-431E-8320-FEBFE0284F91}" type="datetime'''Öz''''''''el d''''''o''''ku''''''''''ma kuma''ş''l''''ar'">
              <a:rPr lang="tr-TR" altLang="en-US" sz="1000" b="1" kern="1200" smtClean="0">
                <a:solidFill>
                  <a:schemeClr val="bg2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A326A63-44FA-07F6-0D0E-889B68FC46E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65138" y="45878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DEE2F4-0F2D-4C44-89A8-9FBFDD6B9B73}" type="datetime'Diğer'''' ''ha''''z''ır t''ek''''stil ü''rünle''r''''''''i'">
              <a:rPr lang="tr-TR" altLang="en-US" sz="1000" b="1" kern="1200" smtClean="0">
                <a:solidFill>
                  <a:schemeClr val="bg2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5247868-33D3-5015-7559-51269CD2E3B4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84275" y="5603875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150BDE3-95EC-47AF-BF6E-92AD5F1DBBE4}" type="datetime'''''''''''Ay''''a''''''kk''a''''''''b''''''ıl''''a''''r'''''''">
              <a:rPr lang="tr-TR" altLang="en-US" sz="1000" b="1" kern="1200" smtClean="0">
                <a:solidFill>
                  <a:schemeClr val="bg2"/>
                </a:solidFill>
              </a:rPr>
              <a:pPr/>
              <a:t>Ayakkabı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8FFCEC06-A613-5BF7-535A-5CDCAE829711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347788" y="5807075"/>
            <a:ext cx="411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76C181E-F2F6-4C55-9DC8-829317FA615A}" type="datetime'''B''''''''''aşl''''''ık''''''''la''''''''''''r'">
              <a:rPr lang="tr-TR" altLang="en-US" sz="1000" b="1" kern="1200" smtClean="0">
                <a:solidFill>
                  <a:schemeClr val="bg2"/>
                </a:solidFill>
              </a:rPr>
              <a:pPr/>
              <a:t>Başlık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CF6BF351-FED1-84DC-F3AE-B8C40A8DEEC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355725" y="5400675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04A3F06-890C-49A0-BDD1-CF13B8D8B81D}" type="datetime'M''''''''''''''''o''bi''''''''''''''''''''''''l''''ya''''''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BC608E50-B421-FBB4-4A21-5FF76B9BFE8D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85825" y="5197475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5E9773C-66AD-49E9-A73F-52D714080462}" type="datetime'''Y''a''''''p''''a''y'''''' f''i''la''men''''''''''tl''e''r'''">
              <a:rPr lang="tr-TR" altLang="en-US" sz="1000" b="1" kern="1200" smtClean="0">
                <a:solidFill>
                  <a:schemeClr val="bg2"/>
                </a:solidFill>
              </a:rPr>
              <a:pPr/>
              <a:t>Yapay filamentle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7CB78E65-5007-DCCC-F450-0DEAA55AD8AB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81063" y="4994275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E950ED0-3BCC-4EBA-BEDF-658229AEB1C2}" type="datetime'''''''''Y''''apay'''' kesi''k''li'' ''li''f''''''''''''le''r'">
              <a:rPr lang="tr-TR" altLang="en-US" sz="1000" b="1" kern="1200" smtClean="0">
                <a:solidFill>
                  <a:schemeClr val="bg2"/>
                </a:solidFill>
              </a:rPr>
              <a:pPr/>
              <a:t>Yapay kesikli lifle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0330D388-6261-D326-B358-C503691122AC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65138" y="47910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95CC60-F0EC-4CE4-B712-61C1140B542F}" type="datetime'D''''i''''ğ''e''r ''haz''ır te''kst''il ''''ürü''nl''e''''r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0518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3EA00-AC58-D252-82F6-C229B67C38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3BC140-418F-7DA9-8923-A9EACFF27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98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25" imgH="426" progId="TCLayout.ActiveDocument.1">
                  <p:embed/>
                </p:oleObj>
              </mc:Choice>
              <mc:Fallback>
                <p:oleObj name="think-cell Slide" r:id="rId27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3BC140-418F-7DA9-8923-A9EACFF27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99E8DA-E5D4-E13F-BE12-797E60032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Eklenen yeni ürünlerin (2012’de ve 2017’de) Türkiye'nin tekstil ithalatındaki 2 basamaklı HS kodlarının RCA hesabı</a:t>
            </a:r>
          </a:p>
        </p:txBody>
      </p:sp>
      <p:graphicFrame>
        <p:nvGraphicFramePr>
          <p:cNvPr id="379" name="Chart 378">
            <a:extLst>
              <a:ext uri="{FF2B5EF4-FFF2-40B4-BE49-F238E27FC236}">
                <a16:creationId xmlns:a16="http://schemas.microsoft.com/office/drawing/2014/main" id="{64037AF6-7640-3F96-8840-815F4DC315D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195014"/>
              </p:ext>
            </p:extLst>
          </p:nvPr>
        </p:nvGraphicFramePr>
        <p:xfrm>
          <a:off x="1573213" y="1203325"/>
          <a:ext cx="10083800" cy="515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A41B462-B6AF-441E-A1BD-470C2078748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784350" y="4460875"/>
            <a:ext cx="42863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2950C6C0-4874-D073-512C-52C9E82A0E1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784350" y="4867275"/>
            <a:ext cx="42863" cy="4365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45CC32AF-90D8-3E0E-1975-E45F5E6E006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784350" y="46640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6D7AA887-2B3E-2C3E-AB97-B0680FAC935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010400" y="4664075"/>
            <a:ext cx="42863" cy="225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D93B24BA-F73D-F784-A859-7EAA53D1BA1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784350" y="52736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21C74A54-445B-E16D-369C-2DCF62A3573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010400" y="5273675"/>
            <a:ext cx="42863" cy="361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4F9C7B68-80B7-14C7-D994-8C826C38E36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784350" y="58832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E53A29B7-C09B-C9AD-7ADB-B18912065E7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V="1">
            <a:off x="7010400" y="5675314"/>
            <a:ext cx="42863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F62235D-221B-304F-83E6-CCD5BBF980D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784350" y="5070475"/>
            <a:ext cx="42863" cy="333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2634B4A1-2170-6656-D5DC-AC94542D29C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784350" y="54768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37B1824-93F0-BE4D-6731-9FC8BB4E013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010400" y="5476875"/>
            <a:ext cx="42863" cy="187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3831796C-F29D-C93F-4713-A6BCFED0159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508750" y="6321425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9C73E21-1F2B-8C1B-D7FD-491492DEDB4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655425" y="1330326"/>
            <a:ext cx="152400" cy="468471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Eklenen yeni ürünlerin Türkiye'nin tekstil ithalatındaki 2 basamaklı HS kodlarının RCA hesabı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383AB04-8375-0A61-3514-DF2FB7D5651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20713" y="4384675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2B23E9C-720C-431E-8320-FEBFE0284F91}" type="datetime'''Öz''''''''el d''''''o''''ku''''''''''ma kuma''ş''l''''ar'">
              <a:rPr lang="tr-TR" altLang="en-US" sz="1000" b="1" kern="1200" smtClean="0">
                <a:solidFill>
                  <a:schemeClr val="bg2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99E3417-22CE-870C-1E90-AC2073DDB71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65138" y="56038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DEE2F4-0F2D-4C44-89A8-9FBFDD6B9B73}" type="datetime'Diğer'''' ''ha''''z''ır t''ek''''stil ü''rünle''r''''''''i'">
              <a:rPr lang="tr-TR" altLang="en-US" sz="1000" b="1" kern="1200" smtClean="0">
                <a:solidFill>
                  <a:schemeClr val="bg2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47DE091-59DD-1E3C-811F-121AA8FC39C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84275" y="4791075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150BDE3-95EC-47AF-BF6E-92AD5F1DBBE4}" type="datetime'''''''''''Ay''''a''''''kk''a''''''''b''''''ıl''''a''''r'''''''">
              <a:rPr lang="tr-TR" altLang="en-US" sz="1000" b="1" kern="1200" smtClean="0">
                <a:solidFill>
                  <a:schemeClr val="bg2"/>
                </a:solidFill>
              </a:rPr>
              <a:pPr/>
              <a:t>Ayakkabı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81B4DB8-2FAF-096C-4C36-8B4B406EDD40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347788" y="4994275"/>
            <a:ext cx="411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76C181E-F2F6-4C55-9DC8-829317FA615A}" type="datetime'''B''''''''''aşl''''''ık''''''''la''''''''''''r'">
              <a:rPr lang="tr-TR" altLang="en-US" sz="1000" b="1" kern="1200" smtClean="0">
                <a:solidFill>
                  <a:schemeClr val="bg2"/>
                </a:solidFill>
              </a:rPr>
              <a:pPr/>
              <a:t>Başlık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01355D3A-9AA0-EBF2-41DC-08A4AEC38B7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85825" y="2282825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5E9773C-66AD-49E9-A73F-52D714080462}" type="datetime'''Y''a''''''p''''a''y'''''' f''i''la''men''''''''''tl''e''r'''">
              <a:rPr lang="tr-TR" altLang="en-US" sz="1000" b="1" kern="1200" smtClean="0">
                <a:solidFill>
                  <a:schemeClr val="bg2"/>
                </a:solidFill>
              </a:rPr>
              <a:pPr/>
              <a:t>Yapay filamentle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1E2B8D68-7382-54AE-FEF8-DA7C9A17099F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81063" y="1776413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E950ED0-3BCC-4EBA-BEDF-658229AEB1C2}" type="datetime'''''''''Y''''apay'''' kesi''k''li'' ''li''f''''''''''''le''r'">
              <a:rPr lang="tr-TR" altLang="en-US" sz="1000" b="1" kern="1200" smtClean="0">
                <a:solidFill>
                  <a:schemeClr val="bg2"/>
                </a:solidFill>
              </a:rPr>
              <a:pPr/>
              <a:t>Yapay kesikli lifle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0508C052-9EF3-6C10-B279-EA3B71DCA3C4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439863" y="5400675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FEF246-68F7-42DE-9D1D-B006446BDB7C}" type="datetime'''''Ha''l''''''''''''''ıl''''''''a''''''''''r'''">
              <a:rPr lang="tr-TR" altLang="en-US" sz="1000" b="1" kern="1200" smtClean="0">
                <a:solidFill>
                  <a:schemeClr val="bg2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alı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8CBEE2D6-F893-AD8E-C9C0-81A2D608872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92188" y="4587875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61B660C-309A-4A43-B72A-56E6FA3F76DD}" type="datetime'''''Örm''''''e'''' ''''''''''''''''''''kum''''''a''''''ş''lar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68CD74DE-474E-4FFD-4407-42BDD065BF69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65138" y="51974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95CC60-F0EC-4CE4-B712-61C1140B542F}" type="datetime'D''''i''''ğ''e''r ''haz''ır te''kst''il ''''ürü''nl''e''''r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943A7D25-F562-0AE4-C91F-FAC26498A83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355725" y="5807075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04A3F06-890C-49A0-BDD1-CF13B8D8B81D}" type="datetime'M''''''''''''''''o''bi''''''''''''''''''''''''l''''ya''''''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219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3108728-1560-9617-D5FC-BB9B5959D56E}"/>
              </a:ext>
            </a:extLst>
          </p:cNvPr>
          <p:cNvGrpSpPr/>
          <p:nvPr/>
        </p:nvGrpSpPr>
        <p:grpSpPr>
          <a:xfrm>
            <a:off x="685800" y="1527308"/>
            <a:ext cx="3516630" cy="385618"/>
            <a:chOff x="685800" y="1527308"/>
            <a:chExt cx="3516630" cy="385618"/>
          </a:xfrm>
        </p:grpSpPr>
        <p:sp>
          <p:nvSpPr>
            <p:cNvPr id="44" name="Google Shape;44;p2"/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79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tr-TR" sz="1400">
                  <a:solidFill>
                    <a:srgbClr val="132052"/>
                  </a:solidFill>
                  <a:latin typeface="+mj-lt"/>
                  <a:ea typeface="Arial"/>
                  <a:cs typeface="Arial"/>
                  <a:sym typeface="Arial"/>
                </a:rPr>
                <a:t>Yönetici özeti</a:t>
              </a:r>
              <a:endParaRPr sz="1400">
                <a:solidFill>
                  <a:srgbClr val="132052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5" name="Google Shape;45;p2"/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52" name="Google Shape;52;p2"/>
          <p:cNvSpPr/>
          <p:nvPr/>
        </p:nvSpPr>
        <p:spPr>
          <a:xfrm>
            <a:off x="4436135" y="0"/>
            <a:ext cx="8575452" cy="6858000"/>
          </a:xfrm>
          <a:custGeom>
            <a:avLst/>
            <a:gdLst/>
            <a:ahLst/>
            <a:cxnLst/>
            <a:rect l="l" t="t" r="r" b="b"/>
            <a:pathLst>
              <a:path w="12863178" h="11049171" extrusionOk="0">
                <a:moveTo>
                  <a:pt x="0" y="0"/>
                </a:moveTo>
                <a:lnTo>
                  <a:pt x="12863178" y="0"/>
                </a:lnTo>
                <a:lnTo>
                  <a:pt x="12863178" y="11049171"/>
                </a:lnTo>
                <a:lnTo>
                  <a:pt x="0" y="11049171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34985" r="-18055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E1F285-0F1E-AD2A-69B0-6397C3F91873}"/>
              </a:ext>
            </a:extLst>
          </p:cNvPr>
          <p:cNvGrpSpPr/>
          <p:nvPr/>
        </p:nvGrpSpPr>
        <p:grpSpPr>
          <a:xfrm>
            <a:off x="685800" y="2278145"/>
            <a:ext cx="3516630" cy="385618"/>
            <a:chOff x="685800" y="1527308"/>
            <a:chExt cx="3516630" cy="385618"/>
          </a:xfrm>
        </p:grpSpPr>
        <p:sp>
          <p:nvSpPr>
            <p:cNvPr id="4" name="Google Shape;44;p2">
              <a:extLst>
                <a:ext uri="{FF2B5EF4-FFF2-40B4-BE49-F238E27FC236}">
                  <a16:creationId xmlns:a16="http://schemas.microsoft.com/office/drawing/2014/main" id="{32E6913F-B29A-099E-A738-7ED96DCE72A9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Global ve yerel pazaryeri sektörü</a:t>
              </a:r>
              <a:endParaRPr lang="tr-TR"/>
            </a:p>
          </p:txBody>
        </p:sp>
        <p:cxnSp>
          <p:nvCxnSpPr>
            <p:cNvPr id="5" name="Google Shape;45;p2">
              <a:extLst>
                <a:ext uri="{FF2B5EF4-FFF2-40B4-BE49-F238E27FC236}">
                  <a16:creationId xmlns:a16="http://schemas.microsoft.com/office/drawing/2014/main" id="{8A1E259C-97B0-A76C-48F2-A9BB56D64BEC}"/>
                </a:ext>
              </a:extLst>
            </p:cNvPr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02C7B03-4FAF-1E16-0CA3-25F0785C3FC8}"/>
              </a:ext>
            </a:extLst>
          </p:cNvPr>
          <p:cNvGrpSpPr/>
          <p:nvPr/>
        </p:nvGrpSpPr>
        <p:grpSpPr>
          <a:xfrm>
            <a:off x="685800" y="3028982"/>
            <a:ext cx="3516630" cy="385618"/>
            <a:chOff x="685800" y="1527308"/>
            <a:chExt cx="3516630" cy="385618"/>
          </a:xfrm>
        </p:grpSpPr>
        <p:sp>
          <p:nvSpPr>
            <p:cNvPr id="7" name="Google Shape;44;p2">
              <a:extLst>
                <a:ext uri="{FF2B5EF4-FFF2-40B4-BE49-F238E27FC236}">
                  <a16:creationId xmlns:a16="http://schemas.microsoft.com/office/drawing/2014/main" id="{896D15E7-BB90-4A37-3DF5-B74860808388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Kullanıcı içgörüleri ve trendler</a:t>
              </a:r>
              <a:endParaRPr lang="tr-TR"/>
            </a:p>
          </p:txBody>
        </p:sp>
        <p:cxnSp>
          <p:nvCxnSpPr>
            <p:cNvPr id="8" name="Google Shape;45;p2">
              <a:extLst>
                <a:ext uri="{FF2B5EF4-FFF2-40B4-BE49-F238E27FC236}">
                  <a16:creationId xmlns:a16="http://schemas.microsoft.com/office/drawing/2014/main" id="{7F9399E4-A257-3D77-F235-4E5681D1B42B}"/>
                </a:ext>
              </a:extLst>
            </p:cNvPr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8E72CAF-7ACF-B8A3-E95B-09033262E177}"/>
              </a:ext>
            </a:extLst>
          </p:cNvPr>
          <p:cNvGrpSpPr/>
          <p:nvPr/>
        </p:nvGrpSpPr>
        <p:grpSpPr>
          <a:xfrm>
            <a:off x="685800" y="3661066"/>
            <a:ext cx="3516630" cy="771237"/>
            <a:chOff x="685800" y="1527308"/>
            <a:chExt cx="3516630" cy="771237"/>
          </a:xfrm>
        </p:grpSpPr>
        <p:sp>
          <p:nvSpPr>
            <p:cNvPr id="10" name="Google Shape;44;p2">
              <a:extLst>
                <a:ext uri="{FF2B5EF4-FFF2-40B4-BE49-F238E27FC236}">
                  <a16:creationId xmlns:a16="http://schemas.microsoft.com/office/drawing/2014/main" id="{2D3A8575-5F7F-F089-2FC2-9114FEA0A98B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7712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İş vakası yaklaşımı (Bütçe ve finansal analiz, opsiyonlar)</a:t>
              </a:r>
              <a:endParaRPr lang="tr-TR"/>
            </a:p>
          </p:txBody>
        </p:sp>
        <p:cxnSp>
          <p:nvCxnSpPr>
            <p:cNvPr id="11" name="Google Shape;45;p2">
              <a:extLst>
                <a:ext uri="{FF2B5EF4-FFF2-40B4-BE49-F238E27FC236}">
                  <a16:creationId xmlns:a16="http://schemas.microsoft.com/office/drawing/2014/main" id="{3001EE8E-F5BE-231D-6EA6-DB7BBDB86855}"/>
                </a:ext>
              </a:extLst>
            </p:cNvPr>
            <p:cNvCxnSpPr/>
            <p:nvPr/>
          </p:nvCxnSpPr>
          <p:spPr>
            <a:xfrm>
              <a:off x="685800" y="2247719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" name="Group 8">
            <a:extLst>
              <a:ext uri="{FF2B5EF4-FFF2-40B4-BE49-F238E27FC236}">
                <a16:creationId xmlns:a16="http://schemas.microsoft.com/office/drawing/2014/main" id="{6976BC80-68D3-633D-41E2-04C7BC09A752}"/>
              </a:ext>
            </a:extLst>
          </p:cNvPr>
          <p:cNvGrpSpPr/>
          <p:nvPr/>
        </p:nvGrpSpPr>
        <p:grpSpPr>
          <a:xfrm>
            <a:off x="685800" y="4630884"/>
            <a:ext cx="3516630" cy="385618"/>
            <a:chOff x="685800" y="1527308"/>
            <a:chExt cx="3516630" cy="385618"/>
          </a:xfrm>
        </p:grpSpPr>
        <p:sp>
          <p:nvSpPr>
            <p:cNvPr id="13" name="Google Shape;44;p2">
              <a:extLst>
                <a:ext uri="{FF2B5EF4-FFF2-40B4-BE49-F238E27FC236}">
                  <a16:creationId xmlns:a16="http://schemas.microsoft.com/office/drawing/2014/main" id="{993E1443-C725-EB95-2DC0-BCE39F75E2CC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Yol haritası</a:t>
              </a:r>
              <a:endParaRPr lang="tr-TR"/>
            </a:p>
          </p:txBody>
        </p:sp>
        <p:cxnSp>
          <p:nvCxnSpPr>
            <p:cNvPr id="14" name="Google Shape;45;p2">
              <a:extLst>
                <a:ext uri="{FF2B5EF4-FFF2-40B4-BE49-F238E27FC236}">
                  <a16:creationId xmlns:a16="http://schemas.microsoft.com/office/drawing/2014/main" id="{07E268E6-6494-F45A-1D6D-A571D74A286C}"/>
                </a:ext>
              </a:extLst>
            </p:cNvPr>
            <p:cNvCxnSpPr>
              <a:cxnSpLocks/>
            </p:cNvCxnSpPr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0DB87A-DC40-BB42-B075-F11E84FBE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38CC1-E1D1-62CE-877F-307394CD38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7959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38CC1-E1D1-62CE-877F-307394CD38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8B13FE-57F4-207D-18DE-E2C711AE4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ekstilde 2012’de ve 2017’de yeni eklenen 2 basamaklı HS Kodları</a:t>
            </a:r>
          </a:p>
        </p:txBody>
      </p:sp>
      <p:graphicFrame>
        <p:nvGraphicFramePr>
          <p:cNvPr id="441" name="Table 440">
            <a:extLst>
              <a:ext uri="{FF2B5EF4-FFF2-40B4-BE49-F238E27FC236}">
                <a16:creationId xmlns:a16="http://schemas.microsoft.com/office/drawing/2014/main" id="{5C2307C4-1DF8-221F-231B-6C67A102E8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4981497"/>
              </p:ext>
            </p:extLst>
          </p:nvPr>
        </p:nvGraphicFramePr>
        <p:xfrm>
          <a:off x="355601" y="1146870"/>
          <a:ext cx="11318782" cy="4937248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510488">
                  <a:extLst>
                    <a:ext uri="{9D8B030D-6E8A-4147-A177-3AD203B41FA5}">
                      <a16:colId xmlns:a16="http://schemas.microsoft.com/office/drawing/2014/main" val="1440743560"/>
                    </a:ext>
                  </a:extLst>
                </a:gridCol>
                <a:gridCol w="1262594">
                  <a:extLst>
                    <a:ext uri="{9D8B030D-6E8A-4147-A177-3AD203B41FA5}">
                      <a16:colId xmlns:a16="http://schemas.microsoft.com/office/drawing/2014/main" val="333220715"/>
                    </a:ext>
                  </a:extLst>
                </a:gridCol>
                <a:gridCol w="5186517">
                  <a:extLst>
                    <a:ext uri="{9D8B030D-6E8A-4147-A177-3AD203B41FA5}">
                      <a16:colId xmlns:a16="http://schemas.microsoft.com/office/drawing/2014/main" val="1986646768"/>
                    </a:ext>
                  </a:extLst>
                </a:gridCol>
                <a:gridCol w="1100380">
                  <a:extLst>
                    <a:ext uri="{9D8B030D-6E8A-4147-A177-3AD203B41FA5}">
                      <a16:colId xmlns:a16="http://schemas.microsoft.com/office/drawing/2014/main" val="2555423305"/>
                    </a:ext>
                  </a:extLst>
                </a:gridCol>
                <a:gridCol w="1565328">
                  <a:extLst>
                    <a:ext uri="{9D8B030D-6E8A-4147-A177-3AD203B41FA5}">
                      <a16:colId xmlns:a16="http://schemas.microsoft.com/office/drawing/2014/main" val="443882730"/>
                    </a:ext>
                  </a:extLst>
                </a:gridCol>
                <a:gridCol w="790414">
                  <a:extLst>
                    <a:ext uri="{9D8B030D-6E8A-4147-A177-3AD203B41FA5}">
                      <a16:colId xmlns:a16="http://schemas.microsoft.com/office/drawing/2014/main" val="2335603299"/>
                    </a:ext>
                  </a:extLst>
                </a:gridCol>
                <a:gridCol w="903061">
                  <a:extLst>
                    <a:ext uri="{9D8B030D-6E8A-4147-A177-3AD203B41FA5}">
                      <a16:colId xmlns:a16="http://schemas.microsoft.com/office/drawing/2014/main" val="469872352"/>
                    </a:ext>
                  </a:extLst>
                </a:gridCol>
              </a:tblGrid>
              <a:tr h="432654"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Yıl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Basamaklı HS Kodu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Basamaklı HS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Basamaklı HS Kodu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Basamaklı HS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ktör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4 Basamaklı HS Kodu 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625684581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8012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oven pile, of cotton, warp pile fabrics, other than fabrics of heading no. 5802 or 580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58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Special woven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801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4113928646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8013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Fabrics: woven pile, of man-made fibres, warp pile fabrics, other than fabrics of heading no. 5802 or 580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8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Special woven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801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829898506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3069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Camping goods: (of textile materials), n.e.c in heading no. 630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Other made up textile articles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306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349395450"/>
                  </a:ext>
                </a:extLst>
              </a:tr>
              <a:tr h="161024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4069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Footwear: parts, n.e.c. in heading 640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ootwear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406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75765614"/>
                  </a:ext>
                </a:extLst>
              </a:tr>
              <a:tr h="478430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5050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Hats and other headgear: knitted or crocheted, or made up from lace, felt or other textile fabric, in the piece (but not in strips), whether or not lined or trimmed: hair-nets of any material, whether or not lined or trimm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Headgear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5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057794949"/>
                  </a:ext>
                </a:extLst>
              </a:tr>
              <a:tr h="478430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4025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Yarn, synthetic: filament, monofilament (less than 67 decitex), of polypropylene (not high tenacity or textured), single, twisted more than 50 turns per metre, not for retail sale, not sewing thre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filament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40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328518354"/>
                  </a:ext>
                </a:extLst>
              </a:tr>
              <a:tr h="478430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4026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Yarn, synthetic: filament, monofilament (less than 67 decitex), of polypropylene, other than high tenacity or textured yarn, multiple (folded) or cabled, not for retail sale, not sewing thre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filament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5402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359684135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5021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: artificial filament tow of cellulose aceta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staple fibr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0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211877767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5029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Fibres: artificial filament tow, other than cellulose aceta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staple fibr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0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917626000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2017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55064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Fibres: synthetic staple fibres, of polypropylene, carded, combed or otherwise processed for spinni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staple fibr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06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637107681"/>
                  </a:ext>
                </a:extLst>
              </a:tr>
              <a:tr h="478430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57042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arpets and other textile floor coverings: of felt, (not tufted or flocked), whether or not made up, having a maximum surface area exceeding 0.3 m2 but not exceeding 1 m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Carpet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570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3181399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5246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83FEF-6678-1B42-6DA4-4F753B5E9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C2C61C7-3DB0-8B1D-CC44-7B3F7711BE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118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2C61C7-3DB0-8B1D-CC44-7B3F7711B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2C74CD-F4A5-0FBE-9665-BC18E8E2C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ekstilde 2012’de ve 2017’de yeni eklenen 2 basamaklı HS Kodları</a:t>
            </a:r>
          </a:p>
        </p:txBody>
      </p:sp>
      <p:graphicFrame>
        <p:nvGraphicFramePr>
          <p:cNvPr id="442" name="Table 441">
            <a:extLst>
              <a:ext uri="{FF2B5EF4-FFF2-40B4-BE49-F238E27FC236}">
                <a16:creationId xmlns:a16="http://schemas.microsoft.com/office/drawing/2014/main" id="{D236659A-0278-F049-267A-86BE90B318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913479"/>
              </p:ext>
            </p:extLst>
          </p:nvPr>
        </p:nvGraphicFramePr>
        <p:xfrm>
          <a:off x="355600" y="1256858"/>
          <a:ext cx="11318782" cy="4617848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510488">
                  <a:extLst>
                    <a:ext uri="{9D8B030D-6E8A-4147-A177-3AD203B41FA5}">
                      <a16:colId xmlns:a16="http://schemas.microsoft.com/office/drawing/2014/main" val="4077648051"/>
                    </a:ext>
                  </a:extLst>
                </a:gridCol>
                <a:gridCol w="1262594">
                  <a:extLst>
                    <a:ext uri="{9D8B030D-6E8A-4147-A177-3AD203B41FA5}">
                      <a16:colId xmlns:a16="http://schemas.microsoft.com/office/drawing/2014/main" val="2002298194"/>
                    </a:ext>
                  </a:extLst>
                </a:gridCol>
                <a:gridCol w="5186517">
                  <a:extLst>
                    <a:ext uri="{9D8B030D-6E8A-4147-A177-3AD203B41FA5}">
                      <a16:colId xmlns:a16="http://schemas.microsoft.com/office/drawing/2014/main" val="93017056"/>
                    </a:ext>
                  </a:extLst>
                </a:gridCol>
                <a:gridCol w="1100380">
                  <a:extLst>
                    <a:ext uri="{9D8B030D-6E8A-4147-A177-3AD203B41FA5}">
                      <a16:colId xmlns:a16="http://schemas.microsoft.com/office/drawing/2014/main" val="1235232003"/>
                    </a:ext>
                  </a:extLst>
                </a:gridCol>
                <a:gridCol w="1565328">
                  <a:extLst>
                    <a:ext uri="{9D8B030D-6E8A-4147-A177-3AD203B41FA5}">
                      <a16:colId xmlns:a16="http://schemas.microsoft.com/office/drawing/2014/main" val="1636125634"/>
                    </a:ext>
                  </a:extLst>
                </a:gridCol>
                <a:gridCol w="790414">
                  <a:extLst>
                    <a:ext uri="{9D8B030D-6E8A-4147-A177-3AD203B41FA5}">
                      <a16:colId xmlns:a16="http://schemas.microsoft.com/office/drawing/2014/main" val="2993994051"/>
                    </a:ext>
                  </a:extLst>
                </a:gridCol>
                <a:gridCol w="903061">
                  <a:extLst>
                    <a:ext uri="{9D8B030D-6E8A-4147-A177-3AD203B41FA5}">
                      <a16:colId xmlns:a16="http://schemas.microsoft.com/office/drawing/2014/main" val="3012162118"/>
                    </a:ext>
                  </a:extLst>
                </a:gridCol>
              </a:tblGrid>
              <a:tr h="463454"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Yıl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Basamaklı HS Kodu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Basamaklı HS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Basamaklı HS Kodu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Basamaklı HS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ktör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4 Basamaklı HS Kodu 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472761520"/>
                  </a:ext>
                </a:extLst>
              </a:tr>
              <a:tr h="648584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2017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60053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 specified in Subheading Note 1 to this Chap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147866787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60053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, bleached or unbleach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085442999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0053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, dy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498656515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00538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, yarns of different </a:t>
                      </a:r>
                      <a:r>
                        <a:rPr lang="en-US" sz="1200" u="none" strike="noStrike" dirty="0" err="1">
                          <a:effectLst/>
                        </a:rPr>
                        <a:t>colour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4247764955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00539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, prin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4050508282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3042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urnishing articles: excluding those of heading no. 9404, bed nets, specified in Subheading Note 1 to this Chap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Other made up textile articles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30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712999655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15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Seats</a:t>
                      </a:r>
                      <a:r>
                        <a:rPr lang="tr-TR" sz="1200" u="none" strike="noStrike" dirty="0">
                          <a:effectLst/>
                        </a:rPr>
                        <a:t>: of </a:t>
                      </a:r>
                      <a:r>
                        <a:rPr lang="tr-TR" sz="1200" u="none" strike="noStrike" dirty="0" err="1">
                          <a:effectLst/>
                        </a:rPr>
                        <a:t>bamboo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urniture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01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534167302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15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Seats: of rattan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urniture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01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275393190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38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Furniture</a:t>
                      </a:r>
                      <a:r>
                        <a:rPr lang="tr-TR" sz="1200" u="none" strike="noStrike" dirty="0">
                          <a:effectLst/>
                        </a:rPr>
                        <a:t>: of </a:t>
                      </a:r>
                      <a:r>
                        <a:rPr lang="tr-TR" sz="1200" u="none" strike="noStrike" dirty="0" err="1">
                          <a:effectLst/>
                        </a:rPr>
                        <a:t>bamboo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9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urniture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0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858385427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38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urniture: of rattan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9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Furniture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0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463944880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61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Buildings: prefabricated, of wood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Furniture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Textiles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940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817954295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69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Buildings: prefabricated, not of woo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Furniture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Textiles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940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077897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8481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F14670-A328-00A1-9CE6-CE088B94F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68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25" imgH="426" progId="TCLayout.ActiveDocument.1">
                  <p:embed/>
                </p:oleObj>
              </mc:Choice>
              <mc:Fallback>
                <p:oleObj name="think-cell Slide" r:id="rId5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F14670-A328-00A1-9CE6-CE088B94F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877133-0E9A-69CF-2FAE-FB2A3737F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’de Tekstil Sektörünün Ticaret Hacminin Türkiye’nin Toplam Ticaret Hacmine Oranı</a:t>
            </a:r>
          </a:p>
        </p:txBody>
      </p:sp>
      <p:graphicFrame>
        <p:nvGraphicFramePr>
          <p:cNvPr id="410" name="Chart 409">
            <a:extLst>
              <a:ext uri="{FF2B5EF4-FFF2-40B4-BE49-F238E27FC236}">
                <a16:creationId xmlns:a16="http://schemas.microsoft.com/office/drawing/2014/main" id="{B9E0984C-8A0E-FF23-1DD2-F8337BCB25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3164628"/>
              </p:ext>
            </p:extLst>
          </p:nvPr>
        </p:nvGraphicFramePr>
        <p:xfrm>
          <a:off x="693738" y="1212850"/>
          <a:ext cx="9909175" cy="4713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222" name="Rectangle 221">
            <a:extLst>
              <a:ext uri="{FF2B5EF4-FFF2-40B4-BE49-F238E27FC236}">
                <a16:creationId xmlns:a16="http://schemas.microsoft.com/office/drawing/2014/main" id="{185B2310-253F-8645-8AEF-5285CB3C26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696575" y="5340350"/>
            <a:ext cx="1809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5A56AA-95C5-4E3D-B72D-7C610D66BCD1}" type="datetime'''''''''''''''5''''''''''''''''''''''''''''''0'''''">
              <a:rPr lang="tr-TR" altLang="en-US" kern="1200" smtClean="0">
                <a:solidFill>
                  <a:schemeClr val="tx1"/>
                </a:solidFill>
              </a:rPr>
              <a:pPr/>
              <a:t>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B8179B09-98A2-595A-46DF-39AD2B1D777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696575" y="5753100"/>
            <a:ext cx="904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342F4D0-42EA-4750-A691-BAAD981F4131}" type="datetime'''''''''''''''''''''''''''''''''''''''0'''''''">
              <a:rPr lang="tr-TR" altLang="en-US" kern="1200" smtClean="0">
                <a:solidFill>
                  <a:schemeClr val="tx1"/>
                </a:solidFill>
              </a:rPr>
              <a:pPr/>
              <a:t>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13BB4663-4071-3EAA-BC3A-7E52D58DE288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0696575" y="492601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77A164-2F58-4F75-9256-D8AD60BF8501}" type="datetime'''''''''10''''''''''0'''''''">
              <a:rPr lang="tr-TR" altLang="en-US" kern="1200" smtClean="0">
                <a:solidFill>
                  <a:schemeClr val="tx1"/>
                </a:solidFill>
              </a:rPr>
              <a:pPr/>
              <a:t>1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A7E0EA48-A134-72AC-D2F5-349473F73309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0696575" y="451326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2D3BCA-B4EC-4419-AFEE-58A7BC3301A5}" type="datetime'''''''''''''''''''''''''''''''''150'''''''''''''''''''''''''">
              <a:rPr lang="tr-TR" altLang="en-US" kern="1200" smtClean="0">
                <a:solidFill>
                  <a:schemeClr val="tx1"/>
                </a:solidFill>
              </a:rPr>
              <a:pPr/>
              <a:t>1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8D65F5A7-74B0-2F96-F32A-68842753474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0696575" y="4098925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81844EF-3C46-4A8B-95C2-D021A3B4E47B}" type="datetime'2''''''''''''''''''''''''''''0''''''''''''''''''''''0'''''">
              <a:rPr lang="tr-TR" altLang="en-US" kern="1200" smtClean="0">
                <a:solidFill>
                  <a:schemeClr val="tx1"/>
                </a:solidFill>
              </a:rPr>
              <a:pPr/>
              <a:t>2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352073B7-1C94-1BF7-CBC6-F74F1D0780AB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0696575" y="3686175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991A22E-B3F0-4B6F-B2B8-10EF98D80116}" type="datetime'2''5''''''''''''''''''''''''''''''''''''''''''''''''0'''''''''">
              <a:rPr lang="tr-TR" altLang="en-US" kern="1200" smtClean="0">
                <a:solidFill>
                  <a:schemeClr val="tx1"/>
                </a:solidFill>
              </a:rPr>
              <a:pPr/>
              <a:t>2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0BCA465B-D73D-F04D-7B72-6C51076C4F8F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10696575" y="3271838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73EA611-890D-48B7-91BF-5737824E23D3}" type="datetime'3''''''''''''''''''''''''''''''''''''''''''''0''''''0'">
              <a:rPr lang="tr-TR" altLang="en-US" kern="1200" smtClean="0">
                <a:solidFill>
                  <a:schemeClr val="tx1"/>
                </a:solidFill>
              </a:rPr>
              <a:pPr/>
              <a:t>3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89" name="Rectangle 388">
            <a:extLst>
              <a:ext uri="{FF2B5EF4-FFF2-40B4-BE49-F238E27FC236}">
                <a16:creationId xmlns:a16="http://schemas.microsoft.com/office/drawing/2014/main" id="{0FCDB1E5-052A-CD89-48B7-B611DA4C444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10696575" y="2444750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A3C9C19-CACB-4755-8BCD-BA73DD93C171}" type="datetime'''4''''''''''''0''''''''0'''''''''''''''">
              <a:rPr lang="tr-TR" altLang="en-US" kern="1200" smtClean="0">
                <a:solidFill>
                  <a:schemeClr val="tx1"/>
                </a:solidFill>
              </a:rPr>
              <a:pPr/>
              <a:t>4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90" name="Rectangle 389">
            <a:extLst>
              <a:ext uri="{FF2B5EF4-FFF2-40B4-BE49-F238E27FC236}">
                <a16:creationId xmlns:a16="http://schemas.microsoft.com/office/drawing/2014/main" id="{A12D6AB6-5831-0596-8EFC-55206B9335C9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0696575" y="2032000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464BC7D-0091-46ED-8C8E-E0D44A0D2FE6}" type="datetime'''''''''''''''''4''''''''''''''5''''''0'''''''''''''''''''''">
              <a:rPr lang="tr-TR" altLang="en-US" kern="1200" smtClean="0">
                <a:solidFill>
                  <a:schemeClr val="tx1"/>
                </a:solidFill>
              </a:rPr>
              <a:pPr/>
              <a:t>4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7100CBBA-DA57-09D1-022C-620123F82764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0696575" y="161766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5C36205-4F2B-4763-85D4-FBCBC36F72A6}" type="datetime'5''''''''''0''''0'''''''''''''''''''''''''''''">
              <a:rPr lang="tr-TR" altLang="en-US" kern="1200" smtClean="0">
                <a:solidFill>
                  <a:schemeClr val="tx1"/>
                </a:solidFill>
              </a:rPr>
              <a:pPr/>
              <a:t>5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FA9065CE-B31C-9294-BBBA-8C89CF2A3251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10696575" y="120491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CE5318C-6C46-4764-BB4E-D4D3AE991A9D}" type="datetime'''''''''''''''''5''''''''''''50'''''''''''''''''''''">
              <a:rPr lang="tr-TR" altLang="en-US" kern="1200" smtClean="0">
                <a:solidFill>
                  <a:schemeClr val="tx1"/>
                </a:solidFill>
              </a:rPr>
              <a:pPr/>
              <a:t>550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0883C35F-F05A-3E16-E2E0-F33929389B6B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10696575" y="2859088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A387BBD-1275-4A75-A07D-EF429BB59873}" type="datetime'''''''''''3''''5''''''''''''''''''''''''''0'''''''''''''''">
              <a:rPr lang="tr-TR" altLang="en-US" kern="1200" smtClean="0">
                <a:solidFill>
                  <a:schemeClr val="tx1"/>
                </a:solidFill>
              </a:rPr>
              <a:pPr/>
              <a:t>350</a:t>
            </a:fld>
            <a:endParaRPr lang="tr-TR" kern="1200">
              <a:solidFill>
                <a:schemeClr val="tx1"/>
              </a:solidFill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46B3E4F-DEE8-22BA-882C-F8E2480463D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74713" y="5360987"/>
            <a:ext cx="84137" cy="300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4E76B921-8BA0-08DC-EC1C-A5A428D172E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97363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73FE02-8034-429A-8C61-359422CF4D0B}" type="datetime'2''0''''''''''''''''''''''''''1''''''''''''''6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1707EC08-CE4E-371D-6359-3E30AAEB5A51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957888" y="37417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35F81F-714A-4C33-92DF-79ABACCE930C}" type="datetime'''8''''''''''''''9''''%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199A404E-7DB9-753B-FEA1-68DFCCD7D240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957888" y="555625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FEE3C3F-4F08-499B-AA00-C866FA371A07}" type="datetime'''''''1''''''''''''''''''''''''''1''%''''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89451C56-0E80-70A0-4A24-7A1C59B4BAB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948363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41C2AD-C17B-4AE2-B41A-A82E59ECAF0A}" type="datetime'''2''''''''''''''''''0''''''''''''17''''''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AFF845FA-EF97-70C5-0296-71501CE00308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932613" y="3706813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C2A2166-618D-4536-852C-AE26974189DC}" type="datetime'''''''89''''''%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561910B6-E590-EBD4-5638-F78BB476EF5F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932613" y="555148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729E7D-6EB7-43AD-B7DF-8659B0AD0B79}" type="datetime'''''''''''1''''''''''''''''''''''''''''''''''''1''''%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6C5B14F-F66C-575B-4B6B-F1CFFBF3CD5B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92308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F3F0D6-3FEC-47C7-A462-24997308BD2C}" type="datetime'''''''''20''1''''''''''''''''''''''''''''''''''''''8''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CBDDD2CD-B828-CC72-1462-C3023BBE7043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7905750" y="376078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7F85AD-8E58-4912-9F0E-05BB28B9294D}" type="datetime'''''89''%''''''''''''''''''''''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169A6DC9-6AD6-5504-B4AD-2A062D56FC19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7905750" y="554990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BE5C55-10A0-473F-98E3-06D5D59E8E93}" type="datetime'''''''''''''''''''''''''''''''''''1''''''''1''''''%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E532F6A-44D2-41C8-48E8-77B62F230E8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789622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D4FF65A-ECDB-4456-BD25-4484655D4510}" type="datetime'''''''''''2''0''1''''''''9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9A761D58-F679-88F9-8494-38B59BF5FAAA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3033713" y="3643313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5C104E-4FD6-4941-BD5D-748389999FF8}" type="datetime'''''''''''8''''''''''''''''9''''''%''''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AD7D3068-AB11-3035-7987-FC9E20FC3289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8880475" y="556577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15D661E-E837-4347-9109-EC3132A02DF7}" type="datetime'1''''''''''''''''''''''''''''''''''''''0''''''''''%'''''''">
              <a:rPr lang="tr-TR" altLang="en-US" kern="1200" smtClean="0">
                <a:solidFill>
                  <a:schemeClr val="bg1"/>
                </a:solidFill>
              </a:rPr>
              <a:pPr/>
              <a:t>10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8845E64-9530-3F5D-C78C-9077E9F465FC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8870950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AE059C8-28CC-4EEF-B6C2-1D682A2F109D}" type="datetime'''''''''''''2''''''''''''''''''''''''''''0''''''''''2''0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44F948F9-4B3E-A178-B651-47E82D5CF58A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9855200" y="329882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916576-1B02-4EFF-9C8B-663AB8496BCD}" type="datetime'''''''''''''''''''9''''''''''0''%'">
              <a:rPr lang="tr-TR" altLang="en-US" kern="1200" smtClean="0">
                <a:solidFill>
                  <a:schemeClr val="bg1"/>
                </a:solidFill>
              </a:rPr>
              <a:pPr/>
              <a:t>90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2C852723-8FB9-A408-4818-683E6E043F20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9855200" y="55197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E47E0D2-39B0-4E15-AD4F-84C2270B5064}" type="datetime'''1''''''''''''''''''''''''''''''''''''''''0''''''%'''''">
              <a:rPr lang="tr-TR" altLang="en-US" kern="1200" smtClean="0">
                <a:solidFill>
                  <a:schemeClr val="bg1"/>
                </a:solidFill>
              </a:rPr>
              <a:pPr/>
              <a:t>10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F383885-2383-3CDD-8753-28134366C8D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84567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EA6AF78-7ECD-4800-9F56-E33B22C77E86}" type="datetime'''''''''2''''''''''''''''0''2''''1''''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6DC1F13-D0DD-9BBB-F908-78DDC3218BD2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69863" y="3489325"/>
            <a:ext cx="679450" cy="914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</a:rPr>
              <a:t>Türkiye’deki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</a:rPr>
              <a:t>Diğer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</a:rPr>
              <a:t>Sektörlerdeki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Ticaret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Hacminin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Oranı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7548B9C-1262-972C-27FE-B750D79D62B7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311151" y="4903788"/>
            <a:ext cx="538163" cy="914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</a:rPr>
              <a:t>Türkiye’de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Tekstil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Sektör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Ticaret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Hacminin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Oranı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FBE4ED5D-0E05-77BA-2004-42FB4B9EA7BD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1085850" y="385127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55D92E-2D94-441D-9F66-83E34AD49399}" type="datetime'''''''''''''''''''''''''''''''''8''''''''''''''9''''''''''%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310E6C84-2E28-BE0C-0F90-839A3482CBF3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1110913" y="2163763"/>
            <a:ext cx="212725" cy="28098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Türkiye’nin Ticaret Hacmi (Milyar Dolar)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B30F0261-9239-ED5F-A4CB-8E27C379B936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1085850" y="556577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0EAAC47-27CE-40BC-B0F5-30B8753F1032}" type="datetime'''''1''''1''''''''%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38E9C82-A4B7-58C3-6687-FB2E7EEE99E6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07632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8E0A7C-837C-43AD-97E6-16F62122CAB1}" type="datetime'''''''20''''''''''''''''''''''''1''''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935541BB-05E9-9782-BD98-3C428806426C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2060575" y="366712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2263A0B-AF8A-4BD2-A714-AC108B4DFC65}" type="datetime'''''''''''''''''''8''''''''''''''''''''9''''''''''''%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E7B10EEB-7F37-4017-5F1F-BBF1BAEE4C3C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2060575" y="554355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6FE47C-52F0-47F5-950C-1B21E11FF39A}" type="datetime'''''''''11''''''''''%''''''''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28F6AA9-AA56-B794-383C-E99BF71D8300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2051050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4D2777-34A7-4C54-93E5-90ADFC13EDC5}" type="datetime'''''''''''''''''''2''''0''''''''''13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31631A2C-A0A9-C0B7-13CC-8629F57D0AFD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3033713" y="55324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A9ED1E-D50D-47F7-97A6-9B6EABB54C9A}" type="datetime'''''''''''''''''''''''''1''''''''''''1''''''''''''''%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41B9E9C-7822-E12A-791F-057DBA376E81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02418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0B278E-F9AB-4110-9C61-1B892D62A44F}" type="datetime'''''''''''''''''''''''''''''''''20''''1''''4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633A9120-A936-C358-A7F3-897FE625A055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880475" y="3776663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3A91F8-9CCC-408D-BD53-7B527E34CEB6}" type="datetime'''''9''''''''''''0%'''">
              <a:rPr lang="tr-TR" altLang="en-US" kern="1200" smtClean="0">
                <a:solidFill>
                  <a:schemeClr val="bg1"/>
                </a:solidFill>
              </a:rPr>
              <a:pPr/>
              <a:t>90%</a:t>
            </a:fld>
            <a:endParaRPr lang="tr-TR" kern="1200" dirty="0">
              <a:solidFill>
                <a:schemeClr val="bg1"/>
              </a:solidFill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A7632757-36BE-6160-CC64-3FA634A443A7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4008438" y="387032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E5D942-4570-4B72-9E59-79889FEB0F45}" type="datetime'''''''''''8''''9''''''''''''''%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E6A566E6-11B1-CB1C-30C7-09F2C26943BE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4008438" y="555625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C811CA5-4C2E-4F2E-989A-3DDE1342E06E}" type="datetime'''1''1''''''''%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0FCB533-6088-11FE-3394-86A1EE694C8E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3998913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BF96EE-0F92-4A7C-A2B4-552291D30F44}" type="datetime'''''''''''2''''''01''''''''''''''''''''''''''''''5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501973E8-D1D2-4CAB-5800-54959F54006D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4983163" y="388620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7680FC-0638-4178-AAAC-0F0CE3BF119B}" type="datetime'''''8''''''''''''''''9''''''''''''''''''%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05" name="Rectangle 404">
            <a:extLst>
              <a:ext uri="{FF2B5EF4-FFF2-40B4-BE49-F238E27FC236}">
                <a16:creationId xmlns:a16="http://schemas.microsoft.com/office/drawing/2014/main" id="{7E370DFD-1E7F-E29C-D4DC-02C904F14E04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5567363" y="6257925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209FDB8B-3262-7872-8CB4-20F4F0991273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4983163" y="55578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96A3C7-8D1A-4FAA-A949-C0F238FA820F}" type="datetime'''1''''1''''''%''''''''''''''''''''''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6060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5E891C-CBAB-7F40-F189-1B8919E368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471CF8A-CAF2-6EBA-5368-90434991C2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911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5" imgH="426" progId="TCLayout.ActiveDocument.1">
                  <p:embed/>
                </p:oleObj>
              </mc:Choice>
              <mc:Fallback>
                <p:oleObj name="think-cell Slide" r:id="rId2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71CF8A-CAF2-6EBA-5368-90434991C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AA2C03-77E5-E9FF-42FB-2456EE8F4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Sektörün Türkiye Ticaretindeki Oranının Değişimi</a:t>
            </a: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717BF20B-4037-B20B-8E9F-9681B8B6806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9763543"/>
              </p:ext>
            </p:extLst>
          </p:nvPr>
        </p:nvGraphicFramePr>
        <p:xfrm>
          <a:off x="660400" y="1092200"/>
          <a:ext cx="10612438" cy="5038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C5FA7D5-0E7B-A16C-9F4E-1ED6241A391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288588" y="2865438"/>
            <a:ext cx="0" cy="361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9375BB7-EDCC-42B2-18E8-C1FF9347782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278813" y="2865438"/>
            <a:ext cx="20097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07D80620-E2C9-0154-66BB-DEA9F949D7A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78813" y="28654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975A46FA-97AE-1D8E-9B01-48A3F291748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63563" y="303847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875D970-3812-1F62-D9C4-AAC5859710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742950" y="3114675"/>
            <a:ext cx="100488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3E9F1F75-4021-E92C-3FB5-3259B6E56D9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57275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8C4C45-3695-8C37-D5DF-7A406FD7B0F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062163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2FA9605-EB2E-6CD9-EE02-3C1527136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067050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398599D-315C-1B83-0AC7-A49EF39A88F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071938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17A7B25-7BDD-13B5-300B-66A0DCE222F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076825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1ACAB09-F112-8BB0-41D7-61A6DB96892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081713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BFC80D0-9BA7-5A34-05AC-5195C5B084B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086600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3A26D38-7D44-3AB5-F264-76C525055AB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091488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6085410-C76B-EBD9-A398-9527CC61790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096375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44543A5-1D2D-7E42-A7E9-0194FAFF5FF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101263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371C815-064C-7820-BBDD-081A023339F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31788" y="3008313"/>
            <a:ext cx="18097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267825C-0CA7-4FDA-96D3-4986B5B3A4AC}" type="datetime'''1''2'''''''''''''''''">
              <a:rPr lang="tr-TR" altLang="en-US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CA15E76-1FB5-2156-67F5-9DBA17FD86E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686425" y="6338888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06F10B9-DDF2-EC1A-8A6A-05420FFBF403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291888" y="1190625"/>
            <a:ext cx="212725" cy="48418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Türkiye’deki Tekstil Sektörünün Toplam Ticaret Hacmindeki Oranı (%)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217962B5-07D1-A6BB-D924-2FCFE734D1BA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939213" y="2714625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-</a:t>
            </a:r>
            <a:fld id="{59FD62AF-C895-4B77-8BFB-5EA57B13B425}" type="datetime'''''''''7'''''''''''''',2''''''9%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7,29%</a:t>
            </a:fld>
            <a:endParaRPr lang="tr-TR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020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4DF1CA-B54C-D124-6945-B8B5B9991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A0D5A41-EF8F-6BFD-C51C-F00BED6543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3115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25" imgH="426" progId="TCLayout.ActiveDocument.1">
                  <p:embed/>
                </p:oleObj>
              </mc:Choice>
              <mc:Fallback>
                <p:oleObj name="think-cell Slide" r:id="rId4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0D5A41-EF8F-6BFD-C51C-F00BED654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C1AABC-6CC5-02E9-F3DD-F4BFD4667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’deki Tekstil Sektörünün İthalat ve İhracatta Yıllar İçindeki Değişimi</a:t>
            </a:r>
          </a:p>
        </p:txBody>
      </p:sp>
      <p:graphicFrame>
        <p:nvGraphicFramePr>
          <p:cNvPr id="247" name="Chart 246">
            <a:extLst>
              <a:ext uri="{FF2B5EF4-FFF2-40B4-BE49-F238E27FC236}">
                <a16:creationId xmlns:a16="http://schemas.microsoft.com/office/drawing/2014/main" id="{A2F63C4F-924C-4EA7-71F0-1874425E4D3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0477708"/>
              </p:ext>
            </p:extLst>
          </p:nvPr>
        </p:nvGraphicFramePr>
        <p:xfrm>
          <a:off x="471488" y="1160463"/>
          <a:ext cx="11063287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39BE704-5FFB-187F-5910-7F4F654B6F7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528300" y="1644649"/>
            <a:ext cx="0" cy="2413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0858670-0D3D-06A7-E6EA-75749847BA4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428039" y="1644650"/>
            <a:ext cx="21002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F65613B-5AF8-3BA6-1A03-D7322B43DC9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428038" y="1644650"/>
            <a:ext cx="0" cy="1984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963CB4EA-6FD1-6595-17B5-AD6C0AF3750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74650" y="175736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F13D739-EF78-B566-CDE5-78E461F77BC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554038" y="1833563"/>
            <a:ext cx="10499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2041EE66-3192-5C0D-73B7-1B169358CDB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722938" y="3743325"/>
            <a:ext cx="163513" cy="425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A2D5528-DEEF-B2C1-6E84-9779BD3A847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90588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C58AB59-612A-7359-6DC7-B2BC85FBD01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941513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9F50942-6E48-65F3-53A8-70AB3D64670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990850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DB2F648-646E-5E64-2D72-28E258F690B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041775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C7DD847-AAF7-307F-362A-7587D75E94E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091113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D35223A-6CFD-4D47-AF31-AC8E6BD6DD9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140450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667CF5B-4640-ECB4-CA46-0BE16959D8D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191375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6BF7F31-E3E7-52EF-1D77-3505E28AD867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40713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AA8E9E9-8999-81A0-9424-068D977BF37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291638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787DA9C-0DA0-3301-B0C0-67576D5DD97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340975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829F8D0-B922-9926-7BF3-B89D3B2A7843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42875" y="1727200"/>
            <a:ext cx="18097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758CF26-C04C-467A-A851-DC4031416A21}" type="datetime'''''''''''''''''''''''''''''''''1''''''''''9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44A8513F-8BCC-407C-263A-A5D746493163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553825" y="963613"/>
            <a:ext cx="122238" cy="27686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800" kern="1200" dirty="0">
                <a:solidFill>
                  <a:schemeClr val="tx1"/>
                </a:solidFill>
                <a:effectLst/>
              </a:rPr>
              <a:t>Türkiye’deki Tekstil İhracatının Toplam İhracat Hacmindeki Oranı (%)</a:t>
            </a:r>
            <a:endParaRPr lang="tr-TR" sz="800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47F4AF3A-7808-79F4-BB30-459383D5E01A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132888" y="1493838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>
                <a:solidFill>
                  <a:schemeClr val="tx1"/>
                </a:solidFill>
                <a:effectLst/>
              </a:rPr>
              <a:t>-</a:t>
            </a:r>
            <a:fld id="{ABF61C28-BFB6-48EC-986E-72F1AF1E888E}" type="datetime'''''2'''',9''''''''''''''6''''''''''''''%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2,96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graphicFrame>
        <p:nvGraphicFramePr>
          <p:cNvPr id="241" name="Chart 240">
            <a:extLst>
              <a:ext uri="{FF2B5EF4-FFF2-40B4-BE49-F238E27FC236}">
                <a16:creationId xmlns:a16="http://schemas.microsoft.com/office/drawing/2014/main" id="{A8720B32-5771-494F-8C1F-D767FB1A545F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56225671"/>
              </p:ext>
            </p:extLst>
          </p:nvPr>
        </p:nvGraphicFramePr>
        <p:xfrm>
          <a:off x="471488" y="3771900"/>
          <a:ext cx="11063287" cy="240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BF9F0F0-5E0E-3E90-6C04-8F40E74B5739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10528300" y="5264151"/>
            <a:ext cx="0" cy="231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086B08D-D26E-5E0F-CAF9-066802FFF212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H="1">
            <a:off x="8428039" y="5264150"/>
            <a:ext cx="21002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12531E-8694-9309-02AB-DD489E08238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8428038" y="52641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Arrow: Right 9">
            <a:extLst>
              <a:ext uri="{FF2B5EF4-FFF2-40B4-BE49-F238E27FC236}">
                <a16:creationId xmlns:a16="http://schemas.microsoft.com/office/drawing/2014/main" id="{A7665FFF-CB0F-D826-8274-2313E34C3E72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74650" y="53832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4D0DF3A-A592-163F-99A6-C4F3F11AB575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auto">
          <a:xfrm flipH="1">
            <a:off x="554038" y="5459413"/>
            <a:ext cx="10499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6FE4F18-5530-50D0-4B28-9EABA9DCA7D4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722938" y="6386513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703991E-76BA-0BD3-C28D-83BFD21E90C1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90588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357094-F0A5-40F7-9C37-191D26758A1A}" type="datetime'''2''''''''''''''''''''''''''''0''''''''''''''12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D23D93-1A2E-C2AD-71BF-5B05361FA0A3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941513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CB3C23-C844-4CBC-B494-C9B257EE554D}" type="datetime'''''''''''''''''''''20''1''''''''''''3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797DBF-984A-4D62-CB84-094F31E5CB8D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990850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9D771D-8651-4AFA-B096-2BCF7EAB1CD9}" type="datetime'''''''''''''''''''''''''''''2''''''''''0''''''''''14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6E255B-F3F0-9F81-C4EC-FC4C8C158940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041775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CEE2AD-E184-4C0B-AFE7-EF5F687CFA6E}" type="datetime'''''''''''2''''''''''''''''''''''''''''''0''1''''5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9A1B5B-61CE-47B0-3793-6CECC6B83F6C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5091113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D923C6-735B-4B42-9726-FCA503556A41}" type="datetime'''20''''''''''''''''''''''''''''''1''''''6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AC2EB3-1B3F-2C00-C036-5AAAA817EC9F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6140450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12C76F-2322-478C-B7B4-AF0F3E13ADE5}" type="datetime'''''''''''''''''''''''''''''''2''0''''1''''''''''''7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FB4F58-59F9-6476-C62F-1FAB78D9E1BC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191375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E4D03C-6354-4765-B1C4-89C1D398542E}" type="datetime'''''''2''''''''''''''''''''''''0''''''''''''''1''8''''''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DF7D6A-323B-07E5-878B-2E9D0023DF2B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8240713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3C5201-69CC-4C8E-8D2E-10E83DB3BE70}" type="datetime'''''''''2''0''''''''''''''1''''''''''''''''''9''''''''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B323DD-5B43-6402-CADA-089F87A996F9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291638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1F9522-6FB2-4A20-874A-053EDB3D6808}" type="datetime'''''''''''''''''2''0''''''''''''''2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FCD7163-CB20-5ED9-3492-6AB049C8653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0340975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C688BA-8D22-475A-9D58-F582636BC819}" type="datetime'''''202''''''''''''''''''''''''''''''''''''''''''''''''''''1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313BAE1-796D-B74D-B914-FF1A48EFFF69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233363" y="5353050"/>
            <a:ext cx="904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08D6AE-38B9-48A3-BF43-ADD77493B5A4}" type="datetime'''''''''''''''''''''''''''''''''''''6''''''''''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F0A9E10A-8029-E669-E4C9-D5A5C7918E4C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1553825" y="3613150"/>
            <a:ext cx="244475" cy="27241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800" kern="1200" dirty="0">
                <a:solidFill>
                  <a:schemeClr val="tx1"/>
                </a:solidFill>
                <a:effectLst/>
              </a:rPr>
              <a:t>Türkiye’deki Tekstil İthalatının Toplam İthalat Hacmindeki Oranı (%)</a:t>
            </a:r>
            <a:endParaRPr lang="tr-TR" sz="800" kern="1200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800" kern="1200" dirty="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6208E3D-24B5-F93B-F4E2-EE44827629A9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069388" y="5113338"/>
            <a:ext cx="815975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>
                <a:solidFill>
                  <a:schemeClr val="tx1"/>
                </a:solidFill>
                <a:effectLst/>
              </a:rPr>
              <a:t>-</a:t>
            </a:r>
            <a:fld id="{4B9EF8AB-67EC-4690-A658-0BD9D335FA27}" type="datetime'''''''''''''''1''''''''''5'',''''2''6''''''''%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15,26%</a:t>
            </a:fld>
            <a:endParaRPr lang="tr-TR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243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008C5-8A0A-3EC1-5143-E8938C2616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8818FE0-F6D2-8128-546D-6E39D1DC2B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5008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25" imgH="426" progId="TCLayout.ActiveDocument.1">
                  <p:embed/>
                </p:oleObj>
              </mc:Choice>
              <mc:Fallback>
                <p:oleObj name="think-cell Slide" r:id="rId55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18FE0-F6D2-8128-546D-6E39D1DC2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94C7DF-21F7-91E5-36CE-1826B474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’nin Toplam İhracatı ve İthalatı</a:t>
            </a:r>
          </a:p>
        </p:txBody>
      </p:sp>
      <p:graphicFrame>
        <p:nvGraphicFramePr>
          <p:cNvPr id="93" name="Chart 92">
            <a:extLst>
              <a:ext uri="{FF2B5EF4-FFF2-40B4-BE49-F238E27FC236}">
                <a16:creationId xmlns:a16="http://schemas.microsoft.com/office/drawing/2014/main" id="{DE77270F-3102-B7B5-8273-11416041B91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60582"/>
              </p:ext>
            </p:extLst>
          </p:nvPr>
        </p:nvGraphicFramePr>
        <p:xfrm>
          <a:off x="1066800" y="1176338"/>
          <a:ext cx="9698038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189" name="Rectangle 188">
            <a:extLst>
              <a:ext uri="{FF2B5EF4-FFF2-40B4-BE49-F238E27FC236}">
                <a16:creationId xmlns:a16="http://schemas.microsoft.com/office/drawing/2014/main" id="{C76CD896-0E1A-3D53-745B-F0D8E0C469A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858500" y="2997200"/>
            <a:ext cx="904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8A3E94-83DF-4553-A42A-768D7E4B12F7}" type="datetime'''''''''''''''''''''''''''0''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182C714-DFCC-74E1-51C2-72BFBFF2291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858500" y="2632075"/>
            <a:ext cx="1809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C2A8B08-FA7C-4C80-B7A4-8706236CB95C}" type="datetime'''''''''''''''''''''5''''''''''''''''''''''''0'''''''">
              <a:rPr lang="tr-TR" altLang="en-US" kern="1200" smtClean="0">
                <a:solidFill>
                  <a:schemeClr val="tx1"/>
                </a:solidFill>
              </a:rPr>
              <a:pPr/>
              <a:t>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2D17B87C-81A7-4E09-84F8-A7B8608123C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0858500" y="226536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9F2527-DDB2-4517-AD6C-7DC367B0CDC1}" type="datetime'''1''''''''''''''0''''''''''''0'''''''''''">
              <a:rPr lang="tr-TR" altLang="en-US" kern="1200" smtClean="0">
                <a:solidFill>
                  <a:schemeClr val="tx1"/>
                </a:solidFill>
              </a:rPr>
              <a:pPr/>
              <a:t>100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C970EE3-9902-FC13-75A5-0A04B78A3A9D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0858500" y="1900238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73DEF82-E476-43AC-9FEE-8D36E4FD0FFA}" type="datetime'''''''''''''''''1''''''''''''''''''50'''''''''''''''''">
              <a:rPr lang="tr-TR" altLang="en-US" kern="1200" smtClean="0">
                <a:solidFill>
                  <a:schemeClr val="tx1"/>
                </a:solidFill>
              </a:rPr>
              <a:pPr/>
              <a:t>1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0265C5A-37E6-113F-F4BF-0077EE14495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0858500" y="1533525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84DB72-9A97-41C3-A378-36162D07D2D7}" type="datetime'2''''''''''''''''''''''''''''''''''''0''0'''''''''''''''">
              <a:rPr lang="tr-TR" altLang="en-US" kern="1200" smtClean="0">
                <a:solidFill>
                  <a:schemeClr val="tx1"/>
                </a:solidFill>
              </a:rPr>
              <a:pPr/>
              <a:t>2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71DB78E-4EF8-85CE-8D51-459202858ACE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0858500" y="1168400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97584F-971E-4801-9CC7-1D9F436E8F89}" type="datetime'''''''''''''''''''''2''''''''''''''''''''''50'''''">
              <a:rPr lang="tr-TR" altLang="en-US" kern="1200" smtClean="0">
                <a:solidFill>
                  <a:schemeClr val="tx1"/>
                </a:solidFill>
              </a:rPr>
              <a:pPr/>
              <a:t>250</a:t>
            </a:fld>
            <a:endParaRPr lang="tr-TR" kern="1200" dirty="0">
              <a:solidFill>
                <a:schemeClr val="tx1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7C7B5E0-BFBA-5A9D-AA77-D1ACF0DBF9A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10206038" y="11906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FD704EA1-5A9F-B95E-4162-5CE556574395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8299450" y="1190625"/>
            <a:ext cx="19065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FD1D3C8-EE05-89A3-ED51-23403129A4D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299450" y="1190624"/>
            <a:ext cx="0" cy="463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5" name="Arrow: Right 284">
            <a:extLst>
              <a:ext uri="{FF2B5EF4-FFF2-40B4-BE49-F238E27FC236}">
                <a16:creationId xmlns:a16="http://schemas.microsoft.com/office/drawing/2014/main" id="{7D59A9A3-00EF-EA92-05E5-03C594F5F1D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969963" y="17018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1B8AA56F-7C2A-92A3-6FEC-0F9B187F57EA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H="1">
            <a:off x="1149350" y="1778000"/>
            <a:ext cx="95329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F5842763-BD17-E9ED-BD9B-BD9C24B12B0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43827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9A30A6-EB71-631A-A532-DC1B142F9D4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9236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9753055-C5C9-41BA-6C9B-07CAE3C2555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34486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B91B6A7-24F4-21AE-5638-F5D957F40BC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298950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2A7A726-9E0C-E2A6-E28E-C2D12119382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251450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76FCE5C-FD68-2523-A93B-ED14B229FEF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205538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5A6DFE4-32B0-DB61-26A6-6079F6FF0F6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158038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548783-4FA3-D807-5501-548A7A753E0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11212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83F8E8F-1C49-F211-9DE4-8976BD0B71F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06462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50E769E-FE86-3420-EC6C-7B5699ED759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01871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6E482385-6772-75BE-B6DE-3CE8B428F80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47700" y="1671639"/>
            <a:ext cx="27146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FB1492B-2BE9-4D09-BCB7-45EB02171FFD}" type="datetime'''''''''''''''''1''''7''''9'''''''''''''''''''''''''''">
              <a:rPr lang="tr-TR" altLang="en-US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79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814524E3-76D7-7B25-A29A-35B84A6DBA5A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1272838" y="1365251"/>
            <a:ext cx="244475" cy="16176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800" kern="1200" dirty="0">
                <a:solidFill>
                  <a:schemeClr val="tx1"/>
                </a:solidFill>
                <a:effectLst/>
              </a:rPr>
              <a:t>Türkiye’nin İhracat Hacmi (Milyar Dolar)</a:t>
            </a:r>
            <a:endParaRPr lang="tr-TR" sz="800" kern="1200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800" kern="1200" dirty="0">
              <a:solidFill>
                <a:schemeClr val="tx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BFAEF73-EE29-1085-D714-64D5706EBF50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834063" y="3502025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49FE0814-BC2A-C533-BFC5-BA6A8B44DC4A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8820150" y="1039813"/>
            <a:ext cx="863600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+</a:t>
            </a:r>
            <a:fld id="{33C8DAFB-3463-4753-8F91-9846DF61FDCC}" type="datetime'18,24''''''''''''%''''''''''''''''''''''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18,24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graphicFrame>
        <p:nvGraphicFramePr>
          <p:cNvPr id="165" name="Chart 164">
            <a:extLst>
              <a:ext uri="{FF2B5EF4-FFF2-40B4-BE49-F238E27FC236}">
                <a16:creationId xmlns:a16="http://schemas.microsoft.com/office/drawing/2014/main" id="{A483A3FE-4B07-04DB-38AA-7B6AF7003400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400568765"/>
              </p:ext>
            </p:extLst>
          </p:nvPr>
        </p:nvGraphicFramePr>
        <p:xfrm>
          <a:off x="1066800" y="3703638"/>
          <a:ext cx="9698038" cy="2273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246" name="Rectangle 245">
            <a:extLst>
              <a:ext uri="{FF2B5EF4-FFF2-40B4-BE49-F238E27FC236}">
                <a16:creationId xmlns:a16="http://schemas.microsoft.com/office/drawing/2014/main" id="{9B5B14ED-2D26-56ED-76F0-5573722F873A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10858500" y="5803900"/>
            <a:ext cx="904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63A9E2-9C61-4F9F-A2DF-B63D7ACB67AD}" type="datetime'''''''''''''''''''''''0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44A497C9-9A0F-9FCD-28AA-D30CC5DA1AEB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10858500" y="5381625"/>
            <a:ext cx="1809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650448-7800-4F57-B28F-4D81A6B28E39}" type="datetime'''''''''''''''''''''''''''''''''5''0'''">
              <a:rPr lang="tr-TR" altLang="en-US" kern="1200" smtClean="0">
                <a:solidFill>
                  <a:schemeClr val="tx1"/>
                </a:solidFill>
              </a:rPr>
              <a:pPr/>
              <a:t>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EBD4604C-6BBF-A120-0FA7-FB2DB91E6CCC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10858500" y="4960938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05BC042-C758-4E5A-879E-C80EE24DE135}" type="datetime'''''''''''''''''''''''''''''1''''0''''''''0'''''''''''">
              <a:rPr lang="tr-TR" altLang="en-US" kern="1200" smtClean="0">
                <a:solidFill>
                  <a:schemeClr val="tx1"/>
                </a:solidFill>
              </a:rPr>
              <a:pPr/>
              <a:t>1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319FBA3-6ACC-4F19-C7A1-06F9D76F5CEB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10858500" y="453866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774EAA4-C551-4F43-92A0-0C87C501EF5F}" type="datetime'''''''''''''''''''''''1''''''''''5''''0'''''''''''''''">
              <a:rPr lang="tr-TR" altLang="en-US" kern="1200" smtClean="0">
                <a:solidFill>
                  <a:schemeClr val="tx1"/>
                </a:solidFill>
              </a:rPr>
              <a:pPr/>
              <a:t>1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80BEA3FB-5017-FC98-7A71-41C4CC9D5581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10858500" y="4117975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835339-284B-4CA5-B8E8-DE698E83A2D4}" type="datetime'''''''''''''''''''''''2''''''0''''''0'''''">
              <a:rPr lang="tr-TR" altLang="en-US" kern="1200" smtClean="0">
                <a:solidFill>
                  <a:schemeClr val="tx1"/>
                </a:solidFill>
              </a:rPr>
              <a:pPr/>
              <a:t>2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B6FBCB18-B77E-1A83-005F-362BB0BCD146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10858500" y="3695700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A8796D-C979-4A73-8874-2E14F2E1D85E}" type="datetime'''''''''''''''''''''2''''''''''''''5''''0'''''''''''''">
              <a:rPr lang="tr-TR" altLang="en-US" kern="1200" smtClean="0">
                <a:solidFill>
                  <a:schemeClr val="tx1"/>
                </a:solidFill>
              </a:rPr>
              <a:pPr/>
              <a:t>250</a:t>
            </a:fld>
            <a:endParaRPr lang="tr-TR" kern="120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1533FBF-663A-6538-2E6F-ECBC8B01235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V="1">
            <a:off x="8299450" y="3609975"/>
            <a:ext cx="0" cy="606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976A05-1CDE-B84A-0274-0E853EE30587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auto">
          <a:xfrm>
            <a:off x="8299450" y="3609975"/>
            <a:ext cx="19065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3036054-8716-B9B4-E7C6-A9D3B721CD7D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206038" y="36099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Arrow: Right 9">
            <a:extLst>
              <a:ext uri="{FF2B5EF4-FFF2-40B4-BE49-F238E27FC236}">
                <a16:creationId xmlns:a16="http://schemas.microsoft.com/office/drawing/2014/main" id="{3BD6FA32-8681-2CAB-3B2F-FF3E28B2681E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69963" y="40005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72908240-AD6D-E83C-37E4-E1C09A1E34A5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 flipH="1">
            <a:off x="1149349" y="4076700"/>
            <a:ext cx="95329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10FC18C1-2C7A-7170-F8C9-E2477CDD3BE4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43827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357094-F0A5-40F7-9C37-191D26758A1A}" type="datetime'''2''''''''''''''''''''''''''''0''''''''''''''12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5555A2-46DA-5F3C-551E-5624FF84D3A9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239236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CB3C23-C844-4CBC-B494-C9B257EE554D}" type="datetime'''''''''''''''''''''20''1''''''''''''3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B9D5592-BF8E-5D18-70E3-12EB14B742A1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34486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9D771D-8651-4AFA-B096-2BCF7EAB1CD9}" type="datetime'''''''''''''''''''''''''''''2''''''''''0''''''''''14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E07A70-0384-4B03-06F6-C292D004509E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4298950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CEE2AD-E184-4C0B-AFE7-EF5F687CFA6E}" type="datetime'''''''''''2''''''''''''''''''''''''''''''0''1''''5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C46F6A-F602-7E71-ED51-52E7749576E3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5251450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D923C6-735B-4B42-9726-FCA503556A41}" type="datetime'''20''''''''''''''''''''''''''''''1''''''6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7344C4-26EB-33B2-D4B4-0751DB29F233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205538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12C76F-2322-478C-B7B4-AF0F3E13ADE5}" type="datetime'''''''''''''''''''''''''''''''2''0''''1''''''''''''7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F6AD5C7-A638-D5C5-A363-318B328936AC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7158038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E4D03C-6354-4765-B1C4-89C1D398542E}" type="datetime'''''''2''''''''''''''''''''''''0''''''''''''''1''8''''''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78829A-8528-700A-1D81-A87AA8E45FCE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811212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3C5201-69CC-4C8E-8D2E-10E83DB3BE70}" type="datetime'''''''''2''0''''''''''''''1''''''''''''''''''9''''''''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868D60-8117-A546-100E-5598B2250F65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06462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1F9522-6FB2-4A20-874A-053EDB3D6808}" type="datetime'''''''''''''''''2''0''''''''''''''2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D2B0EA9-7D55-D349-F6A8-3B90E5E21975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001871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C688BA-8D22-475A-9D58-F582636BC819}" type="datetime'''''202''''''''''''''''''''''''''''''''''''''''''''''''''''1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B09460D-771F-F59E-9700-9F51C1B0761E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647700" y="3970338"/>
            <a:ext cx="27146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3DEA03-64F3-44F5-8199-D7D07417E926}" type="datetime'''''2''1''6''''''''''''''''''''''''''''''''''''''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16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7D1301F8-0B3A-24EE-FF39-7340C52E26F7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11272838" y="4043363"/>
            <a:ext cx="122238" cy="15954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800" kern="1200" dirty="0">
                <a:solidFill>
                  <a:schemeClr val="tx1"/>
                </a:solidFill>
                <a:effectLst/>
              </a:rPr>
              <a:t>Türkiye’nin İthalat Hacmi (Milyar Dolar)</a:t>
            </a:r>
            <a:endParaRPr lang="tr-TR" sz="800" kern="1200" dirty="0">
              <a:solidFill>
                <a:schemeClr val="tx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6C6873B-F949-C59E-18C1-41E5419393AE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5834063" y="6308725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F957808-5E41-FE55-91EF-002E1676BB95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8820149" y="3459163"/>
            <a:ext cx="863600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+</a:t>
            </a:r>
            <a:fld id="{BB1E5798-6443-4556-BF8A-321F487C2BE8}" type="datetime'21'''''''''''''''''',''72''''''%''''''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21,72%</a:t>
            </a:fld>
            <a:endParaRPr lang="tr-TR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781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66640A-03DA-7B9F-E794-8070D784E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418FDB3-68EC-E483-A5C7-C27EB9BEEE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8658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18FDB3-68EC-E483-A5C7-C27EB9BEE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4C6A3F-5ECD-7E3D-5CEE-7C435460A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Dünyadaki Tekstil Ticaret Hacminin Toplam Ticaret Hacmine Oranı</a:t>
            </a:r>
          </a:p>
        </p:txBody>
      </p:sp>
      <p:graphicFrame>
        <p:nvGraphicFramePr>
          <p:cNvPr id="166" name="Chart 165">
            <a:extLst>
              <a:ext uri="{FF2B5EF4-FFF2-40B4-BE49-F238E27FC236}">
                <a16:creationId xmlns:a16="http://schemas.microsoft.com/office/drawing/2014/main" id="{44B67C53-2485-D018-27FB-128F250325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6374545"/>
              </p:ext>
            </p:extLst>
          </p:nvPr>
        </p:nvGraphicFramePr>
        <p:xfrm>
          <a:off x="182563" y="1109663"/>
          <a:ext cx="11296650" cy="514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5C37EC03-2791-9D51-BF2D-AE023B3DC68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955338" y="2667001"/>
            <a:ext cx="0" cy="10207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93A1725-89D2-C50C-61AF-C068F1B4A70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647114" y="2667000"/>
            <a:ext cx="23082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B05B057-4874-BB30-C991-47F6CA85AF9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647113" y="2667001"/>
            <a:ext cx="0" cy="3270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5" name="Arrow: Right 284">
            <a:extLst>
              <a:ext uri="{FF2B5EF4-FFF2-40B4-BE49-F238E27FC236}">
                <a16:creationId xmlns:a16="http://schemas.microsoft.com/office/drawing/2014/main" id="{AC014952-765E-58B1-8663-3CD96289C55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85763" y="31972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CAB51130-A452-83CD-6FF4-1237A41290F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565150" y="3273425"/>
            <a:ext cx="103901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5" name="Rectangle 264">
            <a:extLst>
              <a:ext uri="{FF2B5EF4-FFF2-40B4-BE49-F238E27FC236}">
                <a16:creationId xmlns:a16="http://schemas.microsoft.com/office/drawing/2014/main" id="{60BFA355-7712-6726-0F10-A414E2E8441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678488" y="6210300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B708CE-1A03-2D90-A1E1-1BB5DB09662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1498263" y="1069975"/>
            <a:ext cx="212725" cy="49180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Dünyadaki Tekstil Ticaret Hacminin Toplam Ticaret Hacmine Oranı (%)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82637249-2F31-9DE2-D26C-5975CF7ED98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44475" y="3167063"/>
            <a:ext cx="904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A9BCC9D-FD62-4691-A03F-0F8729E00D3B}" type="datetime'''7''''''''''''''''''''''''''''''''''''''''''''''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57B8B239-5D7F-0E8A-BD39-D3FB333FA21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456738" y="2516188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</a:rPr>
              <a:t>-</a:t>
            </a:r>
            <a:fld id="{0E61E542-E444-4B59-A687-44B70125A4AA}" type="datetime'''''''''''''''''''''''''''''''''''''''''6,9''''1''''''''''''%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6,91%</a:t>
            </a:fld>
            <a:endParaRPr lang="tr-TR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446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1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CBa6BGZyqcUfimcEzjl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iL_HJdugnF04h_NCwdE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F0_h6czwxbV6cgKPFu_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7K2GR0jkqAYOKrZ2Aw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nMuwJosEW7X3ci02Oe4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aR4j5IRQghwxJg02kY5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wIIFIcbZrxZT6DqlNW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rcq578OBG23kDk8VFX9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PqxVkfePFG271N9qtb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GUh9pocVFBdjUTakzO.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ARcxo3fZGbyx0r7e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ZNfbLmznG84KXeNxnqP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5yqyFBb8fbnFn1LmuHS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vOplooLJqEOSqUf8xV.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M7TMyhPGXkxPuDn4Vks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njZvKr_jbAJl9ozjdqO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3pAKqFnOiwpZkUwzX8X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qmEijK45VJom.JATJdP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0sBa5qeZixrrlq.XiUu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8Xkx32GorRt6qxpNsO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01Of2BP1ITRNM6deb4b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CBa6BGZyqcUfimcEzjl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l5kXhfDjNBzST8ijC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5sd_tubvhcm892ZMwKs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nMf7mjT4VZjHZEJz7W3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zfZ7dmIDKhyz5KPxyj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u0HGI6LQhvXIcShBjg0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YwwDbgsiushhMyRG3.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ot9dEFul3P4ow77yOdj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BP87oUV7.vWku7N3i1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O4aKC2TUSFhDrqk7t1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QxS7bwUvGeEVatmrep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4JcFwwIcArJJulHoNKE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a1me5ZYNFdfoQe2Dgb9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7reDMKC_Rz1sLCExaA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h..2n4voXEjhslVdXh0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_yRJk9f05VneUxAEiwr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PznU4V1vL4fcoZYqga8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X8ko2ieoMY9Pa5n9ST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24oOuwNyXpYAnh2GH.b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YWPL.0VYdrbFnPEpf5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pK.9Evj7cp4c7xlje2H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4jU5rC_4unPNYm7FFg5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iL_HJdugnF04h_NCwdE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F0_h6czwxbV6cgKPFu_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7K2GR0jkqAYOKrZ2Aw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q1XMEMUOpZRqxoPw8lr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wIIFIcbZrxZT6DqlNW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rcq578OBG23kDk8VFX9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PqxVkfePFG271N9qt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JD7DsEMjvnOns4BRSgS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GUh9pocVFBdjUTakzO.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ARcxo3fZGbyx0r7eTF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5yqyFBb8fbnFn1LmuHS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vOplooLJqEOSqUf8xV.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M7TMyhPGXkxPuDn4Vks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njZvKr_jbAJl9ozjdq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3pAKqFnOiwpZkUwzX8X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qmEijK45VJom.JATJdP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GJoToceQRVg8x3hFsa0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LR2Vr6_WYVUQtcOuLP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Z2aXcJ8SOO4L0QyvAHH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8Xkx32GorRt6qxpNsO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YwwDbgsiushhMyRG3.j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BP87oUV7.vWku7N3i1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T_g9B29e9JjjpSVGvjF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oBI7m1W1U2Ateu49JR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pEYHJDqAOOihWZrkM0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QxS7bwUvGeEVatmrep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ePJf97vbI.7o9juyIq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zGEhJUwNpgxr3htCp7U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GTFTMjd3tR4IBIyRYT.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RDfY0KTIieLfEwnkm3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QPoo0N2WspYlFG0NZGt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FAjjQGfLDjqV3bYOGf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vz7xjkEvir3FtoiqeWa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klelM1ss2hEeac2f.Cc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nK9G.mQ6hP6Q6SpZQ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4rtHv4MHg0psO391g38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z6WgpD1z4jPki.dsQ2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hfggc.z7Uqz7PtC98cp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oguhD4BRUKTdRq8cKl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dEPynSS1y8IUoTNEuZW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4uN09XNxupWZafjov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sA2pSTNVKNbxG1QwCy5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NlzdMefNiMY9iNxlsG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dgvH0FxFy3hVlDVXuU_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VFJJNzF1O8vJAYywLY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iH_62gSGApGrU1xucIM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sbkCMRNnagWAuqZ7AHy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M4yT1V4EWSSxN8iXxQV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RMXNyn9NPLjIv.G0sGS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O6lH3gW.c6tRa03hwm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VPjaFfjZ4fM_zZDEYD1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c67o3DPPHIYs553_BM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6_YPc3EkwT7ZFFvCxO4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LkkTU5sCU5Sw3AN2LV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4rtHv4MHg0psO391g38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9wEFxnFqs2odhSVlEEi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zGEhJUwNpgxr3htCp7U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iVp9n8OGny11Z5.wca9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NimpAr.HGQ92Dch2_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N5_a8K.K_urWNLRZznd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L5Z7GBPg9r7cvdQFQgE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qkeVwYUbHstJaiiuBxM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Tw3J95Sro_hxz7O0agr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UA.BlgihyA_ZieQoxtY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FvlWoHdxQVih.DtvePV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8iQjlcQmNEmTEgHEivC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ypYUDOanjSmOqB1dwEa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7bIvm.ApANaZJ9.jUL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kbaka4JIWNmsmfJwks_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NEpKfnO8Ljceu.3vO4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cRmRZgMZ2SnFMYPF.Kl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Sroo15AXpndWAI3HU6r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dEPynSS1y8IUoTNEuZW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4uN09XNxupWZafjovc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NlzdMefNiMY9iNxlsG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6_YPc3EkwT7ZFFvCxO4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VPjaFfjZ4fM_zZDEYD1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O6lH3gW.c6tRa03hwm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dgvH0FxFy3hVlDVXuU_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VFJJNzF1O8vJAYywL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iH_62gSGApGrU1xucIM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sbkCMRNnagWAuqZ7AHy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M4yT1V4EWSSxN8iXxQV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yMgefoBX3u6Far.zAd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D1Xk2ARCfYUQNUkTfQS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1xzayn1Zlq5xlFMk9Vy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Gpx9r2dOxEZ7kVG6jUI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u0XxyhbiNuvWLyHyr85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c67o3DPPHIYs553_BMo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_U4QyWaoKKSM2tUycds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eXtRhEMihplyDOHJDgB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hfggc.z7Uqz7PtC98cp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oguhD4BRUKTdRq8cKl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hfggc.z7Uqz7PtC98cp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FHBXoMItlY7LxCYb6vb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xNqgdux2TX2dIooFVsi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Sl_ugEUzmFNZwik9Qa3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A.QmON2zyLDmCTFL3Y6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7LDItt5_xyywHnxChcb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LkkTU5sCU5Sw3AN2LV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UA.BlgihyA_ZieQoxtY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uI6jJqEOqby9BxJ.YZf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02uENAuV9v1KcrdUkY9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4rtHv4MHg0psO391g38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ad9nXYadtbbNmfFHqKM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9wEFxnFqs2odhSVlEE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z7l5Fq3BaD4iBQ3C3eu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zGEhJUwNpgxr3htCp7U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FvlWoHdxQVih.DtvePV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NEpKfnO8Ljceu.3vO4O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iVp9n8OGny11Z5.wca9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Tw3J95Sro_hxz7O0agr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ypYUDOanjSmOqB1dwEa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WUhfB57FjXyY4JXhZk0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XtnKsgK.AESfVh3Qg6_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hfggc.z7Uqz7PtC98c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oguhD4BRUKTdRq8cKl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Sroo15AXpndWAI3HU6r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dEPynSS1y8IUoTNEuZW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4uN09XNxupWZafjovc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NlzdMefNiMY9iNxlsG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6_YPc3EkwT7ZFFvCxO4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VPjaFfjZ4fM_zZDEYD1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O6lH3gW.c6tRa03hw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1efbhGra5_PxdB0cTns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c67o3DPPHIYs553_BMo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dgvH0FxFy3hVlDVXuU_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VFJJNzF1O8vJAYywLY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iH_62gSGApGrU1xucIM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yMgefoBX3u6Far.z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48bMiJoLhiSewFm1MMB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D1Xk2ARCfYUQNUkTfQS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1xzayn1Zlq5xlFMk9Vy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sbkCMRNnagWAuqZ7AHy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u0XxyhbiNuvWLyHyr85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WUmF63Z8gdinsShR0D_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M4yT1V4EWSSxN8iXxQV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7j2vCo3BsECIgksVIE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7eR8bLruZnrEtnnM.vb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02qWLLD9gexPcWNgMNf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budEcD27JfvhST.HNb3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5SgU1K61ERFihA6yWTv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wcgU6zjNCtt4rn4DoX.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WJeS_WLpxSne.jbQj1f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CGiXMdmBwYMenI3SAfO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G.a4cV56e1Kffcq0H3c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l3bW_zG0BEWVEoYYKa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YHpv5fEWmMc0ADMs23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hV4OOa9o7e2Ia8DQ.Tv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CGUajzweYMdmaUPxrkV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yXBaqYlPFmfidz7ZMkv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0UkYpUk.0zbegfBx8d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sk3rP05PsCHUoVY97t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dISY7HvqyFPFQCpeql6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eznrUnY61odyUiGgsFP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fjPRHliLeEmTZ87e6a0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EGIXGAe8wd5jO1A2_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lUbEQM_dbpNs92bmMa8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yYOqKBz5Ws_W9Ae_oZ1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gtuhNv1rNX2.U7W7v9w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5z3JvoAvqeDuZmMshYR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.qWG2JKA.9sm.Iwrk5S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lZ4ogM1RreEWClZ5KUg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9rCdEg34PJNGtVkvGfY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GCYRFeSmC868wyBPZ8t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ImSfEyAfc_s9nXBgYX0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Rl90wKkIYmMCLK_HNWF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CGiXMdmBwYMenI3SAfO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G.a4cV56e1Kffcq0H3c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0UkYpUk.0zbegfBx8d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sk3rP05PsCHUoVY97t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eznrUnY61odyUiGgsFP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fjPRHliLeEmTZ87e6a0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l3bW_zG0BEWVEoYYKa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YHpv5fEWmMc0ADMs23s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k721eHpOsSVO0TSvDQ3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Neb870Me7ceMJqkX.W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Z2GIOKQkp_SCZZ0hIlP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nZZGAHczaNP77db5jtl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yYOqKBz5Ws_W9Ae_oZ1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gtuhNv1rNX2.U7W7v9w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5z3JvoAvqeDuZmMshYR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.qWG2JKA.9sm.Iwrk5S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9rCdEg34PJNGtVkvGfY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GCYRFeSmC868wyBPZ8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3qDm5ShNX2CW51PcsIP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EGIXGAe8wd5jO1A2_k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lUbEQM_dbpNs92bmMa8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ImSfEyAfc_s9nXBgYX0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lZ4ogM1RreEWClZ5KUg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_ZsTH9dHqwmvhfovAh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DLrZNo47I1iJULosmz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FZf_62ki8drmpKKMw4r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VVHirG.6Cz9Zp6l.Wt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yRbM2RRj68MYuyv1rD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0T2eCyoCWCmhXO2_Co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WcH6cPM9HqJte5haKm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tZj8Pj09OVdFiT0pIuc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pxmJsp6k5HaFIF4Oqfe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HZ8JDu5wkgabTmnVEl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yS5dofP87ETBqdqmqu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1DPjCA8zxpNEG4kTAt5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GR8q5j9g8gyZq0Jq8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9FZixthsFKRzvxkINE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1DPjCA8zxpNEG4kTAt5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GR8q5j9g8gyZq0Jq8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n9mp2n9kr0MngZwY.P_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pcPUhtrLPbQAW4nF4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9FZixthsFKRzvxkINE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2wpCaxRHEptNaWjsu8_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7reDMKC_Rz1sLCExaA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4jU5rC_4unPNYm7FFg5w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3">
      <a:majorFont>
        <a:latin typeface="Calibri Light (Headings)"/>
        <a:ea typeface=""/>
        <a:cs typeface=""/>
      </a:majorFont>
      <a:minorFont>
        <a:latin typeface="Calibri Light (Headings)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95</TotalTime>
  <Words>1392</Words>
  <Application>Microsoft Office PowerPoint</Application>
  <PresentationFormat>Widescreen</PresentationFormat>
  <Paragraphs>492</Paragraphs>
  <Slides>2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Proxima Nova</vt:lpstr>
      <vt:lpstr>Office Theme</vt:lpstr>
      <vt:lpstr>think-cell Slide</vt:lpstr>
      <vt:lpstr>Türkiye’nin Tekstil Sektöründeki Durumu</vt:lpstr>
      <vt:lpstr>PowerPoint Presentation</vt:lpstr>
      <vt:lpstr>Tekstilde 2012’de ve 2017’de yeni eklenen 2 basamaklı HS Kodları</vt:lpstr>
      <vt:lpstr>Tekstilde 2012’de ve 2017’de yeni eklenen 2 basamaklı HS Kodları</vt:lpstr>
      <vt:lpstr>Türkiye’de Tekstil Sektörünün Ticaret Hacminin Türkiye’nin Toplam Ticaret Hacmine Oranı</vt:lpstr>
      <vt:lpstr>Sektörün Türkiye Ticaretindeki Oranının Değişimi</vt:lpstr>
      <vt:lpstr>Türkiye’deki Tekstil Sektörünün İthalat ve İhracatta Yıllar İçindeki Değişimi</vt:lpstr>
      <vt:lpstr>Türkiye’nin Toplam İhracatı ve İthalatı</vt:lpstr>
      <vt:lpstr>Dünyadaki Tekstil Ticaret Hacminin Toplam Ticaret Hacmine Oranı</vt:lpstr>
      <vt:lpstr>5-) Turkiye'nin tekstilde ihracat ve ithalat.xlsx tree mapleri 6 tane (Yapamadım)</vt:lpstr>
      <vt:lpstr>6-) Dunyada tekstilde en buyuk ihracatcilar ve ithalatcilar.xlsx tree mapleri 6 tane (Yapamadım)</vt:lpstr>
      <vt:lpstr>Türkiye'nin tekstil ihracatında bulunan 2 basamaklı HS kodlarının oranları</vt:lpstr>
      <vt:lpstr>Türkiye'nin tekstil ithalatında bulunan 2 basamaklı HS kodlarının oranları</vt:lpstr>
      <vt:lpstr>Türkiye'nin tekstil ihracatında bulunan başlıca 4 basamaklı HS kodlarının oranları</vt:lpstr>
      <vt:lpstr>Dünyada tekstil ticaretinde bulunan 2 basamaklı HS kodlarının oranları</vt:lpstr>
      <vt:lpstr>Eklenen yeni ürünlerin (2012’de ve 2017’de) Türkiye’deki ihracatta RCA hesabı</vt:lpstr>
      <vt:lpstr>Eklenen yeni ürünlerin (2012’de ve 2017’de) Türkiye’deki ithalatta RCA hesabı</vt:lpstr>
      <vt:lpstr>Eklenen yeni ürünlerin (2012’de ve 2017’de) Türkiye'nin tekstil ihracatındaki 2 basamaklı HS kodlarının RCA hesabı</vt:lpstr>
      <vt:lpstr>Eklenen yeni ürünlerin (2012’de ve 2017’de) Türkiye'nin tekstil ithalatındaki 2 basamaklı HS kodlarının RCA hesabı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Batuhan Yelseli</dc:creator>
  <cp:lastModifiedBy>Oğuz Öztekin</cp:lastModifiedBy>
  <cp:revision>50</cp:revision>
  <dcterms:created xsi:type="dcterms:W3CDTF">2006-08-16T00:00:00Z</dcterms:created>
  <dcterms:modified xsi:type="dcterms:W3CDTF">2024-12-16T18:59:02Z</dcterms:modified>
</cp:coreProperties>
</file>